
<file path=[Content_Types].xml><?xml version="1.0" encoding="utf-8"?>
<Types xmlns="http://schemas.openxmlformats.org/package/2006/content-types">
  <Default Extension="jpeg" ContentType="image/jpeg"/>
  <Default Extension="vml" ContentType="application/vnd.openxmlformats-officedocument.vmlDrawing"/>
  <Default Extension="xlsx" ContentType="application/vnd.openxmlformats-officedocument.spreadsheetml.sheet"/>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2.xml" ContentType="application/vnd.openxmlformats-officedocument.drawingml.chart+xml"/>
  <Override PartName="/ppt/charts/colors1.xml" ContentType="application/vnd.ms-office.chartcolorstyle+xml"/>
  <Override PartName="/ppt/charts/colors2.xml" ContentType="application/vnd.ms-office.chartcolorstyle+xml"/>
  <Override PartName="/ppt/charts/style1.xml" ContentType="application/vnd.ms-office.chartstyle+xml"/>
  <Override PartName="/ppt/charts/style2.xml" ContentType="application/vnd.ms-office.chartstyle+xml"/>
  <Override PartName="/ppt/commentAuthors.xml" ContentType="application/vnd.openxmlformats-officedocument.presentationml.commentAuthor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
  </p:notesMasterIdLst>
  <p:sldIdLst>
    <p:sldId id="451" r:id="rId3"/>
    <p:sldId id="456" r:id="rId5"/>
    <p:sldId id="452" r:id="rId6"/>
    <p:sldId id="448" r:id="rId7"/>
    <p:sldId id="449" r:id="rId8"/>
    <p:sldId id="450" r:id="rId9"/>
    <p:sldId id="329" r:id="rId10"/>
    <p:sldId id="324" r:id="rId11"/>
    <p:sldId id="373" r:id="rId12"/>
    <p:sldId id="374" r:id="rId13"/>
    <p:sldId id="444" r:id="rId14"/>
    <p:sldId id="446" r:id="rId15"/>
    <p:sldId id="447" r:id="rId16"/>
    <p:sldId id="396" r:id="rId17"/>
    <p:sldId id="330" r:id="rId18"/>
    <p:sldId id="457" r:id="rId19"/>
    <p:sldId id="508" r:id="rId20"/>
    <p:sldId id="509" r:id="rId21"/>
    <p:sldId id="510" r:id="rId22"/>
    <p:sldId id="511" r:id="rId23"/>
    <p:sldId id="512" r:id="rId24"/>
    <p:sldId id="513" r:id="rId25"/>
    <p:sldId id="514" r:id="rId26"/>
    <p:sldId id="515" r:id="rId27"/>
    <p:sldId id="516" r:id="rId28"/>
    <p:sldId id="517" r:id="rId29"/>
    <p:sldId id="518" r:id="rId30"/>
    <p:sldId id="519" r:id="rId31"/>
    <p:sldId id="520" r:id="rId32"/>
    <p:sldId id="521" r:id="rId33"/>
    <p:sldId id="522" r:id="rId34"/>
    <p:sldId id="523" r:id="rId35"/>
    <p:sldId id="453" r:id="rId36"/>
    <p:sldId id="264" r:id="rId37"/>
    <p:sldId id="333" r:id="rId38"/>
    <p:sldId id="323" r:id="rId39"/>
    <p:sldId id="263" r:id="rId40"/>
    <p:sldId id="454" r:id="rId41"/>
    <p:sldId id="325" r:id="rId42"/>
    <p:sldId id="281" r:id="rId43"/>
    <p:sldId id="277" r:id="rId44"/>
    <p:sldId id="332" r:id="rId45"/>
    <p:sldId id="326" r:id="rId46"/>
    <p:sldId id="327" r:id="rId47"/>
    <p:sldId id="303" r:id="rId48"/>
    <p:sldId id="355" r:id="rId49"/>
    <p:sldId id="365" r:id="rId50"/>
    <p:sldId id="364" r:id="rId51"/>
    <p:sldId id="366" r:id="rId52"/>
    <p:sldId id="367" r:id="rId53"/>
    <p:sldId id="368" r:id="rId54"/>
    <p:sldId id="369" r:id="rId55"/>
    <p:sldId id="371" r:id="rId56"/>
    <p:sldId id="372" r:id="rId57"/>
    <p:sldId id="424" r:id="rId58"/>
    <p:sldId id="459" r:id="rId59"/>
    <p:sldId id="460" r:id="rId60"/>
    <p:sldId id="425" r:id="rId61"/>
    <p:sldId id="432" r:id="rId62"/>
    <p:sldId id="433" r:id="rId63"/>
    <p:sldId id="434" r:id="rId64"/>
    <p:sldId id="458" r:id="rId65"/>
    <p:sldId id="282" r:id="rId66"/>
    <p:sldId id="280" r:id="rId67"/>
    <p:sldId id="276" r:id="rId68"/>
    <p:sldId id="331" r:id="rId69"/>
    <p:sldId id="455" r:id="rId70"/>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作者" initials="作" lastIdx="0"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CDDC39"/>
    <a:srgbClr val="FFEB3B"/>
    <a:srgbClr val="FFC107"/>
    <a:srgbClr val="FF9800"/>
    <a:srgbClr val="FF5722"/>
    <a:srgbClr val="795548"/>
    <a:srgbClr val="9E9E9E"/>
    <a:srgbClr val="607D8B"/>
    <a:srgbClr val="8BC34A"/>
    <a:srgbClr val="4CAF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701" autoAdjust="0"/>
    <p:restoredTop sz="94660"/>
  </p:normalViewPr>
  <p:slideViewPr>
    <p:cSldViewPr snapToGrid="0">
      <p:cViewPr>
        <p:scale>
          <a:sx n="55" d="100"/>
          <a:sy n="55" d="100"/>
        </p:scale>
        <p:origin x="552" y="35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4" Type="http://schemas.openxmlformats.org/officeDocument/2006/relationships/commentAuthors" Target="commentAuthors.xml"/><Relationship Id="rId73" Type="http://schemas.openxmlformats.org/officeDocument/2006/relationships/tableStyles" Target="tableStyles.xml"/><Relationship Id="rId72" Type="http://schemas.openxmlformats.org/officeDocument/2006/relationships/viewProps" Target="viewProps.xml"/><Relationship Id="rId71" Type="http://schemas.openxmlformats.org/officeDocument/2006/relationships/presProps" Target="presProps.xml"/><Relationship Id="rId70" Type="http://schemas.openxmlformats.org/officeDocument/2006/relationships/slide" Target="slides/slide67.xml"/><Relationship Id="rId7" Type="http://schemas.openxmlformats.org/officeDocument/2006/relationships/slide" Target="slides/slide4.xml"/><Relationship Id="rId69" Type="http://schemas.openxmlformats.org/officeDocument/2006/relationships/slide" Target="slides/slide66.xml"/><Relationship Id="rId68" Type="http://schemas.openxmlformats.org/officeDocument/2006/relationships/slide" Target="slides/slide65.xml"/><Relationship Id="rId67" Type="http://schemas.openxmlformats.org/officeDocument/2006/relationships/slide" Target="slides/slide64.xml"/><Relationship Id="rId66" Type="http://schemas.openxmlformats.org/officeDocument/2006/relationships/slide" Target="slides/slide63.xml"/><Relationship Id="rId65" Type="http://schemas.openxmlformats.org/officeDocument/2006/relationships/slide" Target="slides/slide62.xml"/><Relationship Id="rId64" Type="http://schemas.openxmlformats.org/officeDocument/2006/relationships/slide" Target="slides/slide61.xml"/><Relationship Id="rId63" Type="http://schemas.openxmlformats.org/officeDocument/2006/relationships/slide" Target="slides/slide60.xml"/><Relationship Id="rId62" Type="http://schemas.openxmlformats.org/officeDocument/2006/relationships/slide" Target="slides/slide59.xml"/><Relationship Id="rId61" Type="http://schemas.openxmlformats.org/officeDocument/2006/relationships/slide" Target="slides/slide58.xml"/><Relationship Id="rId60" Type="http://schemas.openxmlformats.org/officeDocument/2006/relationships/slide" Target="slides/slide57.xml"/><Relationship Id="rId6" Type="http://schemas.openxmlformats.org/officeDocument/2006/relationships/slide" Target="slides/slide3.xml"/><Relationship Id="rId59" Type="http://schemas.openxmlformats.org/officeDocument/2006/relationships/slide" Target="slides/slide56.xml"/><Relationship Id="rId58" Type="http://schemas.openxmlformats.org/officeDocument/2006/relationships/slide" Target="slides/slide55.xml"/><Relationship Id="rId57" Type="http://schemas.openxmlformats.org/officeDocument/2006/relationships/slide" Target="slides/slide54.xml"/><Relationship Id="rId56" Type="http://schemas.openxmlformats.org/officeDocument/2006/relationships/slide" Target="slides/slide53.xml"/><Relationship Id="rId55" Type="http://schemas.openxmlformats.org/officeDocument/2006/relationships/slide" Target="slides/slide52.xml"/><Relationship Id="rId54" Type="http://schemas.openxmlformats.org/officeDocument/2006/relationships/slide" Target="slides/slide51.xml"/><Relationship Id="rId53" Type="http://schemas.openxmlformats.org/officeDocument/2006/relationships/slide" Target="slides/slide50.xml"/><Relationship Id="rId52" Type="http://schemas.openxmlformats.org/officeDocument/2006/relationships/slide" Target="slides/slide49.xml"/><Relationship Id="rId51" Type="http://schemas.openxmlformats.org/officeDocument/2006/relationships/slide" Target="slides/slide48.xml"/><Relationship Id="rId50" Type="http://schemas.openxmlformats.org/officeDocument/2006/relationships/slide" Target="slides/slide47.xml"/><Relationship Id="rId5" Type="http://schemas.openxmlformats.org/officeDocument/2006/relationships/slide" Target="slides/slide2.xml"/><Relationship Id="rId49" Type="http://schemas.openxmlformats.org/officeDocument/2006/relationships/slide" Target="slides/slide46.xml"/><Relationship Id="rId48" Type="http://schemas.openxmlformats.org/officeDocument/2006/relationships/slide" Target="slides/slide45.xml"/><Relationship Id="rId47" Type="http://schemas.openxmlformats.org/officeDocument/2006/relationships/slide" Target="slides/slide44.xml"/><Relationship Id="rId46" Type="http://schemas.openxmlformats.org/officeDocument/2006/relationships/slide" Target="slides/slide43.xml"/><Relationship Id="rId45" Type="http://schemas.openxmlformats.org/officeDocument/2006/relationships/slide" Target="slides/slide42.xml"/><Relationship Id="rId44" Type="http://schemas.openxmlformats.org/officeDocument/2006/relationships/slide" Target="slides/slide41.xml"/><Relationship Id="rId43" Type="http://schemas.openxmlformats.org/officeDocument/2006/relationships/slide" Target="slides/slide40.xml"/><Relationship Id="rId42" Type="http://schemas.openxmlformats.org/officeDocument/2006/relationships/slide" Target="slides/slide39.xml"/><Relationship Id="rId41" Type="http://schemas.openxmlformats.org/officeDocument/2006/relationships/slide" Target="slides/slide38.xml"/><Relationship Id="rId40" Type="http://schemas.openxmlformats.org/officeDocument/2006/relationships/slide" Target="slides/slide37.xml"/><Relationship Id="rId4" Type="http://schemas.openxmlformats.org/officeDocument/2006/relationships/notesMaster" Target="notesMasters/notesMaster1.xml"/><Relationship Id="rId39" Type="http://schemas.openxmlformats.org/officeDocument/2006/relationships/slide" Target="slides/slide36.xml"/><Relationship Id="rId38" Type="http://schemas.openxmlformats.org/officeDocument/2006/relationships/slide" Target="slides/slide35.xml"/><Relationship Id="rId37" Type="http://schemas.openxmlformats.org/officeDocument/2006/relationships/slide" Target="slides/slide34.xml"/><Relationship Id="rId36" Type="http://schemas.openxmlformats.org/officeDocument/2006/relationships/slide" Target="slides/slide33.xml"/><Relationship Id="rId35" Type="http://schemas.openxmlformats.org/officeDocument/2006/relationships/slide" Target="slides/slide32.xml"/><Relationship Id="rId34" Type="http://schemas.openxmlformats.org/officeDocument/2006/relationships/slide" Target="slides/slide31.xml"/><Relationship Id="rId33" Type="http://schemas.openxmlformats.org/officeDocument/2006/relationships/slide" Target="slides/slide30.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Workbook1.xlsx"/></Relationships>
</file>

<file path=ppt/charts/_rels/chart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Workbook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销售额</c:v>
                </c:pt>
              </c:strCache>
            </c:strRef>
          </c:tx>
          <c:spPr/>
          <c:explosion val="15"/>
          <c:dPt>
            <c:idx val="0"/>
            <c:bubble3D val="0"/>
            <c:explosion val="3"/>
            <c:spPr>
              <a:solidFill>
                <a:schemeClr val="accent1"/>
              </a:solidFill>
              <a:ln w="19050">
                <a:solidFill>
                  <a:schemeClr val="lt1"/>
                </a:solidFill>
              </a:ln>
              <a:effectLst/>
            </c:spPr>
          </c:dPt>
          <c:dPt>
            <c:idx val="1"/>
            <c:bubble3D val="0"/>
            <c:spPr>
              <a:solidFill>
                <a:srgbClr val="1DCF9B"/>
              </a:solidFill>
              <a:ln w="19050">
                <a:solidFill>
                  <a:schemeClr val="lt1"/>
                </a:solidFill>
              </a:ln>
              <a:effectLst/>
            </c:spPr>
          </c:dPt>
          <c:dPt>
            <c:idx val="2"/>
            <c:bubble3D val="0"/>
            <c:spPr>
              <a:solidFill>
                <a:srgbClr val="3293F1"/>
              </a:solidFill>
              <a:ln w="19050">
                <a:solidFill>
                  <a:schemeClr val="lt1"/>
                </a:solidFill>
              </a:ln>
              <a:effectLst/>
            </c:spPr>
          </c:dPt>
          <c:dPt>
            <c:idx val="3"/>
            <c:bubble3D val="0"/>
            <c:spPr>
              <a:solidFill>
                <a:srgbClr val="EC5B3E"/>
              </a:solidFill>
              <a:ln w="19050">
                <a:solidFill>
                  <a:schemeClr val="lt1"/>
                </a:solidFill>
              </a:ln>
              <a:effectLst/>
            </c:spPr>
          </c:dPt>
          <c:dLbls>
            <c:delete val="1"/>
          </c:dLbls>
          <c:cat>
            <c:strRef>
              <c:f>Sheet1!$A$2:$A$5</c:f>
              <c:strCache>
                <c:ptCount val="4"/>
                <c:pt idx="0">
                  <c:v>第一季度</c:v>
                </c:pt>
                <c:pt idx="1">
                  <c:v>第二季度</c:v>
                </c:pt>
                <c:pt idx="2">
                  <c:v>第三季度</c:v>
                </c:pt>
                <c:pt idx="3">
                  <c:v>第四季度</c:v>
                </c:pt>
              </c:strCache>
            </c:strRef>
          </c:cat>
          <c:val>
            <c:numRef>
              <c:f>Sheet1!$B$2:$B$5</c:f>
              <c:numCache>
                <c:formatCode>General</c:formatCode>
                <c:ptCount val="4"/>
                <c:pt idx="0">
                  <c:v>8.2</c:v>
                </c:pt>
                <c:pt idx="1">
                  <c:v>3.2</c:v>
                </c:pt>
                <c:pt idx="2">
                  <c:v>1.4</c:v>
                </c:pt>
                <c:pt idx="3">
                  <c:v>1.2</c:v>
                </c:pt>
              </c:numCache>
            </c:numRef>
          </c:val>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185451726255234"/>
          <c:y val="0.899563182248584"/>
          <c:w val="0.593271003782839"/>
          <c:h val="0.0646112740447227"/>
        </c:manualLayout>
      </c:layout>
      <c:overlay val="0"/>
      <c:spPr>
        <a:noFill/>
        <a:ln>
          <a:noFill/>
        </a:ln>
        <a:effectLst/>
      </c:spPr>
      <c:txPr>
        <a:bodyPr rot="0" spcFirstLastPara="1" vertOverflow="ellipsis" vert="horz" wrap="square" anchor="ctr" anchorCtr="1"/>
        <a:lstStyle/>
        <a:p>
          <a:pPr>
            <a:defRPr lang="zh-CN" sz="1195" b="0" i="0" u="none" strike="noStrike" kern="1200" baseline="0">
              <a:solidFill>
                <a:schemeClr val="tx1">
                  <a:lumMod val="65000"/>
                  <a:lumOff val="35000"/>
                </a:schemeClr>
              </a:solidFill>
              <a:latin typeface="微软雅黑" panose="020B0503020204020204" charset="-122"/>
              <a:ea typeface="微软雅黑" panose="020B0503020204020204" charset="-122"/>
              <a:cs typeface="+mn-cs"/>
            </a:defRPr>
          </a:pPr>
        </a:p>
      </c:txPr>
    </c:legend>
    <c:plotVisOnly val="1"/>
    <c:dispBlanksAs val="gap"/>
    <c:showDLblsOverMax val="0"/>
  </c:chart>
  <c:spPr>
    <a:noFill/>
    <a:ln>
      <a:noFill/>
    </a:ln>
    <a:effectLst/>
  </c:spPr>
  <c:txPr>
    <a:bodyPr/>
    <a:lstStyle/>
    <a:p>
      <a:pPr>
        <a:defRPr lang="zh-CN">
          <a:latin typeface="微软雅黑" panose="020B0503020204020204" charset="-122"/>
          <a:ea typeface="微软雅黑" panose="020B0503020204020204" charset="-122"/>
        </a:defRPr>
      </a:pP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系列 1</c:v>
                </c:pt>
              </c:strCache>
            </c:strRef>
          </c:tx>
          <c:spPr>
            <a:solidFill>
              <a:srgbClr val="3295ED"/>
            </a:solidFill>
            <a:ln>
              <a:noFill/>
            </a:ln>
            <a:effectLst/>
          </c:spPr>
          <c:invertIfNegative val="0"/>
          <c:dLbls>
            <c:delete val="1"/>
          </c:dLbls>
          <c:cat>
            <c:strRef>
              <c:f>Sheet1!$A$2:$A$5</c:f>
              <c:strCache>
                <c:ptCount val="4"/>
                <c:pt idx="0">
                  <c:v>类别 1</c:v>
                </c:pt>
                <c:pt idx="1">
                  <c:v>类别 2</c:v>
                </c:pt>
                <c:pt idx="2">
                  <c:v>类别 3</c:v>
                </c:pt>
                <c:pt idx="3">
                  <c:v>类别 4</c:v>
                </c:pt>
              </c:strCache>
            </c:strRef>
          </c:cat>
          <c:val>
            <c:numRef>
              <c:f>Sheet1!$B$2:$B$5</c:f>
              <c:numCache>
                <c:formatCode>General</c:formatCode>
                <c:ptCount val="4"/>
                <c:pt idx="0">
                  <c:v>4.3</c:v>
                </c:pt>
                <c:pt idx="1">
                  <c:v>2.5</c:v>
                </c:pt>
                <c:pt idx="2">
                  <c:v>3.5</c:v>
                </c:pt>
                <c:pt idx="3">
                  <c:v>4.5</c:v>
                </c:pt>
              </c:numCache>
            </c:numRef>
          </c:val>
        </c:ser>
        <c:ser>
          <c:idx val="1"/>
          <c:order val="1"/>
          <c:tx>
            <c:strRef>
              <c:f>Sheet1!$C$1</c:f>
              <c:strCache>
                <c:ptCount val="1"/>
                <c:pt idx="0">
                  <c:v>系列 2</c:v>
                </c:pt>
              </c:strCache>
            </c:strRef>
          </c:tx>
          <c:spPr>
            <a:solidFill>
              <a:srgbClr val="E75D44"/>
            </a:solidFill>
            <a:ln>
              <a:noFill/>
            </a:ln>
            <a:effectLst/>
          </c:spPr>
          <c:invertIfNegative val="0"/>
          <c:dLbls>
            <c:delete val="1"/>
          </c:dLbls>
          <c:cat>
            <c:strRef>
              <c:f>Sheet1!$A$2:$A$5</c:f>
              <c:strCache>
                <c:ptCount val="4"/>
                <c:pt idx="0">
                  <c:v>类别 1</c:v>
                </c:pt>
                <c:pt idx="1">
                  <c:v>类别 2</c:v>
                </c:pt>
                <c:pt idx="2">
                  <c:v>类别 3</c:v>
                </c:pt>
                <c:pt idx="3">
                  <c:v>类别 4</c:v>
                </c:pt>
              </c:strCache>
            </c:strRef>
          </c:cat>
          <c:val>
            <c:numRef>
              <c:f>Sheet1!$C$2:$C$5</c:f>
              <c:numCache>
                <c:formatCode>General</c:formatCode>
                <c:ptCount val="4"/>
                <c:pt idx="0">
                  <c:v>2.4</c:v>
                </c:pt>
                <c:pt idx="1">
                  <c:v>4.4</c:v>
                </c:pt>
                <c:pt idx="2">
                  <c:v>1.8</c:v>
                </c:pt>
                <c:pt idx="3">
                  <c:v>2.8</c:v>
                </c:pt>
              </c:numCache>
            </c:numRef>
          </c:val>
        </c:ser>
        <c:ser>
          <c:idx val="2"/>
          <c:order val="2"/>
          <c:tx>
            <c:strRef>
              <c:f>Sheet1!$D$1</c:f>
              <c:strCache>
                <c:ptCount val="1"/>
                <c:pt idx="0">
                  <c:v>系列 3</c:v>
                </c:pt>
              </c:strCache>
            </c:strRef>
          </c:tx>
          <c:spPr>
            <a:solidFill>
              <a:srgbClr val="2BC79A"/>
            </a:solidFill>
            <a:ln>
              <a:noFill/>
            </a:ln>
            <a:effectLst/>
          </c:spPr>
          <c:invertIfNegative val="0"/>
          <c:dLbls>
            <c:delete val="1"/>
          </c:dLbls>
          <c:cat>
            <c:strRef>
              <c:f>Sheet1!$A$2:$A$5</c:f>
              <c:strCache>
                <c:ptCount val="4"/>
                <c:pt idx="0">
                  <c:v>类别 1</c:v>
                </c:pt>
                <c:pt idx="1">
                  <c:v>类别 2</c:v>
                </c:pt>
                <c:pt idx="2">
                  <c:v>类别 3</c:v>
                </c:pt>
                <c:pt idx="3">
                  <c:v>类别 4</c:v>
                </c:pt>
              </c:strCache>
            </c:strRef>
          </c:cat>
          <c:val>
            <c:numRef>
              <c:f>Sheet1!$D$2:$D$5</c:f>
              <c:numCache>
                <c:formatCode>General</c:formatCode>
                <c:ptCount val="4"/>
                <c:pt idx="0">
                  <c:v>2</c:v>
                </c:pt>
                <c:pt idx="1">
                  <c:v>2</c:v>
                </c:pt>
                <c:pt idx="2">
                  <c:v>3</c:v>
                </c:pt>
                <c:pt idx="3">
                  <c:v>5</c:v>
                </c:pt>
              </c:numCache>
            </c:numRef>
          </c:val>
        </c:ser>
        <c:dLbls>
          <c:showLegendKey val="0"/>
          <c:showVal val="0"/>
          <c:showCatName val="0"/>
          <c:showSerName val="0"/>
          <c:showPercent val="0"/>
          <c:showBubbleSize val="0"/>
        </c:dLbls>
        <c:gapWidth val="219"/>
        <c:overlap val="-27"/>
        <c:axId val="62424672"/>
        <c:axId val="62425232"/>
      </c:barChart>
      <c:catAx>
        <c:axId val="624246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微软雅黑" panose="020B0503020204020204" charset="-122"/>
                <a:ea typeface="微软雅黑" panose="020B0503020204020204" charset="-122"/>
                <a:cs typeface="+mn-cs"/>
              </a:defRPr>
            </a:pPr>
          </a:p>
        </c:txPr>
        <c:crossAx val="62425232"/>
        <c:crosses val="autoZero"/>
        <c:auto val="1"/>
        <c:lblAlgn val="ctr"/>
        <c:lblOffset val="100"/>
        <c:noMultiLvlLbl val="0"/>
      </c:catAx>
      <c:valAx>
        <c:axId val="6242523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微软雅黑" panose="020B0503020204020204" charset="-122"/>
                <a:ea typeface="微软雅黑" panose="020B0503020204020204" charset="-122"/>
                <a:cs typeface="+mn-cs"/>
              </a:defRPr>
            </a:pPr>
          </a:p>
        </c:txPr>
        <c:crossAx val="6242467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lang="zh-CN" sz="1195" b="0" i="0" u="none" strike="noStrike" kern="1200" baseline="0">
              <a:solidFill>
                <a:schemeClr val="tx1">
                  <a:lumMod val="65000"/>
                  <a:lumOff val="35000"/>
                </a:schemeClr>
              </a:solidFill>
              <a:latin typeface="微软雅黑" panose="020B0503020204020204" charset="-122"/>
              <a:ea typeface="微软雅黑" panose="020B0503020204020204" charset="-122"/>
              <a:cs typeface="+mn-cs"/>
            </a:defRPr>
          </a:pPr>
        </a:p>
      </c:txPr>
    </c:legend>
    <c:plotVisOnly val="1"/>
    <c:dispBlanksAs val="gap"/>
    <c:showDLblsOverMax val="0"/>
  </c:chart>
  <c:spPr>
    <a:noFill/>
    <a:ln>
      <a:noFill/>
    </a:ln>
    <a:effectLst/>
  </c:spPr>
  <c:txPr>
    <a:bodyPr/>
    <a:lstStyle/>
    <a:p>
      <a:pPr>
        <a:defRPr lang="zh-CN">
          <a:latin typeface="微软雅黑" panose="020B0503020204020204" charset="-122"/>
          <a:ea typeface="微软雅黑" panose="020B0503020204020204" charset="-122"/>
        </a:defRPr>
      </a:pP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9F5D5A7-C31C-49B0-B686-7027C4BBDF5C}"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9DB085E-DBF9-4EC6-A18A-1583702AD598}"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9.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6.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8.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1.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2.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3.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4.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9.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0.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8.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17A1E546-D1AE-4273-A21E-E9487687B2CD}" type="slidenum">
              <a:rPr lang="zh-CN" altLang="en-US" smtClean="0"/>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41985" name="幻灯片图像占位符 1"/>
          <p:cNvSpPr>
            <a:spLocks noGrp="1" noRot="1" noChangeAspect="1"/>
          </p:cNvSpPr>
          <p:nvPr>
            <p:ph type="sldImg"/>
          </p:nvPr>
        </p:nvSpPr>
        <p:spPr/>
      </p:sp>
      <p:sp>
        <p:nvSpPr>
          <p:cNvPr id="41986" name="备注占位符 2"/>
          <p:cNvSpPr>
            <a:spLocks noGrp="1"/>
          </p:cNvSpPr>
          <p:nvPr>
            <p:ph type="body"/>
          </p:nvPr>
        </p:nvSpPr>
        <p:spPr/>
        <p:txBody>
          <a:bodyPr lIns="91440" tIns="45720" rIns="91440" bIns="45720" anchor="t"/>
          <a:p>
            <a:pPr lvl="0"/>
            <a:endParaRPr lang="zh-CN" altLang="en-US" dirty="0"/>
          </a:p>
        </p:txBody>
      </p:sp>
      <p:sp>
        <p:nvSpPr>
          <p:cNvPr id="41987" name="灯片编号占位符 3"/>
          <p:cNvSpPr>
            <a:spLocks noGrp="1"/>
          </p:cNvSpPr>
          <p:nvPr>
            <p:ph type="sldNum" sz="quarter"/>
          </p:nvPr>
        </p:nvSpPr>
        <p:spPr>
          <a:xfrm>
            <a:off x="3884613" y="8685213"/>
            <a:ext cx="2971800" cy="458787"/>
          </a:xfrm>
          <a:prstGeom prst="rect">
            <a:avLst/>
          </a:prstGeom>
          <a:noFill/>
          <a:ln w="9525">
            <a:noFill/>
          </a:ln>
        </p:spPr>
        <p:txBody>
          <a:bodyPr vert="horz" lIns="91440" tIns="45720" rIns="91440" bIns="45720" anchor="b"/>
          <a:p>
            <a:pPr lvl="0" indent="0" algn="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41985" name="幻灯片图像占位符 1"/>
          <p:cNvSpPr>
            <a:spLocks noGrp="1" noRot="1" noChangeAspect="1"/>
          </p:cNvSpPr>
          <p:nvPr>
            <p:ph type="sldImg"/>
          </p:nvPr>
        </p:nvSpPr>
        <p:spPr/>
      </p:sp>
      <p:sp>
        <p:nvSpPr>
          <p:cNvPr id="41986" name="备注占位符 2"/>
          <p:cNvSpPr>
            <a:spLocks noGrp="1"/>
          </p:cNvSpPr>
          <p:nvPr>
            <p:ph type="body"/>
          </p:nvPr>
        </p:nvSpPr>
        <p:spPr/>
        <p:txBody>
          <a:bodyPr lIns="91440" tIns="45720" rIns="91440" bIns="45720" anchor="t"/>
          <a:p>
            <a:pPr lvl="0"/>
            <a:endParaRPr lang="zh-CN" altLang="en-US" dirty="0"/>
          </a:p>
        </p:txBody>
      </p:sp>
      <p:sp>
        <p:nvSpPr>
          <p:cNvPr id="41987" name="灯片编号占位符 3"/>
          <p:cNvSpPr>
            <a:spLocks noGrp="1"/>
          </p:cNvSpPr>
          <p:nvPr>
            <p:ph type="sldNum" sz="quarter"/>
          </p:nvPr>
        </p:nvSpPr>
        <p:spPr>
          <a:xfrm>
            <a:off x="3884613" y="8685213"/>
            <a:ext cx="2971800" cy="458787"/>
          </a:xfrm>
          <a:prstGeom prst="rect">
            <a:avLst/>
          </a:prstGeom>
          <a:noFill/>
          <a:ln w="9525">
            <a:noFill/>
          </a:ln>
        </p:spPr>
        <p:txBody>
          <a:bodyPr vert="horz" lIns="91440" tIns="45720" rIns="91440" bIns="45720" anchor="b"/>
          <a:p>
            <a:pPr lvl="0" indent="0" algn="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41985" name="幻灯片图像占位符 1"/>
          <p:cNvSpPr>
            <a:spLocks noGrp="1" noRot="1" noChangeAspect="1"/>
          </p:cNvSpPr>
          <p:nvPr>
            <p:ph type="sldImg"/>
          </p:nvPr>
        </p:nvSpPr>
        <p:spPr/>
      </p:sp>
      <p:sp>
        <p:nvSpPr>
          <p:cNvPr id="41986" name="备注占位符 2"/>
          <p:cNvSpPr>
            <a:spLocks noGrp="1"/>
          </p:cNvSpPr>
          <p:nvPr>
            <p:ph type="body"/>
          </p:nvPr>
        </p:nvSpPr>
        <p:spPr/>
        <p:txBody>
          <a:bodyPr lIns="91440" tIns="45720" rIns="91440" bIns="45720" anchor="t"/>
          <a:p>
            <a:pPr lvl="0"/>
            <a:endParaRPr lang="zh-CN" altLang="en-US" dirty="0"/>
          </a:p>
        </p:txBody>
      </p:sp>
      <p:sp>
        <p:nvSpPr>
          <p:cNvPr id="41987" name="灯片编号占位符 3"/>
          <p:cNvSpPr>
            <a:spLocks noGrp="1"/>
          </p:cNvSpPr>
          <p:nvPr>
            <p:ph type="sldNum" sz="quarter"/>
          </p:nvPr>
        </p:nvSpPr>
        <p:spPr>
          <a:xfrm>
            <a:off x="3884613" y="8685213"/>
            <a:ext cx="2971800" cy="458787"/>
          </a:xfrm>
          <a:prstGeom prst="rect">
            <a:avLst/>
          </a:prstGeom>
          <a:noFill/>
          <a:ln w="9525">
            <a:noFill/>
          </a:ln>
        </p:spPr>
        <p:txBody>
          <a:bodyPr vert="horz" lIns="91440" tIns="45720" rIns="91440" bIns="45720" anchor="b"/>
          <a:p>
            <a:pPr lvl="0" indent="0" algn="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41985" name="幻灯片图像占位符 1"/>
          <p:cNvSpPr>
            <a:spLocks noGrp="1" noRot="1" noChangeAspect="1"/>
          </p:cNvSpPr>
          <p:nvPr>
            <p:ph type="sldImg"/>
          </p:nvPr>
        </p:nvSpPr>
        <p:spPr/>
      </p:sp>
      <p:sp>
        <p:nvSpPr>
          <p:cNvPr id="41986" name="备注占位符 2"/>
          <p:cNvSpPr>
            <a:spLocks noGrp="1"/>
          </p:cNvSpPr>
          <p:nvPr>
            <p:ph type="body"/>
          </p:nvPr>
        </p:nvSpPr>
        <p:spPr/>
        <p:txBody>
          <a:bodyPr lIns="91440" tIns="45720" rIns="91440" bIns="45720" anchor="t"/>
          <a:p>
            <a:pPr lvl="0"/>
            <a:endParaRPr lang="zh-CN" altLang="en-US" dirty="0"/>
          </a:p>
        </p:txBody>
      </p:sp>
      <p:sp>
        <p:nvSpPr>
          <p:cNvPr id="41987" name="灯片编号占位符 3"/>
          <p:cNvSpPr>
            <a:spLocks noGrp="1"/>
          </p:cNvSpPr>
          <p:nvPr>
            <p:ph type="sldNum" sz="quarter"/>
          </p:nvPr>
        </p:nvSpPr>
        <p:spPr>
          <a:xfrm>
            <a:off x="3884613" y="8685213"/>
            <a:ext cx="2971800" cy="458787"/>
          </a:xfrm>
          <a:prstGeom prst="rect">
            <a:avLst/>
          </a:prstGeom>
          <a:noFill/>
          <a:ln w="9525">
            <a:noFill/>
          </a:ln>
        </p:spPr>
        <p:txBody>
          <a:bodyPr vert="horz" lIns="91440" tIns="45720" rIns="91440" bIns="45720" anchor="b"/>
          <a:p>
            <a:pPr lvl="0" indent="0" algn="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41985" name="幻灯片图像占位符 1"/>
          <p:cNvSpPr>
            <a:spLocks noGrp="1" noRot="1" noChangeAspect="1"/>
          </p:cNvSpPr>
          <p:nvPr>
            <p:ph type="sldImg"/>
          </p:nvPr>
        </p:nvSpPr>
        <p:spPr/>
      </p:sp>
      <p:sp>
        <p:nvSpPr>
          <p:cNvPr id="41986" name="备注占位符 2"/>
          <p:cNvSpPr>
            <a:spLocks noGrp="1"/>
          </p:cNvSpPr>
          <p:nvPr>
            <p:ph type="body"/>
          </p:nvPr>
        </p:nvSpPr>
        <p:spPr/>
        <p:txBody>
          <a:bodyPr lIns="91440" tIns="45720" rIns="91440" bIns="45720" anchor="t"/>
          <a:p>
            <a:pPr lvl="0"/>
            <a:endParaRPr lang="zh-CN" altLang="en-US" dirty="0"/>
          </a:p>
        </p:txBody>
      </p:sp>
      <p:sp>
        <p:nvSpPr>
          <p:cNvPr id="41987" name="灯片编号占位符 3"/>
          <p:cNvSpPr>
            <a:spLocks noGrp="1"/>
          </p:cNvSpPr>
          <p:nvPr>
            <p:ph type="sldNum" sz="quarter"/>
          </p:nvPr>
        </p:nvSpPr>
        <p:spPr>
          <a:xfrm>
            <a:off x="3884613" y="8685213"/>
            <a:ext cx="2971800" cy="458787"/>
          </a:xfrm>
          <a:prstGeom prst="rect">
            <a:avLst/>
          </a:prstGeom>
          <a:noFill/>
          <a:ln w="9525">
            <a:noFill/>
          </a:ln>
        </p:spPr>
        <p:txBody>
          <a:bodyPr vert="horz" lIns="91440" tIns="45720" rIns="91440" bIns="45720" anchor="b"/>
          <a:p>
            <a:pPr lvl="0" indent="0" algn="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41985" name="幻灯片图像占位符 1"/>
          <p:cNvSpPr>
            <a:spLocks noGrp="1" noRot="1" noChangeAspect="1"/>
          </p:cNvSpPr>
          <p:nvPr>
            <p:ph type="sldImg"/>
          </p:nvPr>
        </p:nvSpPr>
        <p:spPr/>
      </p:sp>
      <p:sp>
        <p:nvSpPr>
          <p:cNvPr id="41986" name="备注占位符 2"/>
          <p:cNvSpPr>
            <a:spLocks noGrp="1"/>
          </p:cNvSpPr>
          <p:nvPr>
            <p:ph type="body"/>
          </p:nvPr>
        </p:nvSpPr>
        <p:spPr/>
        <p:txBody>
          <a:bodyPr lIns="91440" tIns="45720" rIns="91440" bIns="45720" anchor="t"/>
          <a:p>
            <a:pPr lvl="0"/>
            <a:endParaRPr lang="zh-CN" altLang="en-US" dirty="0"/>
          </a:p>
        </p:txBody>
      </p:sp>
      <p:sp>
        <p:nvSpPr>
          <p:cNvPr id="41987" name="灯片编号占位符 3"/>
          <p:cNvSpPr>
            <a:spLocks noGrp="1"/>
          </p:cNvSpPr>
          <p:nvPr>
            <p:ph type="sldNum" sz="quarter"/>
          </p:nvPr>
        </p:nvSpPr>
        <p:spPr>
          <a:xfrm>
            <a:off x="3884613" y="8685213"/>
            <a:ext cx="2971800" cy="458787"/>
          </a:xfrm>
          <a:prstGeom prst="rect">
            <a:avLst/>
          </a:prstGeom>
          <a:noFill/>
          <a:ln w="9525">
            <a:noFill/>
          </a:ln>
        </p:spPr>
        <p:txBody>
          <a:bodyPr vert="horz" lIns="91440" tIns="45720" rIns="91440" bIns="45720" anchor="b"/>
          <a:p>
            <a:pPr lvl="0" indent="0" algn="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41985" name="幻灯片图像占位符 1"/>
          <p:cNvSpPr>
            <a:spLocks noGrp="1" noRot="1" noChangeAspect="1"/>
          </p:cNvSpPr>
          <p:nvPr>
            <p:ph type="sldImg"/>
          </p:nvPr>
        </p:nvSpPr>
        <p:spPr/>
      </p:sp>
      <p:sp>
        <p:nvSpPr>
          <p:cNvPr id="41986" name="备注占位符 2"/>
          <p:cNvSpPr>
            <a:spLocks noGrp="1"/>
          </p:cNvSpPr>
          <p:nvPr>
            <p:ph type="body"/>
          </p:nvPr>
        </p:nvSpPr>
        <p:spPr/>
        <p:txBody>
          <a:bodyPr lIns="91440" tIns="45720" rIns="91440" bIns="45720" anchor="t"/>
          <a:p>
            <a:pPr lvl="0"/>
            <a:endParaRPr lang="zh-CN" altLang="en-US" dirty="0"/>
          </a:p>
        </p:txBody>
      </p:sp>
      <p:sp>
        <p:nvSpPr>
          <p:cNvPr id="41987" name="灯片编号占位符 3"/>
          <p:cNvSpPr>
            <a:spLocks noGrp="1"/>
          </p:cNvSpPr>
          <p:nvPr>
            <p:ph type="sldNum" sz="quarter"/>
          </p:nvPr>
        </p:nvSpPr>
        <p:spPr>
          <a:xfrm>
            <a:off x="3884613" y="8685213"/>
            <a:ext cx="2971800" cy="458787"/>
          </a:xfrm>
          <a:prstGeom prst="rect">
            <a:avLst/>
          </a:prstGeom>
          <a:noFill/>
          <a:ln w="9525">
            <a:noFill/>
          </a:ln>
        </p:spPr>
        <p:txBody>
          <a:bodyPr vert="horz" lIns="91440" tIns="45720" rIns="91440" bIns="45720" anchor="b"/>
          <a:p>
            <a:pPr lvl="0" indent="0" algn="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41985" name="幻灯片图像占位符 1"/>
          <p:cNvSpPr>
            <a:spLocks noGrp="1" noRot="1" noChangeAspect="1"/>
          </p:cNvSpPr>
          <p:nvPr>
            <p:ph type="sldImg"/>
          </p:nvPr>
        </p:nvSpPr>
        <p:spPr/>
      </p:sp>
      <p:sp>
        <p:nvSpPr>
          <p:cNvPr id="41986" name="备注占位符 2"/>
          <p:cNvSpPr>
            <a:spLocks noGrp="1"/>
          </p:cNvSpPr>
          <p:nvPr>
            <p:ph type="body"/>
          </p:nvPr>
        </p:nvSpPr>
        <p:spPr/>
        <p:txBody>
          <a:bodyPr lIns="91440" tIns="45720" rIns="91440" bIns="45720" anchor="t"/>
          <a:p>
            <a:pPr lvl="0"/>
            <a:endParaRPr lang="zh-CN" altLang="en-US" dirty="0"/>
          </a:p>
        </p:txBody>
      </p:sp>
      <p:sp>
        <p:nvSpPr>
          <p:cNvPr id="41987" name="灯片编号占位符 3"/>
          <p:cNvSpPr>
            <a:spLocks noGrp="1"/>
          </p:cNvSpPr>
          <p:nvPr>
            <p:ph type="sldNum" sz="quarter"/>
          </p:nvPr>
        </p:nvSpPr>
        <p:spPr>
          <a:xfrm>
            <a:off x="3884613" y="8685213"/>
            <a:ext cx="2971800" cy="458787"/>
          </a:xfrm>
          <a:prstGeom prst="rect">
            <a:avLst/>
          </a:prstGeom>
          <a:noFill/>
          <a:ln w="9525">
            <a:noFill/>
          </a:ln>
        </p:spPr>
        <p:txBody>
          <a:bodyPr vert="horz" lIns="91440" tIns="45720" rIns="91440" bIns="45720" anchor="b"/>
          <a:p>
            <a:pPr lvl="0" indent="0" algn="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41985" name="幻灯片图像占位符 1"/>
          <p:cNvSpPr>
            <a:spLocks noGrp="1" noRot="1" noChangeAspect="1"/>
          </p:cNvSpPr>
          <p:nvPr>
            <p:ph type="sldImg"/>
          </p:nvPr>
        </p:nvSpPr>
        <p:spPr/>
      </p:sp>
      <p:sp>
        <p:nvSpPr>
          <p:cNvPr id="41986" name="备注占位符 2"/>
          <p:cNvSpPr>
            <a:spLocks noGrp="1"/>
          </p:cNvSpPr>
          <p:nvPr>
            <p:ph type="body"/>
          </p:nvPr>
        </p:nvSpPr>
        <p:spPr/>
        <p:txBody>
          <a:bodyPr lIns="91440" tIns="45720" rIns="91440" bIns="45720" anchor="t"/>
          <a:p>
            <a:pPr lvl="0"/>
            <a:endParaRPr lang="zh-CN" altLang="en-US" dirty="0"/>
          </a:p>
        </p:txBody>
      </p:sp>
      <p:sp>
        <p:nvSpPr>
          <p:cNvPr id="41987" name="灯片编号占位符 3"/>
          <p:cNvSpPr>
            <a:spLocks noGrp="1"/>
          </p:cNvSpPr>
          <p:nvPr>
            <p:ph type="sldNum" sz="quarter"/>
          </p:nvPr>
        </p:nvSpPr>
        <p:spPr>
          <a:xfrm>
            <a:off x="3884613" y="8685213"/>
            <a:ext cx="2971800" cy="458787"/>
          </a:xfrm>
          <a:prstGeom prst="rect">
            <a:avLst/>
          </a:prstGeom>
          <a:noFill/>
          <a:ln w="9525">
            <a:noFill/>
          </a:ln>
        </p:spPr>
        <p:txBody>
          <a:bodyPr vert="horz" lIns="91440" tIns="45720" rIns="91440" bIns="45720" anchor="b"/>
          <a:p>
            <a:pPr lvl="0" indent="0" algn="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41985" name="幻灯片图像占位符 1"/>
          <p:cNvSpPr>
            <a:spLocks noGrp="1" noRot="1" noChangeAspect="1"/>
          </p:cNvSpPr>
          <p:nvPr>
            <p:ph type="sldImg"/>
          </p:nvPr>
        </p:nvSpPr>
        <p:spPr/>
      </p:sp>
      <p:sp>
        <p:nvSpPr>
          <p:cNvPr id="41986" name="备注占位符 2"/>
          <p:cNvSpPr>
            <a:spLocks noGrp="1"/>
          </p:cNvSpPr>
          <p:nvPr>
            <p:ph type="body"/>
          </p:nvPr>
        </p:nvSpPr>
        <p:spPr/>
        <p:txBody>
          <a:bodyPr lIns="91440" tIns="45720" rIns="91440" bIns="45720" anchor="t"/>
          <a:p>
            <a:pPr lvl="0"/>
            <a:endParaRPr lang="zh-CN" altLang="en-US" dirty="0"/>
          </a:p>
        </p:txBody>
      </p:sp>
      <p:sp>
        <p:nvSpPr>
          <p:cNvPr id="41987" name="灯片编号占位符 3"/>
          <p:cNvSpPr>
            <a:spLocks noGrp="1"/>
          </p:cNvSpPr>
          <p:nvPr>
            <p:ph type="sldNum" sz="quarter"/>
          </p:nvPr>
        </p:nvSpPr>
        <p:spPr>
          <a:xfrm>
            <a:off x="3884613" y="8685213"/>
            <a:ext cx="2971800" cy="458787"/>
          </a:xfrm>
          <a:prstGeom prst="rect">
            <a:avLst/>
          </a:prstGeom>
          <a:noFill/>
          <a:ln w="9525">
            <a:noFill/>
          </a:ln>
        </p:spPr>
        <p:txBody>
          <a:bodyPr vert="horz" lIns="91440" tIns="45720" rIns="91440" bIns="45720" anchor="b"/>
          <a:p>
            <a:pPr lvl="0" indent="0" algn="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17A1E546-D1AE-4273-A21E-E9487687B2CD}"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41985" name="幻灯片图像占位符 1"/>
          <p:cNvSpPr>
            <a:spLocks noGrp="1" noRot="1" noChangeAspect="1"/>
          </p:cNvSpPr>
          <p:nvPr>
            <p:ph type="sldImg"/>
          </p:nvPr>
        </p:nvSpPr>
        <p:spPr/>
      </p:sp>
      <p:sp>
        <p:nvSpPr>
          <p:cNvPr id="41986" name="备注占位符 2"/>
          <p:cNvSpPr>
            <a:spLocks noGrp="1"/>
          </p:cNvSpPr>
          <p:nvPr>
            <p:ph type="body"/>
          </p:nvPr>
        </p:nvSpPr>
        <p:spPr/>
        <p:txBody>
          <a:bodyPr lIns="91440" tIns="45720" rIns="91440" bIns="45720" anchor="t"/>
          <a:p>
            <a:pPr lvl="0"/>
            <a:endParaRPr lang="zh-CN" altLang="en-US" dirty="0"/>
          </a:p>
        </p:txBody>
      </p:sp>
      <p:sp>
        <p:nvSpPr>
          <p:cNvPr id="41987" name="灯片编号占位符 3"/>
          <p:cNvSpPr>
            <a:spLocks noGrp="1"/>
          </p:cNvSpPr>
          <p:nvPr>
            <p:ph type="sldNum" sz="quarter"/>
          </p:nvPr>
        </p:nvSpPr>
        <p:spPr>
          <a:xfrm>
            <a:off x="3884613" y="8685213"/>
            <a:ext cx="2971800" cy="458787"/>
          </a:xfrm>
          <a:prstGeom prst="rect">
            <a:avLst/>
          </a:prstGeom>
          <a:noFill/>
          <a:ln w="9525">
            <a:noFill/>
          </a:ln>
        </p:spPr>
        <p:txBody>
          <a:bodyPr vert="horz" lIns="91440" tIns="45720" rIns="91440" bIns="45720" anchor="b"/>
          <a:p>
            <a:pPr lvl="0" indent="0" algn="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41985" name="幻灯片图像占位符 1"/>
          <p:cNvSpPr>
            <a:spLocks noGrp="1" noRot="1" noChangeAspect="1"/>
          </p:cNvSpPr>
          <p:nvPr>
            <p:ph type="sldImg"/>
          </p:nvPr>
        </p:nvSpPr>
        <p:spPr/>
      </p:sp>
      <p:sp>
        <p:nvSpPr>
          <p:cNvPr id="41986" name="备注占位符 2"/>
          <p:cNvSpPr>
            <a:spLocks noGrp="1"/>
          </p:cNvSpPr>
          <p:nvPr>
            <p:ph type="body"/>
          </p:nvPr>
        </p:nvSpPr>
        <p:spPr/>
        <p:txBody>
          <a:bodyPr lIns="91440" tIns="45720" rIns="91440" bIns="45720" anchor="t"/>
          <a:p>
            <a:pPr lvl="0"/>
            <a:endParaRPr lang="zh-CN" altLang="en-US" dirty="0"/>
          </a:p>
        </p:txBody>
      </p:sp>
      <p:sp>
        <p:nvSpPr>
          <p:cNvPr id="41987" name="灯片编号占位符 3"/>
          <p:cNvSpPr>
            <a:spLocks noGrp="1"/>
          </p:cNvSpPr>
          <p:nvPr>
            <p:ph type="sldNum" sz="quarter"/>
          </p:nvPr>
        </p:nvSpPr>
        <p:spPr>
          <a:xfrm>
            <a:off x="3884613" y="8685213"/>
            <a:ext cx="2971800" cy="458787"/>
          </a:xfrm>
          <a:prstGeom prst="rect">
            <a:avLst/>
          </a:prstGeom>
          <a:noFill/>
          <a:ln w="9525">
            <a:noFill/>
          </a:ln>
        </p:spPr>
        <p:txBody>
          <a:bodyPr vert="horz" lIns="91440" tIns="45720" rIns="91440" bIns="45720" anchor="b"/>
          <a:p>
            <a:pPr lvl="0" indent="0" algn="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41985" name="幻灯片图像占位符 1"/>
          <p:cNvSpPr>
            <a:spLocks noGrp="1" noRot="1" noChangeAspect="1"/>
          </p:cNvSpPr>
          <p:nvPr>
            <p:ph type="sldImg"/>
          </p:nvPr>
        </p:nvSpPr>
        <p:spPr/>
      </p:sp>
      <p:sp>
        <p:nvSpPr>
          <p:cNvPr id="41986" name="备注占位符 2"/>
          <p:cNvSpPr>
            <a:spLocks noGrp="1"/>
          </p:cNvSpPr>
          <p:nvPr>
            <p:ph type="body"/>
          </p:nvPr>
        </p:nvSpPr>
        <p:spPr/>
        <p:txBody>
          <a:bodyPr lIns="91440" tIns="45720" rIns="91440" bIns="45720" anchor="t"/>
          <a:p>
            <a:pPr lvl="0"/>
            <a:endParaRPr lang="zh-CN" altLang="en-US" dirty="0"/>
          </a:p>
        </p:txBody>
      </p:sp>
      <p:sp>
        <p:nvSpPr>
          <p:cNvPr id="41987" name="灯片编号占位符 3"/>
          <p:cNvSpPr>
            <a:spLocks noGrp="1"/>
          </p:cNvSpPr>
          <p:nvPr>
            <p:ph type="sldNum" sz="quarter"/>
          </p:nvPr>
        </p:nvSpPr>
        <p:spPr>
          <a:xfrm>
            <a:off x="3884613" y="8685213"/>
            <a:ext cx="2971800" cy="458787"/>
          </a:xfrm>
          <a:prstGeom prst="rect">
            <a:avLst/>
          </a:prstGeom>
          <a:noFill/>
          <a:ln w="9525">
            <a:noFill/>
          </a:ln>
        </p:spPr>
        <p:txBody>
          <a:bodyPr vert="horz" lIns="91440" tIns="45720" rIns="91440" bIns="45720" anchor="b"/>
          <a:p>
            <a:pPr lvl="0" indent="0" algn="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41985" name="幻灯片图像占位符 1"/>
          <p:cNvSpPr>
            <a:spLocks noGrp="1" noRot="1" noChangeAspect="1"/>
          </p:cNvSpPr>
          <p:nvPr>
            <p:ph type="sldImg"/>
          </p:nvPr>
        </p:nvSpPr>
        <p:spPr/>
      </p:sp>
      <p:sp>
        <p:nvSpPr>
          <p:cNvPr id="41986" name="备注占位符 2"/>
          <p:cNvSpPr>
            <a:spLocks noGrp="1"/>
          </p:cNvSpPr>
          <p:nvPr>
            <p:ph type="body"/>
          </p:nvPr>
        </p:nvSpPr>
        <p:spPr/>
        <p:txBody>
          <a:bodyPr lIns="91440" tIns="45720" rIns="91440" bIns="45720" anchor="t"/>
          <a:p>
            <a:pPr lvl="0"/>
            <a:endParaRPr lang="zh-CN" altLang="en-US" dirty="0"/>
          </a:p>
        </p:txBody>
      </p:sp>
      <p:sp>
        <p:nvSpPr>
          <p:cNvPr id="41987" name="灯片编号占位符 3"/>
          <p:cNvSpPr>
            <a:spLocks noGrp="1"/>
          </p:cNvSpPr>
          <p:nvPr>
            <p:ph type="sldNum" sz="quarter"/>
          </p:nvPr>
        </p:nvSpPr>
        <p:spPr>
          <a:xfrm>
            <a:off x="3884613" y="8685213"/>
            <a:ext cx="2971800" cy="458787"/>
          </a:xfrm>
          <a:prstGeom prst="rect">
            <a:avLst/>
          </a:prstGeom>
          <a:noFill/>
          <a:ln w="9525">
            <a:noFill/>
          </a:ln>
        </p:spPr>
        <p:txBody>
          <a:bodyPr vert="horz" lIns="91440" tIns="45720" rIns="91440" bIns="45720" anchor="b"/>
          <a:p>
            <a:pPr lvl="0" indent="0" algn="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64513" name="幻灯片图像占位符 1"/>
          <p:cNvSpPr>
            <a:spLocks noGrp="1" noRot="1" noChangeAspect="1"/>
          </p:cNvSpPr>
          <p:nvPr>
            <p:ph type="sldImg"/>
          </p:nvPr>
        </p:nvSpPr>
        <p:spPr/>
      </p:sp>
      <p:sp>
        <p:nvSpPr>
          <p:cNvPr id="64514" name="备注占位符 2"/>
          <p:cNvSpPr>
            <a:spLocks noGrp="1"/>
          </p:cNvSpPr>
          <p:nvPr>
            <p:ph type="body"/>
          </p:nvPr>
        </p:nvSpPr>
        <p:spPr/>
        <p:txBody>
          <a:bodyPr lIns="91440" tIns="45720" rIns="91440" bIns="45720" anchor="t"/>
          <a:p>
            <a:pPr lvl="0"/>
            <a:endParaRPr lang="zh-CN" altLang="en-US" dirty="0"/>
          </a:p>
        </p:txBody>
      </p:sp>
      <p:sp>
        <p:nvSpPr>
          <p:cNvPr id="64515" name="灯片编号占位符 3"/>
          <p:cNvSpPr>
            <a:spLocks noGrp="1"/>
          </p:cNvSpPr>
          <p:nvPr>
            <p:ph type="sldNum" sz="quarter"/>
          </p:nvPr>
        </p:nvSpPr>
        <p:spPr>
          <a:xfrm>
            <a:off x="3884613" y="8685213"/>
            <a:ext cx="2971800" cy="458787"/>
          </a:xfrm>
          <a:prstGeom prst="rect">
            <a:avLst/>
          </a:prstGeom>
          <a:noFill/>
          <a:ln w="9525">
            <a:noFill/>
          </a:ln>
        </p:spPr>
        <p:txBody>
          <a:bodyPr vert="horz" lIns="91440" tIns="45720" rIns="91440" bIns="45720" anchor="b"/>
          <a:p>
            <a:pPr lvl="0" indent="0" algn="r"/>
            <a:fld id="{9A0DB2DC-4C9A-4742-B13C-FB6460FD3503}" type="slidenum">
              <a:rPr lang="zh-CN" altLang="en-US" sz="1200">
                <a:latin typeface="Arial" panose="020B0604020202020204" pitchFamily="34" charset="0"/>
                <a:ea typeface="宋体" panose="02010600030101010101" pitchFamily="2" charset="-122"/>
              </a:rPr>
            </a:fld>
            <a:endParaRPr lang="zh-CN" alt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17A1E546-D1AE-4273-A21E-E9487687B2CD}" type="slidenum">
              <a:rPr lang="zh-CN" altLang="en-US" smtClean="0"/>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17A1E546-D1AE-4273-A21E-E9487687B2CD}"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9" Type="http://schemas.openxmlformats.org/officeDocument/2006/relationships/vmlDrawing" Target="../drawings/vmlDrawing1.vml"/><Relationship Id="rId8" Type="http://schemas.openxmlformats.org/officeDocument/2006/relationships/oleObject" Target="../embeddings/oleObject3.bin"/><Relationship Id="rId7"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tags" Target="../tags/tag2.xml"/><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5" Type="http://schemas.openxmlformats.org/officeDocument/2006/relationships/vmlDrawing" Target="../drawings/vmlDrawing2.vml"/><Relationship Id="rId4" Type="http://schemas.openxmlformats.org/officeDocument/2006/relationships/image" Target="../media/image1.emf"/><Relationship Id="rId3" Type="http://schemas.openxmlformats.org/officeDocument/2006/relationships/oleObject" Target="../embeddings/oleObject4.bin"/><Relationship Id="rId2" Type="http://schemas.openxmlformats.org/officeDocument/2006/relationships/tags" Target="../tags/tag4.xm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3" name="think-cell Slide" r:id="rId3" imgW="12700" imgH="12700" progId="TCLayout.ActiveDocument.1">
                  <p:embed/>
                </p:oleObj>
              </mc:Choice>
              <mc:Fallback>
                <p:oleObj name="think-cell Slide" r:id="rId3" imgW="12700" imgH="12700" progId="TCLayout.ActiveDocument.1">
                  <p:embed/>
                  <p:pic>
                    <p:nvPicPr>
                      <p:cNvPr id="0" name="Object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Rectangle 3"/>
          <p:cNvSpPr/>
          <p:nvPr userDrawn="1"/>
        </p:nvSpPr>
        <p:spPr>
          <a:xfrm>
            <a:off x="0" y="0"/>
            <a:ext cx="203200" cy="6858000"/>
          </a:xfrm>
          <a:prstGeom prst="rect">
            <a:avLst/>
          </a:prstGeom>
          <a:gradFill>
            <a:gsLst>
              <a:gs pos="82000">
                <a:srgbClr val="FF4D75"/>
              </a:gs>
              <a:gs pos="2000">
                <a:srgbClr val="9443E2"/>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dirty="0"/>
              <a:t> </a:t>
            </a:r>
            <a:endParaRPr lang="en-US" dirty="0"/>
          </a:p>
        </p:txBody>
      </p:sp>
      <p:graphicFrame>
        <p:nvGraphicFramePr>
          <p:cNvPr id="2" name="Object 6" hidden="1"/>
          <p:cNvGraphicFramePr>
            <a:graphicFrameLocks noChangeAspect="1"/>
          </p:cNvGraphicFramePr>
          <p:nvPr userDrawn="1">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7" name="think-cell Slide" r:id="rId6" imgW="12700" imgH="12700" progId="TCLayout.ActiveDocument.1">
                  <p:embed/>
                </p:oleObj>
              </mc:Choice>
              <mc:Fallback>
                <p:oleObj name="think-cell Slide" r:id="rId6" imgW="12700" imgH="12700" progId="TCLayout.ActiveDocument.1">
                  <p:embed/>
                  <p:pic>
                    <p:nvPicPr>
                      <p:cNvPr id="0" name="Object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Rectangle 3"/>
          <p:cNvSpPr/>
          <p:nvPr userDrawn="1"/>
        </p:nvSpPr>
        <p:spPr>
          <a:xfrm flipH="1">
            <a:off x="11988800" y="0"/>
            <a:ext cx="203200" cy="6858000"/>
          </a:xfrm>
          <a:prstGeom prst="rect">
            <a:avLst/>
          </a:prstGeom>
          <a:gradFill>
            <a:gsLst>
              <a:gs pos="92000">
                <a:srgbClr val="FF4D75"/>
              </a:gs>
              <a:gs pos="2000">
                <a:srgbClr val="9443E2"/>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dirty="0"/>
              <a:t> </a:t>
            </a:r>
            <a:endParaRPr lang="en-US" dirty="0"/>
          </a:p>
        </p:txBody>
      </p:sp>
      <p:graphicFrame>
        <p:nvGraphicFramePr>
          <p:cNvPr id="5" name="Object 6" hidden="1"/>
          <p:cNvGraphicFramePr>
            <a:graphicFrameLocks noChangeAspect="1"/>
          </p:cNvGraphicFramePr>
          <p:nvPr userDrawn="1">
            <p:custDataLst>
              <p:tags r:id="rId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4" name="think-cell Slide" r:id="rId8" imgW="12700" imgH="12700" progId="TCLayout.ActiveDocument.1">
                  <p:embed/>
                </p:oleObj>
              </mc:Choice>
              <mc:Fallback>
                <p:oleObj name="think-cell Slide" r:id="rId8" imgW="12700" imgH="12700" progId="TCLayout.ActiveDocument.1">
                  <p:embed/>
                  <p:pic>
                    <p:nvPicPr>
                      <p:cNvPr id="0" name="Object 6"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空白">
    <p:spTree>
      <p:nvGrpSpPr>
        <p:cNvPr id="1" name=""/>
        <p:cNvGrpSpPr/>
        <p:nvPr/>
      </p:nvGrpSpPr>
      <p:grpSpPr>
        <a:xfrm>
          <a:off x="0" y="0"/>
          <a:ext cx="0" cy="0"/>
          <a:chOff x="0" y="0"/>
          <a:chExt cx="0" cy="0"/>
        </a:xfrm>
      </p:grpSpPr>
      <p:sp>
        <p:nvSpPr>
          <p:cNvPr id="8" name="标题 1"/>
          <p:cNvSpPr>
            <a:spLocks noGrp="1"/>
          </p:cNvSpPr>
          <p:nvPr>
            <p:ph type="title" hasCustomPrompt="1"/>
          </p:nvPr>
        </p:nvSpPr>
        <p:spPr>
          <a:xfrm>
            <a:off x="838200" y="0"/>
            <a:ext cx="10515600" cy="1325563"/>
          </a:xfrm>
        </p:spPr>
        <p:txBody>
          <a:bodyPr/>
          <a:lstStyle>
            <a:lvl1pPr algn="ctr">
              <a:defRPr>
                <a:solidFill>
                  <a:schemeClr val="tx1">
                    <a:lumMod val="65000"/>
                    <a:lumOff val="35000"/>
                  </a:schemeClr>
                </a:solidFill>
              </a:defRPr>
            </a:lvl1pPr>
          </a:lstStyle>
          <a:p>
            <a:r>
              <a:rPr lang="zh-CN" altLang="en-US" dirty="0"/>
              <a:t>显示世界地图模板</a:t>
            </a:r>
            <a:endParaRPr lang="zh-CN" altLang="en-US" dirty="0"/>
          </a:p>
        </p:txBody>
      </p:sp>
      <p:pic>
        <p:nvPicPr>
          <p:cNvPr id="2" name="图片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06224" y="2060277"/>
            <a:ext cx="7414245" cy="3643307"/>
          </a:xfrm>
          <a:prstGeom prst="rect">
            <a:avLst/>
          </a:prstGeom>
        </p:spPr>
      </p:pic>
    </p:spTree>
  </p:cSld>
  <p:clrMapOvr>
    <a:masterClrMapping/>
  </p:clrMapOvr>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空白">
    <p:spTree>
      <p:nvGrpSpPr>
        <p:cNvPr id="1" name=""/>
        <p:cNvGrpSpPr/>
        <p:nvPr/>
      </p:nvGrpSpPr>
      <p:grpSpPr>
        <a:xfrm>
          <a:off x="0" y="0"/>
          <a:ext cx="0" cy="0"/>
          <a:chOff x="0" y="0"/>
          <a:chExt cx="0" cy="0"/>
        </a:xfrm>
      </p:grpSpPr>
      <p:pic>
        <p:nvPicPr>
          <p:cNvPr id="4" name="图片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8200" y="1819563"/>
            <a:ext cx="6010444" cy="4966849"/>
          </a:xfrm>
          <a:prstGeom prst="rect">
            <a:avLst/>
          </a:prstGeom>
        </p:spPr>
      </p:pic>
      <p:sp>
        <p:nvSpPr>
          <p:cNvPr id="8" name="标题 1"/>
          <p:cNvSpPr>
            <a:spLocks noGrp="1"/>
          </p:cNvSpPr>
          <p:nvPr>
            <p:ph type="title" hasCustomPrompt="1"/>
          </p:nvPr>
        </p:nvSpPr>
        <p:spPr>
          <a:xfrm>
            <a:off x="838200" y="0"/>
            <a:ext cx="10515600" cy="1325563"/>
          </a:xfrm>
        </p:spPr>
        <p:txBody>
          <a:bodyPr/>
          <a:lstStyle>
            <a:lvl1pPr algn="ctr">
              <a:defRPr>
                <a:solidFill>
                  <a:schemeClr val="tx1">
                    <a:lumMod val="65000"/>
                    <a:lumOff val="35000"/>
                  </a:schemeClr>
                </a:solidFill>
              </a:defRPr>
            </a:lvl1pPr>
          </a:lstStyle>
          <a:p>
            <a:r>
              <a:rPr lang="zh-CN" altLang="en-US" dirty="0"/>
              <a:t>显示中国地图模板</a:t>
            </a:r>
            <a:endParaRPr lang="zh-CN" altLang="en-US" dirty="0"/>
          </a:p>
        </p:txBody>
      </p:sp>
    </p:spTree>
  </p:cSld>
  <p:clrMapOvr>
    <a:masterClrMapping/>
  </p:clrMapOvr>
  <p:hf sldNum="0"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3" name="标题 1"/>
          <p:cNvSpPr>
            <a:spLocks noGrp="1"/>
          </p:cNvSpPr>
          <p:nvPr>
            <p:ph type="title" hasCustomPrompt="1"/>
          </p:nvPr>
        </p:nvSpPr>
        <p:spPr>
          <a:xfrm>
            <a:off x="838200" y="0"/>
            <a:ext cx="10515600" cy="1325563"/>
          </a:xfrm>
        </p:spPr>
        <p:txBody>
          <a:bodyPr/>
          <a:lstStyle>
            <a:lvl1pPr algn="ctr">
              <a:defRPr>
                <a:solidFill>
                  <a:schemeClr val="tx1">
                    <a:lumMod val="65000"/>
                    <a:lumOff val="35000"/>
                  </a:schemeClr>
                </a:solidFill>
              </a:defRPr>
            </a:lvl1pPr>
          </a:lstStyle>
          <a:p>
            <a:r>
              <a:rPr lang="zh-CN" altLang="en-US" dirty="0"/>
              <a:t>标题</a:t>
            </a:r>
            <a:endParaRPr lang="zh-CN" altLang="en-US" dirty="0"/>
          </a:p>
        </p:txBody>
      </p:sp>
    </p:spTree>
  </p:cSld>
  <p:clrMapOvr>
    <a:masterClrMapping/>
  </p:clrMapOvr>
  <p:hf sldNum="0"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标题幻灯片">
    <p:spTree>
      <p:nvGrpSpPr>
        <p:cNvPr id="1" name=""/>
        <p:cNvGrpSpPr/>
        <p:nvPr/>
      </p:nvGrpSpPr>
      <p:grpSpPr>
        <a:xfrm>
          <a:off x="0" y="0"/>
          <a:ext cx="0" cy="0"/>
          <a:chOff x="0" y="0"/>
          <a:chExt cx="0" cy="0"/>
        </a:xfrm>
      </p:grpSpPr>
      <p:sp>
        <p:nvSpPr>
          <p:cNvPr id="4" name="矩形 3"/>
          <p:cNvSpPr/>
          <p:nvPr/>
        </p:nvSpPr>
        <p:spPr>
          <a:xfrm>
            <a:off x="0" y="0"/>
            <a:ext cx="12192000" cy="6858000"/>
          </a:xfrm>
          <a:prstGeom prst="rect">
            <a:avLst/>
          </a:prstGeom>
          <a:solidFill>
            <a:srgbClr val="F3F4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a:xfrm>
            <a:off x="838200" y="6356350"/>
            <a:ext cx="2743200" cy="365125"/>
          </a:xfrm>
        </p:spPr>
        <p:txBody>
          <a:bodyPr/>
          <a:lstStyle/>
          <a:p>
            <a:fld id="{263DB197-84B0-484E-9C0F-88358ECCB797}" type="datetimeFigureOut">
              <a:rPr lang="zh-CN" altLang="en-US" smtClean="0"/>
            </a:fld>
            <a:endParaRPr lang="zh-CN" altLang="en-US"/>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a:xfrm>
            <a:off x="838200" y="6356350"/>
            <a:ext cx="2743200" cy="365125"/>
          </a:xfrm>
        </p:spPr>
        <p:txBody>
          <a:bodyPr/>
          <a:lstStyle/>
          <a:p>
            <a:fld id="{263DB197-84B0-484E-9C0F-88358ECCB797}" type="datetimeFigureOut">
              <a:rPr lang="zh-CN" altLang="en-US" smtClean="0"/>
            </a:fld>
            <a:endParaRPr lang="zh-CN" altLang="en-US"/>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a:xfrm>
            <a:off x="838200" y="6356350"/>
            <a:ext cx="2743200" cy="365125"/>
          </a:xfrm>
        </p:spPr>
        <p:txBody>
          <a:bodyPr/>
          <a:lstStyle/>
          <a:p>
            <a:fld id="{263DB197-84B0-484E-9C0F-88358ECCB797}" type="datetimeFigureOut">
              <a:rPr lang="zh-CN" altLang="en-US" smtClean="0"/>
            </a:fld>
            <a:endParaRPr lang="zh-CN" altLang="en-US"/>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标题幻灯片">
    <p:spTree>
      <p:nvGrpSpPr>
        <p:cNvPr id="1" name=""/>
        <p:cNvGrpSpPr/>
        <p:nvPr/>
      </p:nvGrpSpPr>
      <p:grpSpPr>
        <a:xfrm>
          <a:off x="0" y="0"/>
          <a:ext cx="0" cy="0"/>
          <a:chOff x="0" y="0"/>
          <a:chExt cx="0" cy="0"/>
        </a:xfrm>
      </p:grpSpPr>
      <p:sp>
        <p:nvSpPr>
          <p:cNvPr id="5" name="矩形 4"/>
          <p:cNvSpPr/>
          <p:nvPr/>
        </p:nvSpPr>
        <p:spPr>
          <a:xfrm>
            <a:off x="0" y="0"/>
            <a:ext cx="12192000" cy="6858000"/>
          </a:xfrm>
          <a:prstGeom prst="rect">
            <a:avLst/>
          </a:prstGeom>
          <a:solidFill>
            <a:srgbClr val="F3F4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弧形 11"/>
          <p:cNvSpPr/>
          <p:nvPr/>
        </p:nvSpPr>
        <p:spPr>
          <a:xfrm rot="2654405">
            <a:off x="-9535292" y="-3664735"/>
            <a:ext cx="14149985" cy="13062857"/>
          </a:xfrm>
          <a:prstGeom prst="arc">
            <a:avLst>
              <a:gd name="adj1" fmla="val 17397036"/>
              <a:gd name="adj2" fmla="val 21022353"/>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Tree>
  </p:cSld>
  <p:clrMapOvr>
    <a:masterClrMapping/>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
        <p:nvSpPr>
          <p:cNvPr id="5" name="矩形 4"/>
          <p:cNvSpPr/>
          <p:nvPr/>
        </p:nvSpPr>
        <p:spPr>
          <a:xfrm>
            <a:off x="0" y="0"/>
            <a:ext cx="12192000" cy="6858000"/>
          </a:xfrm>
          <a:prstGeom prst="rect">
            <a:avLst/>
          </a:prstGeom>
          <a:solidFill>
            <a:srgbClr val="F3F4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8" name="弧形 17"/>
          <p:cNvSpPr/>
          <p:nvPr/>
        </p:nvSpPr>
        <p:spPr>
          <a:xfrm rot="13347700">
            <a:off x="2534427" y="-2708771"/>
            <a:ext cx="14149985" cy="13062857"/>
          </a:xfrm>
          <a:prstGeom prst="arc">
            <a:avLst>
              <a:gd name="adj1" fmla="val 17397036"/>
              <a:gd name="adj2" fmla="val 21022353"/>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2" name="标题 1"/>
          <p:cNvSpPr>
            <a:spLocks noGrp="1"/>
          </p:cNvSpPr>
          <p:nvPr>
            <p:ph type="title"/>
          </p:nvPr>
        </p:nvSpPr>
        <p:spPr>
          <a:xfrm>
            <a:off x="3885394" y="2927113"/>
            <a:ext cx="7229800" cy="895544"/>
          </a:xfrm>
        </p:spPr>
        <p:txBody>
          <a:bodyPr anchor="b">
            <a:normAutofit/>
          </a:bodyPr>
          <a:lstStyle>
            <a:lvl1pPr>
              <a:defRPr sz="4400">
                <a:solidFill>
                  <a:schemeClr val="tx1">
                    <a:lumMod val="65000"/>
                    <a:lumOff val="35000"/>
                  </a:schemeClr>
                </a:solidFill>
              </a:defRPr>
            </a:lvl1pPr>
          </a:lstStyle>
          <a:p>
            <a:r>
              <a:rPr lang="zh-CN" altLang="en-US" dirty="0"/>
              <a:t>单击此处编辑母版标题样式</a:t>
            </a:r>
            <a:endParaRPr lang="zh-CN" altLang="en-US" dirty="0"/>
          </a:p>
        </p:txBody>
      </p:sp>
      <p:sp>
        <p:nvSpPr>
          <p:cNvPr id="6" name="椭圆 5"/>
          <p:cNvSpPr/>
          <p:nvPr/>
        </p:nvSpPr>
        <p:spPr>
          <a:xfrm>
            <a:off x="1813082" y="2355054"/>
            <a:ext cx="1991974" cy="2039664"/>
          </a:xfrm>
          <a:prstGeom prst="ellipse">
            <a:avLst/>
          </a:prstGeom>
          <a:solidFill>
            <a:srgbClr val="F3F4EE"/>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椭圆 3"/>
          <p:cNvSpPr/>
          <p:nvPr/>
        </p:nvSpPr>
        <p:spPr>
          <a:xfrm>
            <a:off x="2036961" y="2602778"/>
            <a:ext cx="1544216" cy="1544216"/>
          </a:xfrm>
          <a:prstGeom prst="ellipse">
            <a:avLst/>
          </a:prstGeom>
          <a:solidFill>
            <a:srgbClr val="EC5B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6000" dirty="0">
                <a:latin typeface="Adobe 黑体 Std R" panose="020B0400000000000000" pitchFamily="34" charset="-122"/>
                <a:ea typeface="Adobe 黑体 Std R" panose="020B0400000000000000" pitchFamily="34" charset="-122"/>
                <a:cs typeface="Arial" panose="020B0604020202020204" pitchFamily="34" charset="0"/>
              </a:rPr>
              <a:t>１</a:t>
            </a:r>
            <a:endParaRPr lang="zh-CN" altLang="en-US" sz="6000" dirty="0">
              <a:latin typeface="Adobe 黑体 Std R" panose="020B0400000000000000" pitchFamily="34" charset="-122"/>
              <a:ea typeface="Adobe 黑体 Std R" panose="020B0400000000000000" pitchFamily="34" charset="-122"/>
              <a:cs typeface="Arial" panose="020B0604020202020204" pitchFamily="34" charset="0"/>
            </a:endParaRPr>
          </a:p>
        </p:txBody>
      </p:sp>
      <p:sp>
        <p:nvSpPr>
          <p:cNvPr id="9" name="椭圆 8"/>
          <p:cNvSpPr/>
          <p:nvPr/>
        </p:nvSpPr>
        <p:spPr>
          <a:xfrm>
            <a:off x="2701888" y="2218338"/>
            <a:ext cx="282076" cy="278147"/>
          </a:xfrm>
          <a:prstGeom prst="ellipse">
            <a:avLst/>
          </a:prstGeom>
          <a:solidFill>
            <a:srgbClr val="F3F4EE"/>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椭圆 9"/>
          <p:cNvSpPr/>
          <p:nvPr/>
        </p:nvSpPr>
        <p:spPr>
          <a:xfrm>
            <a:off x="2701888" y="4253287"/>
            <a:ext cx="282076" cy="278147"/>
          </a:xfrm>
          <a:prstGeom prst="ellipse">
            <a:avLst/>
          </a:prstGeom>
          <a:solidFill>
            <a:srgbClr val="F3F4EE"/>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aphicFrame>
        <p:nvGraphicFramePr>
          <p:cNvPr id="7" name="Objec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8" name="think-cell Slide" r:id="rId3" imgW="12700" imgH="12700" progId="TCLayout.ActiveDocument.1">
                  <p:embed/>
                </p:oleObj>
              </mc:Choice>
              <mc:Fallback>
                <p:oleObj name="think-cell Slide" r:id="rId3" imgW="12700" imgH="12700" progId="TCLayout.ActiveDocument.1">
                  <p:embed/>
                  <p:pic>
                    <p:nvPicPr>
                      <p:cNvPr id="0" name="Object 6"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cSld>
  <p:clrMapOvr>
    <a:masterClrMapping/>
  </p:clrMapOvr>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节标题">
    <p:spTree>
      <p:nvGrpSpPr>
        <p:cNvPr id="1" name=""/>
        <p:cNvGrpSpPr/>
        <p:nvPr/>
      </p:nvGrpSpPr>
      <p:grpSpPr>
        <a:xfrm>
          <a:off x="0" y="0"/>
          <a:ext cx="0" cy="0"/>
          <a:chOff x="0" y="0"/>
          <a:chExt cx="0" cy="0"/>
        </a:xfrm>
      </p:grpSpPr>
      <p:sp>
        <p:nvSpPr>
          <p:cNvPr id="5" name="矩形 4"/>
          <p:cNvSpPr/>
          <p:nvPr/>
        </p:nvSpPr>
        <p:spPr>
          <a:xfrm>
            <a:off x="0" y="0"/>
            <a:ext cx="12192000" cy="6858000"/>
          </a:xfrm>
          <a:prstGeom prst="rect">
            <a:avLst/>
          </a:prstGeom>
          <a:solidFill>
            <a:srgbClr val="F3F4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8" name="弧形 17"/>
          <p:cNvSpPr/>
          <p:nvPr/>
        </p:nvSpPr>
        <p:spPr>
          <a:xfrm rot="13347700">
            <a:off x="2534427" y="-2708771"/>
            <a:ext cx="14149985" cy="13062857"/>
          </a:xfrm>
          <a:prstGeom prst="arc">
            <a:avLst>
              <a:gd name="adj1" fmla="val 17397036"/>
              <a:gd name="adj2" fmla="val 21022353"/>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2" name="标题 1"/>
          <p:cNvSpPr>
            <a:spLocks noGrp="1"/>
          </p:cNvSpPr>
          <p:nvPr>
            <p:ph type="title"/>
          </p:nvPr>
        </p:nvSpPr>
        <p:spPr>
          <a:xfrm>
            <a:off x="3885394" y="2927113"/>
            <a:ext cx="7229800" cy="895544"/>
          </a:xfrm>
        </p:spPr>
        <p:txBody>
          <a:bodyPr anchor="b">
            <a:normAutofit/>
          </a:bodyPr>
          <a:lstStyle>
            <a:lvl1pPr>
              <a:defRPr sz="4400">
                <a:solidFill>
                  <a:schemeClr val="tx1">
                    <a:lumMod val="65000"/>
                    <a:lumOff val="35000"/>
                  </a:schemeClr>
                </a:solidFill>
              </a:defRPr>
            </a:lvl1pPr>
          </a:lstStyle>
          <a:p>
            <a:r>
              <a:rPr lang="zh-CN" altLang="en-US" dirty="0"/>
              <a:t>单击此处编辑母版标题样式</a:t>
            </a:r>
            <a:endParaRPr lang="zh-CN" altLang="en-US" dirty="0"/>
          </a:p>
        </p:txBody>
      </p:sp>
      <p:sp>
        <p:nvSpPr>
          <p:cNvPr id="6" name="椭圆 5"/>
          <p:cNvSpPr/>
          <p:nvPr/>
        </p:nvSpPr>
        <p:spPr>
          <a:xfrm>
            <a:off x="1813082" y="2355054"/>
            <a:ext cx="1991974" cy="2039664"/>
          </a:xfrm>
          <a:prstGeom prst="ellipse">
            <a:avLst/>
          </a:prstGeom>
          <a:solidFill>
            <a:srgbClr val="F3F4EE"/>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椭圆 3"/>
          <p:cNvSpPr/>
          <p:nvPr/>
        </p:nvSpPr>
        <p:spPr>
          <a:xfrm>
            <a:off x="2036961" y="2602778"/>
            <a:ext cx="1544216" cy="1544216"/>
          </a:xfrm>
          <a:prstGeom prst="ellipse">
            <a:avLst/>
          </a:prstGeom>
          <a:solidFill>
            <a:srgbClr val="2F95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6000" dirty="0">
                <a:latin typeface="Adobe 黑体 Std R" panose="020B0400000000000000" pitchFamily="34" charset="-122"/>
                <a:ea typeface="Adobe 黑体 Std R" panose="020B0400000000000000" pitchFamily="34" charset="-122"/>
                <a:cs typeface="Arial" panose="020B0604020202020204" pitchFamily="34" charset="0"/>
              </a:rPr>
              <a:t>2</a:t>
            </a:r>
            <a:endParaRPr lang="zh-CN" altLang="en-US" sz="6000" dirty="0">
              <a:latin typeface="Adobe 黑体 Std R" panose="020B0400000000000000" pitchFamily="34" charset="-122"/>
              <a:ea typeface="Adobe 黑体 Std R" panose="020B0400000000000000" pitchFamily="34" charset="-122"/>
              <a:cs typeface="Arial" panose="020B0604020202020204" pitchFamily="34" charset="0"/>
            </a:endParaRPr>
          </a:p>
        </p:txBody>
      </p:sp>
      <p:sp>
        <p:nvSpPr>
          <p:cNvPr id="9" name="椭圆 8"/>
          <p:cNvSpPr/>
          <p:nvPr/>
        </p:nvSpPr>
        <p:spPr>
          <a:xfrm>
            <a:off x="2701888" y="2218338"/>
            <a:ext cx="282076" cy="278147"/>
          </a:xfrm>
          <a:prstGeom prst="ellipse">
            <a:avLst/>
          </a:prstGeom>
          <a:solidFill>
            <a:srgbClr val="F3F4EE"/>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椭圆 9"/>
          <p:cNvSpPr/>
          <p:nvPr/>
        </p:nvSpPr>
        <p:spPr>
          <a:xfrm>
            <a:off x="2701888" y="4253287"/>
            <a:ext cx="282076" cy="278147"/>
          </a:xfrm>
          <a:prstGeom prst="ellipse">
            <a:avLst/>
          </a:prstGeom>
          <a:solidFill>
            <a:srgbClr val="F3F4EE"/>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节标题">
    <p:spTree>
      <p:nvGrpSpPr>
        <p:cNvPr id="1" name=""/>
        <p:cNvGrpSpPr/>
        <p:nvPr/>
      </p:nvGrpSpPr>
      <p:grpSpPr>
        <a:xfrm>
          <a:off x="0" y="0"/>
          <a:ext cx="0" cy="0"/>
          <a:chOff x="0" y="0"/>
          <a:chExt cx="0" cy="0"/>
        </a:xfrm>
      </p:grpSpPr>
      <p:sp>
        <p:nvSpPr>
          <p:cNvPr id="5" name="矩形 4"/>
          <p:cNvSpPr/>
          <p:nvPr/>
        </p:nvSpPr>
        <p:spPr>
          <a:xfrm>
            <a:off x="0" y="0"/>
            <a:ext cx="12192000" cy="6858000"/>
          </a:xfrm>
          <a:prstGeom prst="rect">
            <a:avLst/>
          </a:prstGeom>
          <a:solidFill>
            <a:srgbClr val="F3F4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8" name="弧形 17"/>
          <p:cNvSpPr/>
          <p:nvPr/>
        </p:nvSpPr>
        <p:spPr>
          <a:xfrm rot="13347700">
            <a:off x="2534427" y="-2708771"/>
            <a:ext cx="14149985" cy="13062857"/>
          </a:xfrm>
          <a:prstGeom prst="arc">
            <a:avLst>
              <a:gd name="adj1" fmla="val 17397036"/>
              <a:gd name="adj2" fmla="val 21022353"/>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2" name="标题 1"/>
          <p:cNvSpPr>
            <a:spLocks noGrp="1"/>
          </p:cNvSpPr>
          <p:nvPr>
            <p:ph type="title"/>
          </p:nvPr>
        </p:nvSpPr>
        <p:spPr>
          <a:xfrm>
            <a:off x="3885394" y="2927113"/>
            <a:ext cx="7229800" cy="895544"/>
          </a:xfrm>
        </p:spPr>
        <p:txBody>
          <a:bodyPr anchor="b">
            <a:normAutofit/>
          </a:bodyPr>
          <a:lstStyle>
            <a:lvl1pPr>
              <a:defRPr sz="4400">
                <a:solidFill>
                  <a:schemeClr val="tx1">
                    <a:lumMod val="65000"/>
                    <a:lumOff val="35000"/>
                  </a:schemeClr>
                </a:solidFill>
              </a:defRPr>
            </a:lvl1pPr>
          </a:lstStyle>
          <a:p>
            <a:r>
              <a:rPr lang="zh-CN" altLang="en-US" dirty="0"/>
              <a:t>单击此处编辑母版标题样式</a:t>
            </a:r>
            <a:endParaRPr lang="zh-CN" altLang="en-US" dirty="0"/>
          </a:p>
        </p:txBody>
      </p:sp>
      <p:sp>
        <p:nvSpPr>
          <p:cNvPr id="6" name="椭圆 5"/>
          <p:cNvSpPr/>
          <p:nvPr/>
        </p:nvSpPr>
        <p:spPr>
          <a:xfrm>
            <a:off x="1813082" y="2355054"/>
            <a:ext cx="1991974" cy="2039664"/>
          </a:xfrm>
          <a:prstGeom prst="ellipse">
            <a:avLst/>
          </a:prstGeom>
          <a:solidFill>
            <a:srgbClr val="F3F4EE"/>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椭圆 3"/>
          <p:cNvSpPr/>
          <p:nvPr/>
        </p:nvSpPr>
        <p:spPr>
          <a:xfrm>
            <a:off x="2036961" y="2602778"/>
            <a:ext cx="1544216" cy="1544216"/>
          </a:xfrm>
          <a:prstGeom prst="ellipse">
            <a:avLst/>
          </a:prstGeom>
          <a:solidFill>
            <a:srgbClr val="1FCE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6000" dirty="0">
                <a:latin typeface="Adobe 黑体 Std R" panose="020B0400000000000000" pitchFamily="34" charset="-122"/>
                <a:ea typeface="Adobe 黑体 Std R" panose="020B0400000000000000" pitchFamily="34" charset="-122"/>
                <a:cs typeface="Arial" panose="020B0604020202020204" pitchFamily="34" charset="0"/>
              </a:rPr>
              <a:t>3</a:t>
            </a:r>
            <a:endParaRPr lang="zh-CN" altLang="en-US" sz="6000" dirty="0">
              <a:latin typeface="Adobe 黑体 Std R" panose="020B0400000000000000" pitchFamily="34" charset="-122"/>
              <a:ea typeface="Adobe 黑体 Std R" panose="020B0400000000000000" pitchFamily="34" charset="-122"/>
              <a:cs typeface="Arial" panose="020B0604020202020204" pitchFamily="34" charset="0"/>
            </a:endParaRPr>
          </a:p>
        </p:txBody>
      </p:sp>
      <p:sp>
        <p:nvSpPr>
          <p:cNvPr id="9" name="椭圆 8"/>
          <p:cNvSpPr/>
          <p:nvPr/>
        </p:nvSpPr>
        <p:spPr>
          <a:xfrm>
            <a:off x="2701888" y="2218338"/>
            <a:ext cx="282076" cy="278147"/>
          </a:xfrm>
          <a:prstGeom prst="ellipse">
            <a:avLst/>
          </a:prstGeom>
          <a:solidFill>
            <a:srgbClr val="F3F4EE"/>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椭圆 9"/>
          <p:cNvSpPr/>
          <p:nvPr/>
        </p:nvSpPr>
        <p:spPr>
          <a:xfrm>
            <a:off x="2701888" y="4253287"/>
            <a:ext cx="282076" cy="278147"/>
          </a:xfrm>
          <a:prstGeom prst="ellipse">
            <a:avLst/>
          </a:prstGeom>
          <a:solidFill>
            <a:srgbClr val="F3F4EE"/>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节标题">
    <p:spTree>
      <p:nvGrpSpPr>
        <p:cNvPr id="1" name=""/>
        <p:cNvGrpSpPr/>
        <p:nvPr/>
      </p:nvGrpSpPr>
      <p:grpSpPr>
        <a:xfrm>
          <a:off x="0" y="0"/>
          <a:ext cx="0" cy="0"/>
          <a:chOff x="0" y="0"/>
          <a:chExt cx="0" cy="0"/>
        </a:xfrm>
      </p:grpSpPr>
      <p:sp>
        <p:nvSpPr>
          <p:cNvPr id="5" name="矩形 4"/>
          <p:cNvSpPr/>
          <p:nvPr/>
        </p:nvSpPr>
        <p:spPr>
          <a:xfrm>
            <a:off x="0" y="0"/>
            <a:ext cx="12192000" cy="6858000"/>
          </a:xfrm>
          <a:prstGeom prst="rect">
            <a:avLst/>
          </a:prstGeom>
          <a:solidFill>
            <a:srgbClr val="F3F4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8" name="弧形 17"/>
          <p:cNvSpPr/>
          <p:nvPr/>
        </p:nvSpPr>
        <p:spPr>
          <a:xfrm rot="13347700">
            <a:off x="2534427" y="-2708771"/>
            <a:ext cx="14149985" cy="13062857"/>
          </a:xfrm>
          <a:prstGeom prst="arc">
            <a:avLst>
              <a:gd name="adj1" fmla="val 17397036"/>
              <a:gd name="adj2" fmla="val 21022353"/>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2" name="标题 1"/>
          <p:cNvSpPr>
            <a:spLocks noGrp="1"/>
          </p:cNvSpPr>
          <p:nvPr>
            <p:ph type="title"/>
          </p:nvPr>
        </p:nvSpPr>
        <p:spPr>
          <a:xfrm>
            <a:off x="3885394" y="2927113"/>
            <a:ext cx="7229800" cy="895544"/>
          </a:xfrm>
        </p:spPr>
        <p:txBody>
          <a:bodyPr anchor="b">
            <a:normAutofit/>
          </a:bodyPr>
          <a:lstStyle>
            <a:lvl1pPr>
              <a:defRPr sz="4400">
                <a:solidFill>
                  <a:schemeClr val="tx1">
                    <a:lumMod val="65000"/>
                    <a:lumOff val="35000"/>
                  </a:schemeClr>
                </a:solidFill>
              </a:defRPr>
            </a:lvl1pPr>
          </a:lstStyle>
          <a:p>
            <a:r>
              <a:rPr lang="zh-CN" altLang="en-US" dirty="0"/>
              <a:t>单击此处编辑母版标题样式</a:t>
            </a:r>
            <a:endParaRPr lang="zh-CN" altLang="en-US" dirty="0"/>
          </a:p>
        </p:txBody>
      </p:sp>
      <p:sp>
        <p:nvSpPr>
          <p:cNvPr id="6" name="椭圆 5"/>
          <p:cNvSpPr/>
          <p:nvPr/>
        </p:nvSpPr>
        <p:spPr>
          <a:xfrm>
            <a:off x="1813082" y="2355054"/>
            <a:ext cx="1991974" cy="2039664"/>
          </a:xfrm>
          <a:prstGeom prst="ellipse">
            <a:avLst/>
          </a:prstGeom>
          <a:solidFill>
            <a:srgbClr val="F3F4EE"/>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椭圆 3"/>
          <p:cNvSpPr/>
          <p:nvPr/>
        </p:nvSpPr>
        <p:spPr>
          <a:xfrm>
            <a:off x="2036961" y="2602778"/>
            <a:ext cx="1544216" cy="1544216"/>
          </a:xfrm>
          <a:prstGeom prst="ellipse">
            <a:avLst/>
          </a:prstGeom>
          <a:solidFill>
            <a:srgbClr val="FDC0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6000" dirty="0">
                <a:latin typeface="Adobe 黑体 Std R" panose="020B0400000000000000" pitchFamily="34" charset="-122"/>
                <a:ea typeface="Adobe 黑体 Std R" panose="020B0400000000000000" pitchFamily="34" charset="-122"/>
                <a:cs typeface="Arial" panose="020B0604020202020204" pitchFamily="34" charset="0"/>
              </a:rPr>
              <a:t>4</a:t>
            </a:r>
            <a:endParaRPr lang="zh-CN" altLang="en-US" sz="6000" dirty="0">
              <a:latin typeface="Adobe 黑体 Std R" panose="020B0400000000000000" pitchFamily="34" charset="-122"/>
              <a:ea typeface="Adobe 黑体 Std R" panose="020B0400000000000000" pitchFamily="34" charset="-122"/>
              <a:cs typeface="Arial" panose="020B0604020202020204" pitchFamily="34" charset="0"/>
            </a:endParaRPr>
          </a:p>
        </p:txBody>
      </p:sp>
      <p:sp>
        <p:nvSpPr>
          <p:cNvPr id="9" name="椭圆 8"/>
          <p:cNvSpPr/>
          <p:nvPr/>
        </p:nvSpPr>
        <p:spPr>
          <a:xfrm>
            <a:off x="2701888" y="2218338"/>
            <a:ext cx="282076" cy="278147"/>
          </a:xfrm>
          <a:prstGeom prst="ellipse">
            <a:avLst/>
          </a:prstGeom>
          <a:solidFill>
            <a:srgbClr val="F3F4EE"/>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椭圆 9"/>
          <p:cNvSpPr/>
          <p:nvPr/>
        </p:nvSpPr>
        <p:spPr>
          <a:xfrm>
            <a:off x="2701888" y="4253287"/>
            <a:ext cx="282076" cy="278147"/>
          </a:xfrm>
          <a:prstGeom prst="ellipse">
            <a:avLst/>
          </a:prstGeom>
          <a:solidFill>
            <a:srgbClr val="F3F4EE"/>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838200" y="0"/>
            <a:ext cx="10515600" cy="1325563"/>
          </a:xfrm>
        </p:spPr>
        <p:txBody>
          <a:bodyPr/>
          <a:lstStyle>
            <a:lvl1pPr algn="ctr">
              <a:defRPr>
                <a:solidFill>
                  <a:schemeClr val="tx1">
                    <a:lumMod val="65000"/>
                    <a:lumOff val="35000"/>
                  </a:schemeClr>
                </a:solidFill>
              </a:defRPr>
            </a:lvl1pPr>
          </a:lstStyle>
          <a:p>
            <a:r>
              <a:rPr lang="zh-CN" altLang="en-US" dirty="0"/>
              <a:t>显示表格模板</a:t>
            </a:r>
            <a:endParaRPr lang="zh-CN" altLang="en-US" dirty="0"/>
          </a:p>
        </p:txBody>
      </p:sp>
      <p:graphicFrame>
        <p:nvGraphicFramePr>
          <p:cNvPr id="37" name="表格 36"/>
          <p:cNvGraphicFramePr>
            <a:graphicFrameLocks noGrp="1"/>
          </p:cNvGraphicFramePr>
          <p:nvPr/>
        </p:nvGraphicFramePr>
        <p:xfrm>
          <a:off x="1911626" y="2280110"/>
          <a:ext cx="8128000" cy="2595880"/>
        </p:xfrm>
        <a:graphic>
          <a:graphicData uri="http://schemas.openxmlformats.org/drawingml/2006/table">
            <a:tbl>
              <a:tblPr firstRow="1" bandRow="1">
                <a:tableStyleId>{5C22544A-7EE6-4342-B048-85BDC9FD1C3A}</a:tableStyleId>
              </a:tblPr>
              <a:tblGrid>
                <a:gridCol w="1625600"/>
                <a:gridCol w="1625600"/>
                <a:gridCol w="1625600"/>
                <a:gridCol w="1625600"/>
                <a:gridCol w="1625600"/>
              </a:tblGrid>
              <a:tr h="370840">
                <a:tc>
                  <a:txBody>
                    <a:bodyPr/>
                    <a:lstStyle/>
                    <a:p>
                      <a:pPr algn="ctr"/>
                      <a:r>
                        <a:rPr lang="zh-CN" altLang="en-US" sz="1400" dirty="0">
                          <a:latin typeface="微软雅黑" panose="020B0503020204020204" charset="-122"/>
                          <a:ea typeface="微软雅黑" panose="020B0503020204020204" charset="-122"/>
                        </a:rPr>
                        <a:t>标题一</a:t>
                      </a:r>
                      <a:endParaRPr lang="zh-CN" altLang="en-US" sz="1400" dirty="0">
                        <a:latin typeface="微软雅黑" panose="020B0503020204020204" charset="-122"/>
                        <a:ea typeface="微软雅黑" panose="020B0503020204020204" charset="-122"/>
                      </a:endParaRPr>
                    </a:p>
                  </a:txBody>
                  <a:tcPr anchor="ctr">
                    <a:solidFill>
                      <a:srgbClr val="EC5B3E"/>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charset="-122"/>
                          <a:ea typeface="微软雅黑" panose="020B0503020204020204" charset="-122"/>
                        </a:rPr>
                        <a:t>标题二</a:t>
                      </a:r>
                      <a:endParaRPr lang="zh-CN" altLang="en-US" sz="1400" dirty="0">
                        <a:latin typeface="微软雅黑" panose="020B0503020204020204" charset="-122"/>
                        <a:ea typeface="微软雅黑" panose="020B0503020204020204" charset="-122"/>
                      </a:endParaRPr>
                    </a:p>
                  </a:txBody>
                  <a:tcPr anchor="ctr">
                    <a:solidFill>
                      <a:srgbClr val="3293F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charset="-122"/>
                          <a:ea typeface="微软雅黑" panose="020B0503020204020204" charset="-122"/>
                        </a:rPr>
                        <a:t>标题三</a:t>
                      </a:r>
                      <a:endParaRPr lang="zh-CN" altLang="en-US" sz="1400" dirty="0">
                        <a:latin typeface="微软雅黑" panose="020B0503020204020204" charset="-122"/>
                        <a:ea typeface="微软雅黑" panose="020B0503020204020204" charset="-122"/>
                      </a:endParaRPr>
                    </a:p>
                  </a:txBody>
                  <a:tcPr anchor="ctr">
                    <a:solidFill>
                      <a:srgbClr val="1DCF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charset="-122"/>
                          <a:ea typeface="微软雅黑" panose="020B0503020204020204" charset="-122"/>
                        </a:rPr>
                        <a:t>标题四</a:t>
                      </a:r>
                      <a:endParaRPr lang="zh-CN" altLang="en-US" sz="1400" dirty="0">
                        <a:latin typeface="微软雅黑" panose="020B0503020204020204" charset="-122"/>
                        <a:ea typeface="微软雅黑" panose="020B0503020204020204" charset="-122"/>
                      </a:endParaRPr>
                    </a:p>
                  </a:txBody>
                  <a:tcPr anchor="ctr">
                    <a:solidFill>
                      <a:srgbClr val="F9C32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charset="-122"/>
                          <a:ea typeface="微软雅黑" panose="020B0503020204020204" charset="-122"/>
                        </a:rPr>
                        <a:t>标题五</a:t>
                      </a:r>
                      <a:endParaRPr lang="zh-CN" altLang="en-US" sz="1400" dirty="0">
                        <a:latin typeface="微软雅黑" panose="020B0503020204020204" charset="-122"/>
                        <a:ea typeface="微软雅黑" panose="020B0503020204020204" charset="-122"/>
                      </a:endParaRPr>
                    </a:p>
                  </a:txBody>
                  <a:tcPr anchor="ctr">
                    <a:solidFill>
                      <a:srgbClr val="7F7F7F"/>
                    </a:solidFill>
                  </a:tcPr>
                </a:tc>
              </a:tr>
              <a:tr h="370840">
                <a:tc>
                  <a:txBody>
                    <a:bodyPr/>
                    <a:lstStyle/>
                    <a:p>
                      <a:pPr algn="ctr"/>
                      <a:r>
                        <a:rPr lang="en-US" altLang="zh-CN" sz="1400" dirty="0">
                          <a:solidFill>
                            <a:schemeClr val="tx1">
                              <a:lumMod val="65000"/>
                              <a:lumOff val="35000"/>
                            </a:schemeClr>
                          </a:solidFill>
                          <a:latin typeface="微软雅黑" panose="020B0503020204020204" charset="-122"/>
                          <a:ea typeface="微软雅黑" panose="020B0503020204020204" charset="-122"/>
                        </a:rPr>
                        <a:t>1</a:t>
                      </a:r>
                      <a:endParaRPr lang="zh-CN" altLang="en-US" sz="1400" dirty="0">
                        <a:solidFill>
                          <a:schemeClr val="tx1">
                            <a:lumMod val="65000"/>
                            <a:lumOff val="35000"/>
                          </a:schemeClr>
                        </a:solidFill>
                        <a:latin typeface="微软雅黑" panose="020B0503020204020204" charset="-122"/>
                        <a:ea typeface="微软雅黑" panose="020B0503020204020204" charset="-122"/>
                      </a:endParaRPr>
                    </a:p>
                  </a:txBody>
                  <a:tcPr anchor="ctr">
                    <a:solidFill>
                      <a:srgbClr val="CBCBCB"/>
                    </a:solidFill>
                  </a:tcPr>
                </a:tc>
                <a:tc>
                  <a:txBody>
                    <a:bodyPr/>
                    <a:lstStyle/>
                    <a:p>
                      <a:pPr algn="ctr"/>
                      <a:r>
                        <a:rPr lang="en-US" altLang="zh-CN" sz="1400" dirty="0">
                          <a:solidFill>
                            <a:schemeClr val="tx1">
                              <a:lumMod val="65000"/>
                              <a:lumOff val="35000"/>
                            </a:schemeClr>
                          </a:solidFill>
                          <a:latin typeface="微软雅黑" panose="020B0503020204020204" charset="-122"/>
                          <a:ea typeface="微软雅黑" panose="020B0503020204020204" charset="-122"/>
                        </a:rPr>
                        <a:t>22</a:t>
                      </a:r>
                      <a:endParaRPr lang="zh-CN" altLang="en-US" sz="1400" dirty="0">
                        <a:solidFill>
                          <a:schemeClr val="tx1">
                            <a:lumMod val="65000"/>
                            <a:lumOff val="35000"/>
                          </a:schemeClr>
                        </a:solidFill>
                        <a:latin typeface="微软雅黑" panose="020B0503020204020204" charset="-122"/>
                        <a:ea typeface="微软雅黑" panose="020B0503020204020204" charset="-122"/>
                      </a:endParaRPr>
                    </a:p>
                  </a:txBody>
                  <a:tcPr anchor="ctr">
                    <a:solidFill>
                      <a:srgbClr val="CBCBCB"/>
                    </a:solidFill>
                  </a:tcPr>
                </a:tc>
                <a:tc>
                  <a:txBody>
                    <a:bodyPr/>
                    <a:lstStyle/>
                    <a:p>
                      <a:pPr algn="ctr"/>
                      <a:r>
                        <a:rPr lang="en-US" altLang="zh-CN" sz="1400" dirty="0">
                          <a:solidFill>
                            <a:schemeClr val="tx1">
                              <a:lumMod val="65000"/>
                              <a:lumOff val="35000"/>
                            </a:schemeClr>
                          </a:solidFill>
                          <a:latin typeface="微软雅黑" panose="020B0503020204020204" charset="-122"/>
                          <a:ea typeface="微软雅黑" panose="020B0503020204020204" charset="-122"/>
                        </a:rPr>
                        <a:t>333</a:t>
                      </a:r>
                      <a:endParaRPr lang="zh-CN" altLang="en-US" sz="1400" dirty="0">
                        <a:solidFill>
                          <a:schemeClr val="tx1">
                            <a:lumMod val="65000"/>
                            <a:lumOff val="35000"/>
                          </a:schemeClr>
                        </a:solidFill>
                        <a:latin typeface="微软雅黑" panose="020B0503020204020204" charset="-122"/>
                        <a:ea typeface="微软雅黑" panose="020B0503020204020204" charset="-122"/>
                      </a:endParaRPr>
                    </a:p>
                  </a:txBody>
                  <a:tcPr anchor="ctr">
                    <a:solidFill>
                      <a:srgbClr val="CBCBCB"/>
                    </a:solidFill>
                  </a:tcPr>
                </a:tc>
                <a:tc>
                  <a:txBody>
                    <a:bodyPr/>
                    <a:lstStyle/>
                    <a:p>
                      <a:pPr algn="ctr"/>
                      <a:endParaRPr lang="zh-CN" altLang="en-US" sz="1400" dirty="0">
                        <a:solidFill>
                          <a:schemeClr val="tx1">
                            <a:lumMod val="65000"/>
                            <a:lumOff val="35000"/>
                          </a:schemeClr>
                        </a:solidFill>
                        <a:latin typeface="微软雅黑" panose="020B0503020204020204" charset="-122"/>
                        <a:ea typeface="微软雅黑" panose="020B0503020204020204" charset="-122"/>
                      </a:endParaRPr>
                    </a:p>
                  </a:txBody>
                  <a:tcPr anchor="ctr">
                    <a:solidFill>
                      <a:srgbClr val="CBCBCB"/>
                    </a:solidFill>
                  </a:tcPr>
                </a:tc>
                <a:tc>
                  <a:txBody>
                    <a:bodyPr/>
                    <a:lstStyle/>
                    <a:p>
                      <a:pPr algn="ctr"/>
                      <a:endParaRPr lang="zh-CN" altLang="en-US" sz="1400">
                        <a:solidFill>
                          <a:schemeClr val="tx1">
                            <a:lumMod val="65000"/>
                            <a:lumOff val="35000"/>
                          </a:schemeClr>
                        </a:solidFill>
                        <a:latin typeface="微软雅黑" panose="020B0503020204020204" charset="-122"/>
                        <a:ea typeface="微软雅黑" panose="020B0503020204020204" charset="-122"/>
                      </a:endParaRPr>
                    </a:p>
                  </a:txBody>
                  <a:tcPr anchor="ctr">
                    <a:solidFill>
                      <a:srgbClr val="CBCBCB"/>
                    </a:solidFill>
                  </a:tcPr>
                </a:tc>
              </a:tr>
              <a:tr h="370840">
                <a:tc>
                  <a:txBody>
                    <a:bodyPr/>
                    <a:lstStyle/>
                    <a:p>
                      <a:pPr algn="ctr"/>
                      <a:r>
                        <a:rPr lang="en-US" altLang="zh-CN" sz="1400" dirty="0">
                          <a:solidFill>
                            <a:schemeClr val="tx1">
                              <a:lumMod val="65000"/>
                              <a:lumOff val="35000"/>
                            </a:schemeClr>
                          </a:solidFill>
                          <a:latin typeface="微软雅黑" panose="020B0503020204020204" charset="-122"/>
                          <a:ea typeface="微软雅黑" panose="020B0503020204020204" charset="-122"/>
                        </a:rPr>
                        <a:t>1</a:t>
                      </a:r>
                      <a:endParaRPr lang="zh-CN" altLang="en-US" sz="1400" dirty="0">
                        <a:solidFill>
                          <a:schemeClr val="tx1">
                            <a:lumMod val="65000"/>
                            <a:lumOff val="35000"/>
                          </a:schemeClr>
                        </a:solidFill>
                        <a:latin typeface="微软雅黑" panose="020B0503020204020204" charset="-122"/>
                        <a:ea typeface="微软雅黑" panose="020B0503020204020204" charset="-122"/>
                      </a:endParaRPr>
                    </a:p>
                  </a:txBody>
                  <a:tcPr anchor="ctr">
                    <a:solidFill>
                      <a:srgbClr val="E7E7E7"/>
                    </a:solidFill>
                  </a:tcPr>
                </a:tc>
                <a:tc>
                  <a:txBody>
                    <a:bodyPr/>
                    <a:lstStyle/>
                    <a:p>
                      <a:pPr algn="ctr"/>
                      <a:r>
                        <a:rPr lang="en-US" altLang="zh-CN" sz="1400" dirty="0">
                          <a:solidFill>
                            <a:schemeClr val="tx1">
                              <a:lumMod val="65000"/>
                              <a:lumOff val="35000"/>
                            </a:schemeClr>
                          </a:solidFill>
                          <a:latin typeface="微软雅黑" panose="020B0503020204020204" charset="-122"/>
                          <a:ea typeface="微软雅黑" panose="020B0503020204020204" charset="-122"/>
                        </a:rPr>
                        <a:t>22</a:t>
                      </a:r>
                      <a:endParaRPr lang="zh-CN" altLang="en-US" sz="1400" dirty="0">
                        <a:solidFill>
                          <a:schemeClr val="tx1">
                            <a:lumMod val="65000"/>
                            <a:lumOff val="35000"/>
                          </a:schemeClr>
                        </a:solidFill>
                        <a:latin typeface="微软雅黑" panose="020B0503020204020204" charset="-122"/>
                        <a:ea typeface="微软雅黑" panose="020B0503020204020204" charset="-122"/>
                      </a:endParaRPr>
                    </a:p>
                  </a:txBody>
                  <a:tcPr anchor="ctr">
                    <a:solidFill>
                      <a:srgbClr val="E7E7E7"/>
                    </a:solidFill>
                  </a:tcPr>
                </a:tc>
                <a:tc>
                  <a:txBody>
                    <a:bodyPr/>
                    <a:lstStyle/>
                    <a:p>
                      <a:pPr algn="ctr"/>
                      <a:r>
                        <a:rPr lang="en-US" altLang="zh-CN" sz="1400" dirty="0">
                          <a:solidFill>
                            <a:schemeClr val="tx1">
                              <a:lumMod val="65000"/>
                              <a:lumOff val="35000"/>
                            </a:schemeClr>
                          </a:solidFill>
                          <a:latin typeface="微软雅黑" panose="020B0503020204020204" charset="-122"/>
                          <a:ea typeface="微软雅黑" panose="020B0503020204020204" charset="-122"/>
                        </a:rPr>
                        <a:t>333</a:t>
                      </a:r>
                      <a:endParaRPr lang="zh-CN" altLang="en-US" sz="1400" dirty="0">
                        <a:solidFill>
                          <a:schemeClr val="tx1">
                            <a:lumMod val="65000"/>
                            <a:lumOff val="35000"/>
                          </a:schemeClr>
                        </a:solidFill>
                        <a:latin typeface="微软雅黑" panose="020B0503020204020204" charset="-122"/>
                        <a:ea typeface="微软雅黑" panose="020B0503020204020204" charset="-122"/>
                      </a:endParaRPr>
                    </a:p>
                  </a:txBody>
                  <a:tcPr anchor="ctr">
                    <a:solidFill>
                      <a:srgbClr val="E7E7E7"/>
                    </a:solidFill>
                  </a:tcPr>
                </a:tc>
                <a:tc>
                  <a:txBody>
                    <a:bodyPr/>
                    <a:lstStyle/>
                    <a:p>
                      <a:pPr algn="ctr"/>
                      <a:endParaRPr lang="zh-CN" altLang="en-US" sz="1400" dirty="0">
                        <a:solidFill>
                          <a:schemeClr val="tx1">
                            <a:lumMod val="65000"/>
                            <a:lumOff val="35000"/>
                          </a:schemeClr>
                        </a:solidFill>
                        <a:latin typeface="微软雅黑" panose="020B0503020204020204" charset="-122"/>
                        <a:ea typeface="微软雅黑" panose="020B0503020204020204" charset="-122"/>
                      </a:endParaRPr>
                    </a:p>
                  </a:txBody>
                  <a:tcPr anchor="ctr">
                    <a:solidFill>
                      <a:srgbClr val="E7E7E7"/>
                    </a:solidFill>
                  </a:tcPr>
                </a:tc>
                <a:tc>
                  <a:txBody>
                    <a:bodyPr/>
                    <a:lstStyle/>
                    <a:p>
                      <a:pPr algn="ctr"/>
                      <a:endParaRPr lang="zh-CN" altLang="en-US" sz="1400" dirty="0">
                        <a:solidFill>
                          <a:schemeClr val="tx1">
                            <a:lumMod val="65000"/>
                            <a:lumOff val="35000"/>
                          </a:schemeClr>
                        </a:solidFill>
                        <a:latin typeface="微软雅黑" panose="020B0503020204020204" charset="-122"/>
                        <a:ea typeface="微软雅黑" panose="020B0503020204020204" charset="-122"/>
                      </a:endParaRPr>
                    </a:p>
                  </a:txBody>
                  <a:tcPr anchor="ctr">
                    <a:solidFill>
                      <a:srgbClr val="E7E7E7"/>
                    </a:solidFill>
                  </a:tcPr>
                </a:tc>
              </a:tr>
              <a:tr h="370840">
                <a:tc>
                  <a:txBody>
                    <a:bodyPr/>
                    <a:lstStyle/>
                    <a:p>
                      <a:pPr algn="ctr"/>
                      <a:r>
                        <a:rPr lang="en-US" altLang="zh-CN" sz="1400" dirty="0">
                          <a:solidFill>
                            <a:schemeClr val="tx1">
                              <a:lumMod val="65000"/>
                              <a:lumOff val="35000"/>
                            </a:schemeClr>
                          </a:solidFill>
                          <a:latin typeface="微软雅黑" panose="020B0503020204020204" charset="-122"/>
                          <a:ea typeface="微软雅黑" panose="020B0503020204020204" charset="-122"/>
                        </a:rPr>
                        <a:t>1</a:t>
                      </a:r>
                      <a:endParaRPr lang="zh-CN" altLang="en-US" sz="1400" dirty="0">
                        <a:solidFill>
                          <a:schemeClr val="tx1">
                            <a:lumMod val="65000"/>
                            <a:lumOff val="35000"/>
                          </a:schemeClr>
                        </a:solidFill>
                        <a:latin typeface="微软雅黑" panose="020B0503020204020204" charset="-122"/>
                        <a:ea typeface="微软雅黑" panose="020B0503020204020204" charset="-122"/>
                      </a:endParaRPr>
                    </a:p>
                  </a:txBody>
                  <a:tcPr anchor="ctr">
                    <a:solidFill>
                      <a:srgbClr val="CBCBCB"/>
                    </a:solidFill>
                  </a:tcPr>
                </a:tc>
                <a:tc>
                  <a:txBody>
                    <a:bodyPr/>
                    <a:lstStyle/>
                    <a:p>
                      <a:pPr algn="ctr"/>
                      <a:r>
                        <a:rPr lang="en-US" altLang="zh-CN" sz="1400" dirty="0">
                          <a:solidFill>
                            <a:schemeClr val="tx1">
                              <a:lumMod val="65000"/>
                              <a:lumOff val="35000"/>
                            </a:schemeClr>
                          </a:solidFill>
                          <a:latin typeface="微软雅黑" panose="020B0503020204020204" charset="-122"/>
                          <a:ea typeface="微软雅黑" panose="020B0503020204020204" charset="-122"/>
                        </a:rPr>
                        <a:t>22</a:t>
                      </a:r>
                      <a:endParaRPr lang="zh-CN" altLang="en-US" sz="1400" dirty="0">
                        <a:solidFill>
                          <a:schemeClr val="tx1">
                            <a:lumMod val="65000"/>
                            <a:lumOff val="35000"/>
                          </a:schemeClr>
                        </a:solidFill>
                        <a:latin typeface="微软雅黑" panose="020B0503020204020204" charset="-122"/>
                        <a:ea typeface="微软雅黑" panose="020B0503020204020204" charset="-122"/>
                      </a:endParaRPr>
                    </a:p>
                  </a:txBody>
                  <a:tcPr anchor="ctr">
                    <a:solidFill>
                      <a:srgbClr val="CBCBCB"/>
                    </a:solidFill>
                  </a:tcPr>
                </a:tc>
                <a:tc>
                  <a:txBody>
                    <a:bodyPr/>
                    <a:lstStyle/>
                    <a:p>
                      <a:pPr algn="ctr"/>
                      <a:r>
                        <a:rPr lang="en-US" altLang="zh-CN" sz="1400" dirty="0">
                          <a:solidFill>
                            <a:schemeClr val="tx1">
                              <a:lumMod val="65000"/>
                              <a:lumOff val="35000"/>
                            </a:schemeClr>
                          </a:solidFill>
                          <a:latin typeface="微软雅黑" panose="020B0503020204020204" charset="-122"/>
                          <a:ea typeface="微软雅黑" panose="020B0503020204020204" charset="-122"/>
                        </a:rPr>
                        <a:t>333</a:t>
                      </a:r>
                      <a:endParaRPr lang="zh-CN" altLang="en-US" sz="1400" dirty="0">
                        <a:solidFill>
                          <a:schemeClr val="tx1">
                            <a:lumMod val="65000"/>
                            <a:lumOff val="35000"/>
                          </a:schemeClr>
                        </a:solidFill>
                        <a:latin typeface="微软雅黑" panose="020B0503020204020204" charset="-122"/>
                        <a:ea typeface="微软雅黑" panose="020B0503020204020204" charset="-122"/>
                      </a:endParaRPr>
                    </a:p>
                  </a:txBody>
                  <a:tcPr anchor="ctr">
                    <a:solidFill>
                      <a:srgbClr val="CBCBCB"/>
                    </a:solidFill>
                  </a:tcPr>
                </a:tc>
                <a:tc>
                  <a:txBody>
                    <a:bodyPr/>
                    <a:lstStyle/>
                    <a:p>
                      <a:pPr algn="ctr"/>
                      <a:endParaRPr lang="zh-CN" altLang="en-US" sz="1400" dirty="0">
                        <a:solidFill>
                          <a:schemeClr val="tx1">
                            <a:lumMod val="65000"/>
                            <a:lumOff val="35000"/>
                          </a:schemeClr>
                        </a:solidFill>
                        <a:latin typeface="微软雅黑" panose="020B0503020204020204" charset="-122"/>
                        <a:ea typeface="微软雅黑" panose="020B0503020204020204" charset="-122"/>
                      </a:endParaRPr>
                    </a:p>
                  </a:txBody>
                  <a:tcPr anchor="ctr">
                    <a:solidFill>
                      <a:srgbClr val="CBCBCB"/>
                    </a:solidFill>
                  </a:tcPr>
                </a:tc>
                <a:tc>
                  <a:txBody>
                    <a:bodyPr/>
                    <a:lstStyle/>
                    <a:p>
                      <a:pPr algn="ctr"/>
                      <a:endParaRPr lang="zh-CN" altLang="en-US" sz="1400" dirty="0">
                        <a:solidFill>
                          <a:schemeClr val="tx1">
                            <a:lumMod val="65000"/>
                            <a:lumOff val="35000"/>
                          </a:schemeClr>
                        </a:solidFill>
                        <a:latin typeface="微软雅黑" panose="020B0503020204020204" charset="-122"/>
                        <a:ea typeface="微软雅黑" panose="020B0503020204020204" charset="-122"/>
                      </a:endParaRPr>
                    </a:p>
                  </a:txBody>
                  <a:tcPr anchor="ctr">
                    <a:solidFill>
                      <a:srgbClr val="CBCBCB"/>
                    </a:solidFill>
                  </a:tcPr>
                </a:tc>
              </a:tr>
              <a:tr h="370840">
                <a:tc>
                  <a:txBody>
                    <a:bodyPr/>
                    <a:lstStyle/>
                    <a:p>
                      <a:pPr algn="ctr"/>
                      <a:r>
                        <a:rPr lang="en-US" altLang="zh-CN" sz="1400" dirty="0">
                          <a:solidFill>
                            <a:schemeClr val="tx1">
                              <a:lumMod val="65000"/>
                              <a:lumOff val="35000"/>
                            </a:schemeClr>
                          </a:solidFill>
                          <a:latin typeface="微软雅黑" panose="020B0503020204020204" charset="-122"/>
                          <a:ea typeface="微软雅黑" panose="020B0503020204020204" charset="-122"/>
                        </a:rPr>
                        <a:t>1</a:t>
                      </a:r>
                      <a:endParaRPr lang="zh-CN" altLang="en-US" sz="1400" dirty="0">
                        <a:solidFill>
                          <a:schemeClr val="tx1">
                            <a:lumMod val="65000"/>
                            <a:lumOff val="35000"/>
                          </a:schemeClr>
                        </a:solidFill>
                        <a:latin typeface="微软雅黑" panose="020B0503020204020204" charset="-122"/>
                        <a:ea typeface="微软雅黑" panose="020B0503020204020204" charset="-122"/>
                      </a:endParaRPr>
                    </a:p>
                  </a:txBody>
                  <a:tcPr anchor="ctr">
                    <a:solidFill>
                      <a:srgbClr val="E7E7E7"/>
                    </a:solidFill>
                  </a:tcPr>
                </a:tc>
                <a:tc>
                  <a:txBody>
                    <a:bodyPr/>
                    <a:lstStyle/>
                    <a:p>
                      <a:pPr algn="ctr"/>
                      <a:r>
                        <a:rPr lang="en-US" altLang="zh-CN" sz="1400" dirty="0">
                          <a:solidFill>
                            <a:schemeClr val="tx1">
                              <a:lumMod val="65000"/>
                              <a:lumOff val="35000"/>
                            </a:schemeClr>
                          </a:solidFill>
                          <a:latin typeface="微软雅黑" panose="020B0503020204020204" charset="-122"/>
                          <a:ea typeface="微软雅黑" panose="020B0503020204020204" charset="-122"/>
                        </a:rPr>
                        <a:t>22</a:t>
                      </a:r>
                      <a:endParaRPr lang="zh-CN" altLang="en-US" sz="1400" dirty="0">
                        <a:solidFill>
                          <a:schemeClr val="tx1">
                            <a:lumMod val="65000"/>
                            <a:lumOff val="35000"/>
                          </a:schemeClr>
                        </a:solidFill>
                        <a:latin typeface="微软雅黑" panose="020B0503020204020204" charset="-122"/>
                        <a:ea typeface="微软雅黑" panose="020B0503020204020204" charset="-122"/>
                      </a:endParaRPr>
                    </a:p>
                  </a:txBody>
                  <a:tcPr anchor="ctr">
                    <a:solidFill>
                      <a:srgbClr val="E7E7E7"/>
                    </a:solidFill>
                  </a:tcPr>
                </a:tc>
                <a:tc>
                  <a:txBody>
                    <a:bodyPr/>
                    <a:lstStyle/>
                    <a:p>
                      <a:pPr algn="ctr"/>
                      <a:r>
                        <a:rPr lang="en-US" altLang="zh-CN" sz="1400" dirty="0">
                          <a:solidFill>
                            <a:schemeClr val="tx1">
                              <a:lumMod val="65000"/>
                              <a:lumOff val="35000"/>
                            </a:schemeClr>
                          </a:solidFill>
                          <a:latin typeface="微软雅黑" panose="020B0503020204020204" charset="-122"/>
                          <a:ea typeface="微软雅黑" panose="020B0503020204020204" charset="-122"/>
                        </a:rPr>
                        <a:t>333</a:t>
                      </a:r>
                      <a:endParaRPr lang="zh-CN" altLang="en-US" sz="1400" dirty="0">
                        <a:solidFill>
                          <a:schemeClr val="tx1">
                            <a:lumMod val="65000"/>
                            <a:lumOff val="35000"/>
                          </a:schemeClr>
                        </a:solidFill>
                        <a:latin typeface="微软雅黑" panose="020B0503020204020204" charset="-122"/>
                        <a:ea typeface="微软雅黑" panose="020B0503020204020204" charset="-122"/>
                      </a:endParaRPr>
                    </a:p>
                  </a:txBody>
                  <a:tcPr anchor="ctr">
                    <a:solidFill>
                      <a:srgbClr val="E7E7E7"/>
                    </a:solidFill>
                  </a:tcPr>
                </a:tc>
                <a:tc>
                  <a:txBody>
                    <a:bodyPr/>
                    <a:lstStyle/>
                    <a:p>
                      <a:pPr algn="ctr"/>
                      <a:endParaRPr lang="zh-CN" altLang="en-US" sz="1400" dirty="0">
                        <a:solidFill>
                          <a:schemeClr val="tx1">
                            <a:lumMod val="65000"/>
                            <a:lumOff val="35000"/>
                          </a:schemeClr>
                        </a:solidFill>
                        <a:latin typeface="微软雅黑" panose="020B0503020204020204" charset="-122"/>
                        <a:ea typeface="微软雅黑" panose="020B0503020204020204" charset="-122"/>
                      </a:endParaRPr>
                    </a:p>
                  </a:txBody>
                  <a:tcPr anchor="ctr">
                    <a:solidFill>
                      <a:srgbClr val="E7E7E7"/>
                    </a:solidFill>
                  </a:tcPr>
                </a:tc>
                <a:tc>
                  <a:txBody>
                    <a:bodyPr/>
                    <a:lstStyle/>
                    <a:p>
                      <a:pPr algn="ctr"/>
                      <a:endParaRPr lang="zh-CN" altLang="en-US" sz="1400" dirty="0">
                        <a:solidFill>
                          <a:schemeClr val="tx1">
                            <a:lumMod val="65000"/>
                            <a:lumOff val="35000"/>
                          </a:schemeClr>
                        </a:solidFill>
                        <a:latin typeface="微软雅黑" panose="020B0503020204020204" charset="-122"/>
                        <a:ea typeface="微软雅黑" panose="020B0503020204020204" charset="-122"/>
                      </a:endParaRPr>
                    </a:p>
                  </a:txBody>
                  <a:tcPr anchor="ctr">
                    <a:solidFill>
                      <a:srgbClr val="E7E7E7"/>
                    </a:solidFill>
                  </a:tcPr>
                </a:tc>
              </a:tr>
              <a:tr h="370840">
                <a:tc>
                  <a:txBody>
                    <a:bodyPr/>
                    <a:lstStyle/>
                    <a:p>
                      <a:pPr algn="ctr"/>
                      <a:r>
                        <a:rPr lang="en-US" altLang="zh-CN" sz="1400" dirty="0">
                          <a:solidFill>
                            <a:schemeClr val="tx1">
                              <a:lumMod val="65000"/>
                              <a:lumOff val="35000"/>
                            </a:schemeClr>
                          </a:solidFill>
                          <a:latin typeface="微软雅黑" panose="020B0503020204020204" charset="-122"/>
                          <a:ea typeface="微软雅黑" panose="020B0503020204020204" charset="-122"/>
                        </a:rPr>
                        <a:t>1</a:t>
                      </a:r>
                      <a:endParaRPr lang="zh-CN" altLang="en-US" sz="1400" dirty="0">
                        <a:solidFill>
                          <a:schemeClr val="tx1">
                            <a:lumMod val="65000"/>
                            <a:lumOff val="35000"/>
                          </a:schemeClr>
                        </a:solidFill>
                        <a:latin typeface="微软雅黑" panose="020B0503020204020204" charset="-122"/>
                        <a:ea typeface="微软雅黑" panose="020B0503020204020204" charset="-122"/>
                      </a:endParaRPr>
                    </a:p>
                  </a:txBody>
                  <a:tcPr anchor="ctr">
                    <a:solidFill>
                      <a:srgbClr val="CBCBCB"/>
                    </a:solidFill>
                  </a:tcPr>
                </a:tc>
                <a:tc>
                  <a:txBody>
                    <a:bodyPr/>
                    <a:lstStyle/>
                    <a:p>
                      <a:pPr algn="ctr"/>
                      <a:r>
                        <a:rPr lang="en-US" altLang="zh-CN" sz="1400" dirty="0">
                          <a:solidFill>
                            <a:schemeClr val="tx1">
                              <a:lumMod val="65000"/>
                              <a:lumOff val="35000"/>
                            </a:schemeClr>
                          </a:solidFill>
                          <a:latin typeface="微软雅黑" panose="020B0503020204020204" charset="-122"/>
                          <a:ea typeface="微软雅黑" panose="020B0503020204020204" charset="-122"/>
                        </a:rPr>
                        <a:t>22</a:t>
                      </a:r>
                      <a:endParaRPr lang="zh-CN" altLang="en-US" sz="1400" dirty="0">
                        <a:solidFill>
                          <a:schemeClr val="tx1">
                            <a:lumMod val="65000"/>
                            <a:lumOff val="35000"/>
                          </a:schemeClr>
                        </a:solidFill>
                        <a:latin typeface="微软雅黑" panose="020B0503020204020204" charset="-122"/>
                        <a:ea typeface="微软雅黑" panose="020B0503020204020204" charset="-122"/>
                      </a:endParaRPr>
                    </a:p>
                  </a:txBody>
                  <a:tcPr anchor="ctr">
                    <a:solidFill>
                      <a:srgbClr val="CBCBCB"/>
                    </a:solidFill>
                  </a:tcPr>
                </a:tc>
                <a:tc>
                  <a:txBody>
                    <a:bodyPr/>
                    <a:lstStyle/>
                    <a:p>
                      <a:pPr algn="ctr"/>
                      <a:r>
                        <a:rPr lang="en-US" altLang="zh-CN" sz="1400" dirty="0">
                          <a:solidFill>
                            <a:schemeClr val="tx1">
                              <a:lumMod val="65000"/>
                              <a:lumOff val="35000"/>
                            </a:schemeClr>
                          </a:solidFill>
                          <a:latin typeface="微软雅黑" panose="020B0503020204020204" charset="-122"/>
                          <a:ea typeface="微软雅黑" panose="020B0503020204020204" charset="-122"/>
                        </a:rPr>
                        <a:t>333</a:t>
                      </a:r>
                      <a:endParaRPr lang="zh-CN" altLang="en-US" sz="1400" dirty="0">
                        <a:solidFill>
                          <a:schemeClr val="tx1">
                            <a:lumMod val="65000"/>
                            <a:lumOff val="35000"/>
                          </a:schemeClr>
                        </a:solidFill>
                        <a:latin typeface="微软雅黑" panose="020B0503020204020204" charset="-122"/>
                        <a:ea typeface="微软雅黑" panose="020B0503020204020204" charset="-122"/>
                      </a:endParaRPr>
                    </a:p>
                  </a:txBody>
                  <a:tcPr anchor="ctr">
                    <a:solidFill>
                      <a:srgbClr val="CBCBCB"/>
                    </a:solidFill>
                  </a:tcPr>
                </a:tc>
                <a:tc>
                  <a:txBody>
                    <a:bodyPr/>
                    <a:lstStyle/>
                    <a:p>
                      <a:pPr algn="ctr"/>
                      <a:endParaRPr lang="zh-CN" altLang="en-US" sz="1400" dirty="0">
                        <a:solidFill>
                          <a:schemeClr val="tx1">
                            <a:lumMod val="65000"/>
                            <a:lumOff val="35000"/>
                          </a:schemeClr>
                        </a:solidFill>
                        <a:latin typeface="微软雅黑" panose="020B0503020204020204" charset="-122"/>
                        <a:ea typeface="微软雅黑" panose="020B0503020204020204" charset="-122"/>
                      </a:endParaRPr>
                    </a:p>
                  </a:txBody>
                  <a:tcPr anchor="ctr">
                    <a:solidFill>
                      <a:srgbClr val="CBCBCB"/>
                    </a:solidFill>
                  </a:tcPr>
                </a:tc>
                <a:tc>
                  <a:txBody>
                    <a:bodyPr/>
                    <a:lstStyle/>
                    <a:p>
                      <a:pPr algn="ctr"/>
                      <a:endParaRPr lang="zh-CN" altLang="en-US" sz="1400" dirty="0">
                        <a:solidFill>
                          <a:schemeClr val="tx1">
                            <a:lumMod val="65000"/>
                            <a:lumOff val="35000"/>
                          </a:schemeClr>
                        </a:solidFill>
                        <a:latin typeface="微软雅黑" panose="020B0503020204020204" charset="-122"/>
                        <a:ea typeface="微软雅黑" panose="020B0503020204020204" charset="-122"/>
                      </a:endParaRPr>
                    </a:p>
                  </a:txBody>
                  <a:tcPr anchor="ctr">
                    <a:solidFill>
                      <a:srgbClr val="CBCBCB"/>
                    </a:solidFill>
                  </a:tcPr>
                </a:tc>
              </a:tr>
              <a:tr h="370840">
                <a:tc>
                  <a:txBody>
                    <a:bodyPr/>
                    <a:lstStyle/>
                    <a:p>
                      <a:pPr algn="ctr"/>
                      <a:r>
                        <a:rPr lang="en-US" altLang="zh-CN" sz="1400" dirty="0">
                          <a:solidFill>
                            <a:schemeClr val="tx1">
                              <a:lumMod val="65000"/>
                              <a:lumOff val="35000"/>
                            </a:schemeClr>
                          </a:solidFill>
                          <a:latin typeface="微软雅黑" panose="020B0503020204020204" charset="-122"/>
                          <a:ea typeface="微软雅黑" panose="020B0503020204020204" charset="-122"/>
                        </a:rPr>
                        <a:t>1</a:t>
                      </a:r>
                      <a:endParaRPr lang="zh-CN" altLang="en-US" sz="1400" dirty="0">
                        <a:solidFill>
                          <a:schemeClr val="tx1">
                            <a:lumMod val="65000"/>
                            <a:lumOff val="35000"/>
                          </a:schemeClr>
                        </a:solidFill>
                        <a:latin typeface="微软雅黑" panose="020B0503020204020204" charset="-122"/>
                        <a:ea typeface="微软雅黑" panose="020B0503020204020204" charset="-122"/>
                      </a:endParaRPr>
                    </a:p>
                  </a:txBody>
                  <a:tcPr anchor="ctr">
                    <a:solidFill>
                      <a:srgbClr val="E7E7E7"/>
                    </a:solidFill>
                  </a:tcPr>
                </a:tc>
                <a:tc>
                  <a:txBody>
                    <a:bodyPr/>
                    <a:lstStyle/>
                    <a:p>
                      <a:pPr algn="ctr"/>
                      <a:r>
                        <a:rPr lang="en-US" altLang="zh-CN" sz="1400" dirty="0">
                          <a:solidFill>
                            <a:schemeClr val="tx1">
                              <a:lumMod val="65000"/>
                              <a:lumOff val="35000"/>
                            </a:schemeClr>
                          </a:solidFill>
                          <a:latin typeface="微软雅黑" panose="020B0503020204020204" charset="-122"/>
                          <a:ea typeface="微软雅黑" panose="020B0503020204020204" charset="-122"/>
                        </a:rPr>
                        <a:t>22</a:t>
                      </a:r>
                      <a:endParaRPr lang="zh-CN" altLang="en-US" sz="1400" dirty="0">
                        <a:solidFill>
                          <a:schemeClr val="tx1">
                            <a:lumMod val="65000"/>
                            <a:lumOff val="35000"/>
                          </a:schemeClr>
                        </a:solidFill>
                        <a:latin typeface="微软雅黑" panose="020B0503020204020204" charset="-122"/>
                        <a:ea typeface="微软雅黑" panose="020B0503020204020204" charset="-122"/>
                      </a:endParaRPr>
                    </a:p>
                  </a:txBody>
                  <a:tcPr anchor="ctr">
                    <a:solidFill>
                      <a:srgbClr val="E7E7E7"/>
                    </a:solidFill>
                  </a:tcPr>
                </a:tc>
                <a:tc>
                  <a:txBody>
                    <a:bodyPr/>
                    <a:lstStyle/>
                    <a:p>
                      <a:pPr algn="ctr"/>
                      <a:r>
                        <a:rPr lang="en-US" altLang="zh-CN" sz="1400" dirty="0">
                          <a:solidFill>
                            <a:schemeClr val="tx1">
                              <a:lumMod val="65000"/>
                              <a:lumOff val="35000"/>
                            </a:schemeClr>
                          </a:solidFill>
                          <a:latin typeface="微软雅黑" panose="020B0503020204020204" charset="-122"/>
                          <a:ea typeface="微软雅黑" panose="020B0503020204020204" charset="-122"/>
                        </a:rPr>
                        <a:t>333</a:t>
                      </a:r>
                      <a:endParaRPr lang="zh-CN" altLang="en-US" sz="1400" dirty="0">
                        <a:solidFill>
                          <a:schemeClr val="tx1">
                            <a:lumMod val="65000"/>
                            <a:lumOff val="35000"/>
                          </a:schemeClr>
                        </a:solidFill>
                        <a:latin typeface="微软雅黑" panose="020B0503020204020204" charset="-122"/>
                        <a:ea typeface="微软雅黑" panose="020B0503020204020204" charset="-122"/>
                      </a:endParaRPr>
                    </a:p>
                  </a:txBody>
                  <a:tcPr anchor="ctr">
                    <a:solidFill>
                      <a:srgbClr val="E7E7E7"/>
                    </a:solidFill>
                  </a:tcPr>
                </a:tc>
                <a:tc>
                  <a:txBody>
                    <a:bodyPr/>
                    <a:lstStyle/>
                    <a:p>
                      <a:pPr algn="ctr"/>
                      <a:endParaRPr lang="zh-CN" altLang="en-US" sz="1400" dirty="0">
                        <a:solidFill>
                          <a:schemeClr val="tx1">
                            <a:lumMod val="65000"/>
                            <a:lumOff val="35000"/>
                          </a:schemeClr>
                        </a:solidFill>
                        <a:latin typeface="微软雅黑" panose="020B0503020204020204" charset="-122"/>
                        <a:ea typeface="微软雅黑" panose="020B0503020204020204" charset="-122"/>
                      </a:endParaRPr>
                    </a:p>
                  </a:txBody>
                  <a:tcPr anchor="ctr">
                    <a:solidFill>
                      <a:srgbClr val="E7E7E7"/>
                    </a:solidFill>
                  </a:tcPr>
                </a:tc>
                <a:tc>
                  <a:txBody>
                    <a:bodyPr/>
                    <a:lstStyle/>
                    <a:p>
                      <a:pPr algn="ctr"/>
                      <a:endParaRPr lang="zh-CN" altLang="en-US" sz="1400" dirty="0">
                        <a:solidFill>
                          <a:schemeClr val="tx1">
                            <a:lumMod val="65000"/>
                            <a:lumOff val="35000"/>
                          </a:schemeClr>
                        </a:solidFill>
                        <a:latin typeface="微软雅黑" panose="020B0503020204020204" charset="-122"/>
                        <a:ea typeface="微软雅黑" panose="020B0503020204020204" charset="-122"/>
                      </a:endParaRPr>
                    </a:p>
                  </a:txBody>
                  <a:tcPr anchor="ctr">
                    <a:solidFill>
                      <a:srgbClr val="E7E7E7"/>
                    </a:solidFill>
                  </a:tcPr>
                </a:tc>
              </a:tr>
            </a:tbl>
          </a:graphicData>
        </a:graphic>
      </p:graphicFrame>
      <p:sp>
        <p:nvSpPr>
          <p:cNvPr id="39" name="文本框 38"/>
          <p:cNvSpPr txBox="1"/>
          <p:nvPr/>
        </p:nvSpPr>
        <p:spPr>
          <a:xfrm>
            <a:off x="1848678" y="5233909"/>
            <a:ext cx="723275" cy="307777"/>
          </a:xfrm>
          <a:prstGeom prst="rect">
            <a:avLst/>
          </a:prstGeom>
          <a:noFill/>
        </p:spPr>
        <p:txBody>
          <a:bodyPr wrap="none" rtlCol="0">
            <a:spAutoFit/>
          </a:bodyPr>
          <a:lstStyle/>
          <a:p>
            <a:r>
              <a:rPr lang="zh-CN" altLang="en-US" sz="1400" dirty="0">
                <a:solidFill>
                  <a:schemeClr val="tx1">
                    <a:lumMod val="65000"/>
                    <a:lumOff val="35000"/>
                  </a:schemeClr>
                </a:solidFill>
                <a:latin typeface="微软雅黑" panose="020B0503020204020204" charset="-122"/>
                <a:ea typeface="微软雅黑" panose="020B0503020204020204" charset="-122"/>
              </a:rPr>
              <a:t>关键词</a:t>
            </a:r>
            <a:endParaRPr lang="zh-CN" altLang="en-US" sz="1400" dirty="0">
              <a:solidFill>
                <a:schemeClr val="tx1">
                  <a:lumMod val="65000"/>
                  <a:lumOff val="35000"/>
                </a:schemeClr>
              </a:solidFill>
              <a:latin typeface="微软雅黑" panose="020B0503020204020204" charset="-122"/>
              <a:ea typeface="微软雅黑" panose="020B0503020204020204" charset="-122"/>
            </a:endParaRPr>
          </a:p>
        </p:txBody>
      </p:sp>
      <p:sp>
        <p:nvSpPr>
          <p:cNvPr id="40" name="文本框 39"/>
          <p:cNvSpPr txBox="1"/>
          <p:nvPr/>
        </p:nvSpPr>
        <p:spPr>
          <a:xfrm>
            <a:off x="1848678" y="5541686"/>
            <a:ext cx="5953539" cy="276999"/>
          </a:xfrm>
          <a:prstGeom prst="rect">
            <a:avLst/>
          </a:prstGeom>
          <a:noFill/>
        </p:spPr>
        <p:txBody>
          <a:bodyPr wrap="square" rtlCol="0">
            <a:spAutoFit/>
          </a:bodyPr>
          <a:lstStyle/>
          <a:p>
            <a:r>
              <a:rPr lang="zh-CN" altLang="en-US" sz="1200" dirty="0">
                <a:solidFill>
                  <a:schemeClr val="tx1">
                    <a:lumMod val="50000"/>
                    <a:lumOff val="50000"/>
                  </a:schemeClr>
                </a:solidFill>
                <a:latin typeface="微软雅黑" panose="020B0503020204020204" charset="-122"/>
                <a:ea typeface="微软雅黑" panose="020B0503020204020204" charset="-122"/>
              </a:rPr>
              <a:t>编辑这里对于关键词的描述</a:t>
            </a:r>
            <a:endParaRPr lang="zh-CN" altLang="en-US" sz="1200" dirty="0">
              <a:solidFill>
                <a:schemeClr val="tx1">
                  <a:lumMod val="50000"/>
                  <a:lumOff val="50000"/>
                </a:schemeClr>
              </a:solidFill>
              <a:latin typeface="微软雅黑" panose="020B0503020204020204" charset="-122"/>
              <a:ea typeface="微软雅黑" panose="020B0503020204020204" charset="-122"/>
            </a:endParaRPr>
          </a:p>
        </p:txBody>
      </p:sp>
    </p:spTree>
  </p:cSld>
  <p:clrMapOvr>
    <a:masterClrMapping/>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838200" y="6356350"/>
            <a:ext cx="2743200" cy="365125"/>
          </a:xfrm>
          <a:prstGeom prst="rect">
            <a:avLst/>
          </a:prstGeom>
        </p:spPr>
        <p:txBody>
          <a:bodyPr/>
          <a:lstStyle/>
          <a:p>
            <a:fld id="{F403842B-A783-494A-AAE6-A459499E1E13}" type="datetimeFigureOut">
              <a:rPr lang="zh-CN" altLang="en-US" smtClean="0"/>
            </a:fld>
            <a:endParaRPr lang="zh-CN" altLang="en-US"/>
          </a:p>
        </p:txBody>
      </p:sp>
      <p:sp>
        <p:nvSpPr>
          <p:cNvPr id="3" name="页脚占位符 2"/>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4" name="灯片编号占位符 3"/>
          <p:cNvSpPr>
            <a:spLocks noGrp="1"/>
          </p:cNvSpPr>
          <p:nvPr>
            <p:ph type="sldNum" sz="quarter" idx="12"/>
          </p:nvPr>
        </p:nvSpPr>
        <p:spPr>
          <a:xfrm>
            <a:off x="8610600" y="6356350"/>
            <a:ext cx="2743200" cy="365125"/>
          </a:xfrm>
          <a:prstGeom prst="rect">
            <a:avLst/>
          </a:prstGeom>
        </p:spPr>
        <p:txBody>
          <a:bodyPr/>
          <a:lstStyle/>
          <a:p>
            <a:fld id="{83995FD7-10C0-43B3-9D28-4209F9BAAF89}" type="slidenum">
              <a:rPr lang="zh-CN" altLang="en-US" smtClean="0"/>
            </a:fld>
            <a:endParaRPr lang="zh-CN" altLang="en-US"/>
          </a:p>
        </p:txBody>
      </p:sp>
      <p:sp>
        <p:nvSpPr>
          <p:cNvPr id="8" name="标题 1"/>
          <p:cNvSpPr>
            <a:spLocks noGrp="1"/>
          </p:cNvSpPr>
          <p:nvPr>
            <p:ph type="title" hasCustomPrompt="1"/>
          </p:nvPr>
        </p:nvSpPr>
        <p:spPr>
          <a:xfrm>
            <a:off x="838200" y="0"/>
            <a:ext cx="10515600" cy="1325563"/>
          </a:xfrm>
        </p:spPr>
        <p:txBody>
          <a:bodyPr/>
          <a:lstStyle>
            <a:lvl1pPr algn="ctr">
              <a:defRPr>
                <a:solidFill>
                  <a:schemeClr val="tx1">
                    <a:lumMod val="65000"/>
                    <a:lumOff val="35000"/>
                  </a:schemeClr>
                </a:solidFill>
              </a:defRPr>
            </a:lvl1pPr>
          </a:lstStyle>
          <a:p>
            <a:r>
              <a:rPr lang="zh-CN" altLang="en-US" dirty="0"/>
              <a:t>显示饼图模板</a:t>
            </a:r>
            <a:endParaRPr lang="zh-CN" altLang="en-US" dirty="0"/>
          </a:p>
        </p:txBody>
      </p:sp>
      <p:graphicFrame>
        <p:nvGraphicFramePr>
          <p:cNvPr id="20" name="图表 19"/>
          <p:cNvGraphicFramePr/>
          <p:nvPr/>
        </p:nvGraphicFramePr>
        <p:xfrm>
          <a:off x="2986156" y="1564737"/>
          <a:ext cx="6380922" cy="4253948"/>
        </p:xfrm>
        <a:graphic>
          <a:graphicData uri="http://schemas.openxmlformats.org/drawingml/2006/chart">
            <c:chart xmlns:c="http://schemas.openxmlformats.org/drawingml/2006/chart" xmlns:r="http://schemas.openxmlformats.org/officeDocument/2006/relationships" r:id="rId2"/>
          </a:graphicData>
        </a:graphic>
      </p:graphicFrame>
      <p:sp>
        <p:nvSpPr>
          <p:cNvPr id="21" name="椭圆 20"/>
          <p:cNvSpPr/>
          <p:nvPr/>
        </p:nvSpPr>
        <p:spPr>
          <a:xfrm flipV="1">
            <a:off x="1092743" y="2695879"/>
            <a:ext cx="196407" cy="196407"/>
          </a:xfrm>
          <a:prstGeom prst="ellipse">
            <a:avLst/>
          </a:prstGeom>
          <a:solidFill>
            <a:srgbClr val="EC5B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latin typeface="Adobe 黑体 Std R" panose="020B0400000000000000" pitchFamily="34" charset="-122"/>
              <a:ea typeface="Adobe 黑体 Std R" panose="020B0400000000000000" pitchFamily="34" charset="-122"/>
              <a:cs typeface="Arial" panose="020B0604020202020204" pitchFamily="34" charset="0"/>
            </a:endParaRPr>
          </a:p>
        </p:txBody>
      </p:sp>
      <p:sp>
        <p:nvSpPr>
          <p:cNvPr id="22" name="椭圆 21"/>
          <p:cNvSpPr/>
          <p:nvPr/>
        </p:nvSpPr>
        <p:spPr>
          <a:xfrm flipV="1">
            <a:off x="1092743" y="4691423"/>
            <a:ext cx="196407" cy="196407"/>
          </a:xfrm>
          <a:prstGeom prst="ellipse">
            <a:avLst/>
          </a:prstGeom>
          <a:solidFill>
            <a:srgbClr val="3293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latin typeface="Adobe 黑体 Std R" panose="020B0400000000000000" pitchFamily="34" charset="-122"/>
              <a:ea typeface="Adobe 黑体 Std R" panose="020B0400000000000000" pitchFamily="34" charset="-122"/>
              <a:cs typeface="Arial" panose="020B0604020202020204" pitchFamily="34" charset="0"/>
            </a:endParaRPr>
          </a:p>
        </p:txBody>
      </p:sp>
      <p:sp>
        <p:nvSpPr>
          <p:cNvPr id="23" name="椭圆 22"/>
          <p:cNvSpPr/>
          <p:nvPr/>
        </p:nvSpPr>
        <p:spPr>
          <a:xfrm flipV="1">
            <a:off x="8512396" y="4691423"/>
            <a:ext cx="196407" cy="19640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latin typeface="Adobe 黑体 Std R" panose="020B0400000000000000" pitchFamily="34" charset="-122"/>
              <a:ea typeface="Adobe 黑体 Std R" panose="020B0400000000000000" pitchFamily="34" charset="-122"/>
              <a:cs typeface="Arial" panose="020B0604020202020204" pitchFamily="34" charset="0"/>
            </a:endParaRPr>
          </a:p>
        </p:txBody>
      </p:sp>
      <p:sp>
        <p:nvSpPr>
          <p:cNvPr id="24" name="椭圆 23"/>
          <p:cNvSpPr/>
          <p:nvPr/>
        </p:nvSpPr>
        <p:spPr>
          <a:xfrm flipV="1">
            <a:off x="8512396" y="2503933"/>
            <a:ext cx="196407" cy="196407"/>
          </a:xfrm>
          <a:prstGeom prst="ellipse">
            <a:avLst/>
          </a:prstGeom>
          <a:solidFill>
            <a:srgbClr val="1DCF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latin typeface="Adobe 黑体 Std R" panose="020B0400000000000000" pitchFamily="34" charset="-122"/>
              <a:ea typeface="Adobe 黑体 Std R" panose="020B0400000000000000" pitchFamily="34" charset="-122"/>
              <a:cs typeface="Arial" panose="020B0604020202020204" pitchFamily="34" charset="0"/>
            </a:endParaRPr>
          </a:p>
        </p:txBody>
      </p:sp>
      <p:sp>
        <p:nvSpPr>
          <p:cNvPr id="29" name="标题 1"/>
          <p:cNvSpPr txBox="1"/>
          <p:nvPr/>
        </p:nvSpPr>
        <p:spPr>
          <a:xfrm>
            <a:off x="1348409" y="2547087"/>
            <a:ext cx="2232991" cy="493989"/>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4400" kern="1200">
                <a:solidFill>
                  <a:schemeClr val="tx1">
                    <a:lumMod val="65000"/>
                    <a:lumOff val="35000"/>
                  </a:schemeClr>
                </a:solidFill>
                <a:latin typeface="造字工房朗倩（非商用）细体" pitchFamily="50" charset="-122"/>
                <a:ea typeface="造字工房朗倩（非商用）细体" pitchFamily="50" charset="-122"/>
                <a:cs typeface="+mj-cs"/>
              </a:defRPr>
            </a:lvl1pPr>
          </a:lstStyle>
          <a:p>
            <a:pPr algn="l"/>
            <a:r>
              <a:rPr lang="zh-CN" altLang="en-US" sz="2000" dirty="0">
                <a:latin typeface="微软雅黑" panose="020B0503020204020204" charset="-122"/>
                <a:ea typeface="微软雅黑" panose="020B0503020204020204" charset="-122"/>
              </a:rPr>
              <a:t>关键字</a:t>
            </a:r>
            <a:endParaRPr lang="zh-CN" altLang="en-US" sz="2000" dirty="0">
              <a:latin typeface="微软雅黑" panose="020B0503020204020204" charset="-122"/>
              <a:ea typeface="微软雅黑" panose="020B0503020204020204" charset="-122"/>
            </a:endParaRPr>
          </a:p>
        </p:txBody>
      </p:sp>
      <p:sp>
        <p:nvSpPr>
          <p:cNvPr id="34" name="标题 1"/>
          <p:cNvSpPr txBox="1"/>
          <p:nvPr/>
        </p:nvSpPr>
        <p:spPr>
          <a:xfrm>
            <a:off x="1348409" y="2908012"/>
            <a:ext cx="2232991" cy="1041975"/>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4400" kern="1200">
                <a:solidFill>
                  <a:schemeClr val="tx1">
                    <a:lumMod val="65000"/>
                    <a:lumOff val="35000"/>
                  </a:schemeClr>
                </a:solidFill>
                <a:latin typeface="造字工房朗倩（非商用）细体" pitchFamily="50" charset="-122"/>
                <a:ea typeface="造字工房朗倩（非商用）细体" pitchFamily="50" charset="-122"/>
                <a:cs typeface="+mj-cs"/>
              </a:defRPr>
            </a:lvl1pPr>
          </a:lstStyle>
          <a:p>
            <a:pPr algn="l">
              <a:lnSpc>
                <a:spcPct val="170000"/>
              </a:lnSpc>
            </a:pPr>
            <a:r>
              <a:rPr lang="zh-CN" altLang="en-US" sz="1400" dirty="0">
                <a:solidFill>
                  <a:schemeClr val="tx1">
                    <a:lumMod val="50000"/>
                    <a:lumOff val="50000"/>
                  </a:schemeClr>
                </a:solidFill>
                <a:latin typeface="微软雅黑" panose="020B0503020204020204" charset="-122"/>
                <a:ea typeface="微软雅黑" panose="020B0503020204020204" charset="-122"/>
              </a:rPr>
              <a:t>对于这个区域的具体描述</a:t>
            </a:r>
            <a:endParaRPr lang="zh-CN" altLang="en-US" sz="1400" dirty="0">
              <a:solidFill>
                <a:schemeClr val="tx1">
                  <a:lumMod val="50000"/>
                  <a:lumOff val="50000"/>
                </a:schemeClr>
              </a:solidFill>
              <a:latin typeface="微软雅黑" panose="020B0503020204020204" charset="-122"/>
              <a:ea typeface="微软雅黑" panose="020B0503020204020204" charset="-122"/>
            </a:endParaRPr>
          </a:p>
        </p:txBody>
      </p:sp>
      <p:sp>
        <p:nvSpPr>
          <p:cNvPr id="35" name="标题 1"/>
          <p:cNvSpPr txBox="1"/>
          <p:nvPr/>
        </p:nvSpPr>
        <p:spPr>
          <a:xfrm>
            <a:off x="1348409" y="4600353"/>
            <a:ext cx="2232991" cy="493989"/>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4400" kern="1200">
                <a:solidFill>
                  <a:schemeClr val="tx1">
                    <a:lumMod val="65000"/>
                    <a:lumOff val="35000"/>
                  </a:schemeClr>
                </a:solidFill>
                <a:latin typeface="造字工房朗倩（非商用）细体" pitchFamily="50" charset="-122"/>
                <a:ea typeface="造字工房朗倩（非商用）细体" pitchFamily="50" charset="-122"/>
                <a:cs typeface="+mj-cs"/>
              </a:defRPr>
            </a:lvl1pPr>
          </a:lstStyle>
          <a:p>
            <a:pPr algn="l"/>
            <a:r>
              <a:rPr lang="zh-CN" altLang="en-US" sz="2000" dirty="0">
                <a:latin typeface="微软雅黑" panose="020B0503020204020204" charset="-122"/>
                <a:ea typeface="微软雅黑" panose="020B0503020204020204" charset="-122"/>
              </a:rPr>
              <a:t>关键字</a:t>
            </a:r>
            <a:endParaRPr lang="zh-CN" altLang="en-US" sz="2000" dirty="0">
              <a:latin typeface="微软雅黑" panose="020B0503020204020204" charset="-122"/>
              <a:ea typeface="微软雅黑" panose="020B0503020204020204" charset="-122"/>
            </a:endParaRPr>
          </a:p>
        </p:txBody>
      </p:sp>
      <p:sp>
        <p:nvSpPr>
          <p:cNvPr id="36" name="标题 1"/>
          <p:cNvSpPr txBox="1"/>
          <p:nvPr/>
        </p:nvSpPr>
        <p:spPr>
          <a:xfrm>
            <a:off x="1348409" y="4961278"/>
            <a:ext cx="2232991" cy="1041975"/>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4400" kern="1200">
                <a:solidFill>
                  <a:schemeClr val="tx1">
                    <a:lumMod val="65000"/>
                    <a:lumOff val="35000"/>
                  </a:schemeClr>
                </a:solidFill>
                <a:latin typeface="造字工房朗倩（非商用）细体" pitchFamily="50" charset="-122"/>
                <a:ea typeface="造字工房朗倩（非商用）细体" pitchFamily="50" charset="-122"/>
                <a:cs typeface="+mj-cs"/>
              </a:defRPr>
            </a:lvl1pPr>
          </a:lstStyle>
          <a:p>
            <a:pPr algn="l">
              <a:lnSpc>
                <a:spcPct val="170000"/>
              </a:lnSpc>
            </a:pPr>
            <a:r>
              <a:rPr lang="zh-CN" altLang="en-US" sz="1400" dirty="0">
                <a:solidFill>
                  <a:schemeClr val="tx1">
                    <a:lumMod val="50000"/>
                    <a:lumOff val="50000"/>
                  </a:schemeClr>
                </a:solidFill>
                <a:latin typeface="微软雅黑" panose="020B0503020204020204" charset="-122"/>
                <a:ea typeface="微软雅黑" panose="020B0503020204020204" charset="-122"/>
              </a:rPr>
              <a:t>对于这个区域的具体描述</a:t>
            </a:r>
            <a:endParaRPr lang="zh-CN" altLang="en-US" sz="1400" dirty="0">
              <a:solidFill>
                <a:schemeClr val="tx1">
                  <a:lumMod val="50000"/>
                  <a:lumOff val="50000"/>
                </a:schemeClr>
              </a:solidFill>
              <a:latin typeface="微软雅黑" panose="020B0503020204020204" charset="-122"/>
              <a:ea typeface="微软雅黑" panose="020B0503020204020204" charset="-122"/>
            </a:endParaRPr>
          </a:p>
        </p:txBody>
      </p:sp>
      <p:sp>
        <p:nvSpPr>
          <p:cNvPr id="37" name="标题 1"/>
          <p:cNvSpPr txBox="1"/>
          <p:nvPr/>
        </p:nvSpPr>
        <p:spPr>
          <a:xfrm>
            <a:off x="8872143" y="4600353"/>
            <a:ext cx="2232991" cy="493989"/>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4400" kern="1200">
                <a:solidFill>
                  <a:schemeClr val="tx1">
                    <a:lumMod val="65000"/>
                    <a:lumOff val="35000"/>
                  </a:schemeClr>
                </a:solidFill>
                <a:latin typeface="造字工房朗倩（非商用）细体" pitchFamily="50" charset="-122"/>
                <a:ea typeface="造字工房朗倩（非商用）细体" pitchFamily="50" charset="-122"/>
                <a:cs typeface="+mj-cs"/>
              </a:defRPr>
            </a:lvl1pPr>
          </a:lstStyle>
          <a:p>
            <a:pPr algn="l"/>
            <a:r>
              <a:rPr lang="zh-CN" altLang="en-US" sz="2000" dirty="0">
                <a:latin typeface="微软雅黑" panose="020B0503020204020204" charset="-122"/>
                <a:ea typeface="微软雅黑" panose="020B0503020204020204" charset="-122"/>
              </a:rPr>
              <a:t>关键字</a:t>
            </a:r>
            <a:endParaRPr lang="zh-CN" altLang="en-US" sz="2000" dirty="0">
              <a:latin typeface="微软雅黑" panose="020B0503020204020204" charset="-122"/>
              <a:ea typeface="微软雅黑" panose="020B0503020204020204" charset="-122"/>
            </a:endParaRPr>
          </a:p>
        </p:txBody>
      </p:sp>
      <p:sp>
        <p:nvSpPr>
          <p:cNvPr id="38" name="标题 1"/>
          <p:cNvSpPr txBox="1"/>
          <p:nvPr/>
        </p:nvSpPr>
        <p:spPr>
          <a:xfrm>
            <a:off x="8872143" y="4961278"/>
            <a:ext cx="2232991" cy="1041975"/>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4400" kern="1200">
                <a:solidFill>
                  <a:schemeClr val="tx1">
                    <a:lumMod val="65000"/>
                    <a:lumOff val="35000"/>
                  </a:schemeClr>
                </a:solidFill>
                <a:latin typeface="造字工房朗倩（非商用）细体" pitchFamily="50" charset="-122"/>
                <a:ea typeface="造字工房朗倩（非商用）细体" pitchFamily="50" charset="-122"/>
                <a:cs typeface="+mj-cs"/>
              </a:defRPr>
            </a:lvl1pPr>
          </a:lstStyle>
          <a:p>
            <a:pPr algn="l">
              <a:lnSpc>
                <a:spcPct val="170000"/>
              </a:lnSpc>
            </a:pPr>
            <a:r>
              <a:rPr lang="zh-CN" altLang="en-US" sz="1400" dirty="0">
                <a:solidFill>
                  <a:schemeClr val="tx1">
                    <a:lumMod val="50000"/>
                    <a:lumOff val="50000"/>
                  </a:schemeClr>
                </a:solidFill>
                <a:latin typeface="微软雅黑" panose="020B0503020204020204" charset="-122"/>
                <a:ea typeface="微软雅黑" panose="020B0503020204020204" charset="-122"/>
              </a:rPr>
              <a:t>对于这个区域的具体描述</a:t>
            </a:r>
            <a:endParaRPr lang="zh-CN" altLang="en-US" sz="1400" dirty="0">
              <a:solidFill>
                <a:schemeClr val="tx1">
                  <a:lumMod val="50000"/>
                  <a:lumOff val="50000"/>
                </a:schemeClr>
              </a:solidFill>
              <a:latin typeface="微软雅黑" panose="020B0503020204020204" charset="-122"/>
              <a:ea typeface="微软雅黑" panose="020B0503020204020204" charset="-122"/>
            </a:endParaRPr>
          </a:p>
        </p:txBody>
      </p:sp>
      <p:sp>
        <p:nvSpPr>
          <p:cNvPr id="39" name="标题 1"/>
          <p:cNvSpPr txBox="1"/>
          <p:nvPr/>
        </p:nvSpPr>
        <p:spPr>
          <a:xfrm>
            <a:off x="8872143" y="2398297"/>
            <a:ext cx="2232991" cy="493989"/>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4400" kern="1200">
                <a:solidFill>
                  <a:schemeClr val="tx1">
                    <a:lumMod val="65000"/>
                    <a:lumOff val="35000"/>
                  </a:schemeClr>
                </a:solidFill>
                <a:latin typeface="造字工房朗倩（非商用）细体" pitchFamily="50" charset="-122"/>
                <a:ea typeface="造字工房朗倩（非商用）细体" pitchFamily="50" charset="-122"/>
                <a:cs typeface="+mj-cs"/>
              </a:defRPr>
            </a:lvl1pPr>
          </a:lstStyle>
          <a:p>
            <a:pPr algn="l"/>
            <a:r>
              <a:rPr lang="zh-CN" altLang="en-US" sz="2000" dirty="0">
                <a:latin typeface="微软雅黑" panose="020B0503020204020204" charset="-122"/>
                <a:ea typeface="微软雅黑" panose="020B0503020204020204" charset="-122"/>
              </a:rPr>
              <a:t>关键字</a:t>
            </a:r>
            <a:endParaRPr lang="zh-CN" altLang="en-US" sz="2000" dirty="0">
              <a:latin typeface="微软雅黑" panose="020B0503020204020204" charset="-122"/>
              <a:ea typeface="微软雅黑" panose="020B0503020204020204" charset="-122"/>
            </a:endParaRPr>
          </a:p>
        </p:txBody>
      </p:sp>
      <p:sp>
        <p:nvSpPr>
          <p:cNvPr id="40" name="标题 1"/>
          <p:cNvSpPr txBox="1"/>
          <p:nvPr/>
        </p:nvSpPr>
        <p:spPr>
          <a:xfrm>
            <a:off x="8872143" y="2759222"/>
            <a:ext cx="2232991" cy="1041975"/>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4400" kern="1200">
                <a:solidFill>
                  <a:schemeClr val="tx1">
                    <a:lumMod val="65000"/>
                    <a:lumOff val="35000"/>
                  </a:schemeClr>
                </a:solidFill>
                <a:latin typeface="造字工房朗倩（非商用）细体" pitchFamily="50" charset="-122"/>
                <a:ea typeface="造字工房朗倩（非商用）细体" pitchFamily="50" charset="-122"/>
                <a:cs typeface="+mj-cs"/>
              </a:defRPr>
            </a:lvl1pPr>
          </a:lstStyle>
          <a:p>
            <a:pPr algn="l">
              <a:lnSpc>
                <a:spcPct val="170000"/>
              </a:lnSpc>
            </a:pPr>
            <a:r>
              <a:rPr lang="zh-CN" altLang="en-US" sz="1400" dirty="0">
                <a:solidFill>
                  <a:schemeClr val="tx1">
                    <a:lumMod val="50000"/>
                    <a:lumOff val="50000"/>
                  </a:schemeClr>
                </a:solidFill>
                <a:latin typeface="微软雅黑" panose="020B0503020204020204" charset="-122"/>
                <a:ea typeface="微软雅黑" panose="020B0503020204020204" charset="-122"/>
              </a:rPr>
              <a:t>对于这个区域的具体描述</a:t>
            </a:r>
            <a:endParaRPr lang="zh-CN" altLang="en-US" sz="1400" dirty="0">
              <a:solidFill>
                <a:schemeClr val="tx1">
                  <a:lumMod val="50000"/>
                  <a:lumOff val="50000"/>
                </a:schemeClr>
              </a:solidFill>
              <a:latin typeface="微软雅黑" panose="020B0503020204020204" charset="-122"/>
              <a:ea typeface="微软雅黑" panose="020B0503020204020204" charset="-122"/>
            </a:endParaRPr>
          </a:p>
        </p:txBody>
      </p:sp>
    </p:spTree>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空白">
    <p:spTree>
      <p:nvGrpSpPr>
        <p:cNvPr id="1" name=""/>
        <p:cNvGrpSpPr/>
        <p:nvPr/>
      </p:nvGrpSpPr>
      <p:grpSpPr>
        <a:xfrm>
          <a:off x="0" y="0"/>
          <a:ext cx="0" cy="0"/>
          <a:chOff x="0" y="0"/>
          <a:chExt cx="0" cy="0"/>
        </a:xfrm>
      </p:grpSpPr>
      <p:sp>
        <p:nvSpPr>
          <p:cNvPr id="8" name="标题 1"/>
          <p:cNvSpPr>
            <a:spLocks noGrp="1"/>
          </p:cNvSpPr>
          <p:nvPr>
            <p:ph type="title" hasCustomPrompt="1"/>
          </p:nvPr>
        </p:nvSpPr>
        <p:spPr>
          <a:xfrm>
            <a:off x="838200" y="0"/>
            <a:ext cx="10515600" cy="1325563"/>
          </a:xfrm>
        </p:spPr>
        <p:txBody>
          <a:bodyPr/>
          <a:lstStyle>
            <a:lvl1pPr algn="ctr">
              <a:defRPr>
                <a:solidFill>
                  <a:schemeClr val="tx1">
                    <a:lumMod val="65000"/>
                    <a:lumOff val="35000"/>
                  </a:schemeClr>
                </a:solidFill>
              </a:defRPr>
            </a:lvl1pPr>
          </a:lstStyle>
          <a:p>
            <a:r>
              <a:rPr lang="zh-CN" altLang="en-US" dirty="0"/>
              <a:t>显示柱状图模板</a:t>
            </a:r>
            <a:endParaRPr lang="zh-CN" altLang="en-US" dirty="0"/>
          </a:p>
        </p:txBody>
      </p:sp>
      <p:graphicFrame>
        <p:nvGraphicFramePr>
          <p:cNvPr id="16" name="图表 15"/>
          <p:cNvGraphicFramePr/>
          <p:nvPr/>
        </p:nvGraphicFramePr>
        <p:xfrm>
          <a:off x="838200" y="1898374"/>
          <a:ext cx="6017040" cy="4011360"/>
        </p:xfrm>
        <a:graphic>
          <a:graphicData uri="http://schemas.openxmlformats.org/drawingml/2006/chart">
            <c:chart xmlns:c="http://schemas.openxmlformats.org/drawingml/2006/chart" xmlns:r="http://schemas.openxmlformats.org/officeDocument/2006/relationships" r:id="rId2"/>
          </a:graphicData>
        </a:graphic>
      </p:graphicFrame>
      <p:sp>
        <p:nvSpPr>
          <p:cNvPr id="17" name="文本框 16"/>
          <p:cNvSpPr txBox="1"/>
          <p:nvPr/>
        </p:nvSpPr>
        <p:spPr>
          <a:xfrm>
            <a:off x="7146234" y="2017643"/>
            <a:ext cx="1932462" cy="1200329"/>
          </a:xfrm>
          <a:prstGeom prst="rect">
            <a:avLst/>
          </a:prstGeom>
          <a:noFill/>
        </p:spPr>
        <p:txBody>
          <a:bodyPr wrap="square" rtlCol="0">
            <a:spAutoFit/>
          </a:bodyPr>
          <a:lstStyle/>
          <a:p>
            <a:r>
              <a:rPr lang="en-US" altLang="zh-CN" sz="7200" dirty="0">
                <a:solidFill>
                  <a:schemeClr val="bg1">
                    <a:lumMod val="50000"/>
                  </a:schemeClr>
                </a:solidFill>
              </a:rPr>
              <a:t>58%</a:t>
            </a:r>
            <a:endParaRPr lang="zh-CN" altLang="en-US" sz="7200" dirty="0">
              <a:solidFill>
                <a:schemeClr val="bg1">
                  <a:lumMod val="50000"/>
                </a:schemeClr>
              </a:solidFill>
            </a:endParaRPr>
          </a:p>
        </p:txBody>
      </p:sp>
      <p:sp>
        <p:nvSpPr>
          <p:cNvPr id="31" name="文本框 30"/>
          <p:cNvSpPr txBox="1"/>
          <p:nvPr/>
        </p:nvSpPr>
        <p:spPr>
          <a:xfrm>
            <a:off x="9293086" y="2017643"/>
            <a:ext cx="1932462" cy="1200329"/>
          </a:xfrm>
          <a:prstGeom prst="rect">
            <a:avLst/>
          </a:prstGeom>
          <a:noFill/>
        </p:spPr>
        <p:txBody>
          <a:bodyPr wrap="square" rtlCol="0">
            <a:spAutoFit/>
          </a:bodyPr>
          <a:lstStyle/>
          <a:p>
            <a:r>
              <a:rPr lang="en-US" altLang="zh-CN" sz="7200" dirty="0">
                <a:solidFill>
                  <a:schemeClr val="tx1">
                    <a:lumMod val="65000"/>
                    <a:lumOff val="35000"/>
                  </a:schemeClr>
                </a:solidFill>
              </a:rPr>
              <a:t>58%</a:t>
            </a:r>
            <a:endParaRPr lang="zh-CN" altLang="en-US" sz="7200" dirty="0">
              <a:solidFill>
                <a:schemeClr val="tx1">
                  <a:lumMod val="65000"/>
                  <a:lumOff val="35000"/>
                </a:schemeClr>
              </a:solidFill>
            </a:endParaRPr>
          </a:p>
        </p:txBody>
      </p:sp>
      <p:sp>
        <p:nvSpPr>
          <p:cNvPr id="32" name="标题 1"/>
          <p:cNvSpPr txBox="1"/>
          <p:nvPr/>
        </p:nvSpPr>
        <p:spPr>
          <a:xfrm>
            <a:off x="7252065" y="3663057"/>
            <a:ext cx="2232991" cy="493989"/>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4400" kern="1200">
                <a:solidFill>
                  <a:schemeClr val="tx1">
                    <a:lumMod val="65000"/>
                    <a:lumOff val="35000"/>
                  </a:schemeClr>
                </a:solidFill>
                <a:latin typeface="造字工房朗倩（非商用）细体" pitchFamily="50" charset="-122"/>
                <a:ea typeface="造字工房朗倩（非商用）细体" pitchFamily="50" charset="-122"/>
                <a:cs typeface="+mj-cs"/>
              </a:defRPr>
            </a:lvl1pPr>
          </a:lstStyle>
          <a:p>
            <a:pPr algn="l"/>
            <a:r>
              <a:rPr lang="zh-CN" altLang="en-US" sz="1600" dirty="0">
                <a:latin typeface="微软雅黑" panose="020B0503020204020204" charset="-122"/>
                <a:ea typeface="微软雅黑" panose="020B0503020204020204" charset="-122"/>
              </a:rPr>
              <a:t>关键字</a:t>
            </a:r>
            <a:endParaRPr lang="zh-CN" altLang="en-US" sz="1600" dirty="0">
              <a:latin typeface="微软雅黑" panose="020B0503020204020204" charset="-122"/>
              <a:ea typeface="微软雅黑" panose="020B0503020204020204" charset="-122"/>
            </a:endParaRPr>
          </a:p>
        </p:txBody>
      </p:sp>
      <p:sp>
        <p:nvSpPr>
          <p:cNvPr id="33" name="标题 1"/>
          <p:cNvSpPr txBox="1"/>
          <p:nvPr/>
        </p:nvSpPr>
        <p:spPr>
          <a:xfrm>
            <a:off x="7252065" y="4023982"/>
            <a:ext cx="2232991" cy="1041975"/>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4400" kern="1200">
                <a:solidFill>
                  <a:schemeClr val="tx1">
                    <a:lumMod val="65000"/>
                    <a:lumOff val="35000"/>
                  </a:schemeClr>
                </a:solidFill>
                <a:latin typeface="造字工房朗倩（非商用）细体" pitchFamily="50" charset="-122"/>
                <a:ea typeface="造字工房朗倩（非商用）细体" pitchFamily="50" charset="-122"/>
                <a:cs typeface="+mj-cs"/>
              </a:defRPr>
            </a:lvl1pPr>
          </a:lstStyle>
          <a:p>
            <a:pPr algn="l">
              <a:lnSpc>
                <a:spcPct val="170000"/>
              </a:lnSpc>
            </a:pPr>
            <a:r>
              <a:rPr lang="zh-CN" altLang="en-US" sz="1100" dirty="0">
                <a:solidFill>
                  <a:schemeClr val="tx1">
                    <a:lumMod val="50000"/>
                    <a:lumOff val="50000"/>
                  </a:schemeClr>
                </a:solidFill>
                <a:latin typeface="微软雅黑" panose="020B0503020204020204" charset="-122"/>
                <a:ea typeface="微软雅黑" panose="020B0503020204020204" charset="-122"/>
              </a:rPr>
              <a:t>对于这个区域的具体描述</a:t>
            </a:r>
            <a:endParaRPr lang="zh-CN" altLang="en-US" sz="1100" dirty="0">
              <a:solidFill>
                <a:schemeClr val="tx1">
                  <a:lumMod val="50000"/>
                  <a:lumOff val="50000"/>
                </a:schemeClr>
              </a:solidFill>
              <a:latin typeface="微软雅黑" panose="020B0503020204020204" charset="-122"/>
              <a:ea typeface="微软雅黑" panose="020B0503020204020204" charset="-122"/>
            </a:endParaRPr>
          </a:p>
        </p:txBody>
      </p:sp>
      <p:sp>
        <p:nvSpPr>
          <p:cNvPr id="41" name="标题 1"/>
          <p:cNvSpPr txBox="1"/>
          <p:nvPr/>
        </p:nvSpPr>
        <p:spPr>
          <a:xfrm>
            <a:off x="9398918" y="3663057"/>
            <a:ext cx="2232991" cy="493989"/>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4400" kern="1200">
                <a:solidFill>
                  <a:schemeClr val="tx1">
                    <a:lumMod val="65000"/>
                    <a:lumOff val="35000"/>
                  </a:schemeClr>
                </a:solidFill>
                <a:latin typeface="造字工房朗倩（非商用）细体" pitchFamily="50" charset="-122"/>
                <a:ea typeface="造字工房朗倩（非商用）细体" pitchFamily="50" charset="-122"/>
                <a:cs typeface="+mj-cs"/>
              </a:defRPr>
            </a:lvl1pPr>
          </a:lstStyle>
          <a:p>
            <a:pPr algn="l"/>
            <a:r>
              <a:rPr lang="zh-CN" altLang="en-US" sz="1600" dirty="0">
                <a:latin typeface="微软雅黑" panose="020B0503020204020204" charset="-122"/>
                <a:ea typeface="微软雅黑" panose="020B0503020204020204" charset="-122"/>
              </a:rPr>
              <a:t>关键字</a:t>
            </a:r>
            <a:endParaRPr lang="zh-CN" altLang="en-US" sz="1600" dirty="0">
              <a:latin typeface="微软雅黑" panose="020B0503020204020204" charset="-122"/>
              <a:ea typeface="微软雅黑" panose="020B0503020204020204" charset="-122"/>
            </a:endParaRPr>
          </a:p>
        </p:txBody>
      </p:sp>
      <p:sp>
        <p:nvSpPr>
          <p:cNvPr id="42" name="标题 1"/>
          <p:cNvSpPr txBox="1"/>
          <p:nvPr/>
        </p:nvSpPr>
        <p:spPr>
          <a:xfrm>
            <a:off x="9398918" y="4023982"/>
            <a:ext cx="2232991" cy="1041975"/>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4400" kern="1200">
                <a:solidFill>
                  <a:schemeClr val="tx1">
                    <a:lumMod val="65000"/>
                    <a:lumOff val="35000"/>
                  </a:schemeClr>
                </a:solidFill>
                <a:latin typeface="造字工房朗倩（非商用）细体" pitchFamily="50" charset="-122"/>
                <a:ea typeface="造字工房朗倩（非商用）细体" pitchFamily="50" charset="-122"/>
                <a:cs typeface="+mj-cs"/>
              </a:defRPr>
            </a:lvl1pPr>
          </a:lstStyle>
          <a:p>
            <a:pPr algn="l">
              <a:lnSpc>
                <a:spcPct val="170000"/>
              </a:lnSpc>
            </a:pPr>
            <a:r>
              <a:rPr lang="zh-CN" altLang="en-US" sz="1100" dirty="0">
                <a:solidFill>
                  <a:schemeClr val="tx1">
                    <a:lumMod val="50000"/>
                    <a:lumOff val="50000"/>
                  </a:schemeClr>
                </a:solidFill>
                <a:latin typeface="微软雅黑" panose="020B0503020204020204" charset="-122"/>
                <a:ea typeface="微软雅黑" panose="020B0503020204020204" charset="-122"/>
              </a:rPr>
              <a:t>对于这个区域的具体描述</a:t>
            </a:r>
            <a:endParaRPr lang="zh-CN" altLang="en-US" sz="1100" dirty="0">
              <a:solidFill>
                <a:schemeClr val="tx1">
                  <a:lumMod val="50000"/>
                  <a:lumOff val="50000"/>
                </a:schemeClr>
              </a:solidFill>
              <a:latin typeface="微软雅黑" panose="020B0503020204020204" charset="-122"/>
              <a:ea typeface="微软雅黑" panose="020B0503020204020204" charset="-122"/>
            </a:endParaRPr>
          </a:p>
        </p:txBody>
      </p:sp>
    </p:spTree>
  </p:cSld>
  <p:clrMapOvr>
    <a:masterClrMapping/>
  </p:clrMapOvr>
  <p:hf sldNum="0" hdr="0" ftr="0" dt="0"/>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3" Type="http://schemas.openxmlformats.org/officeDocument/2006/relationships/theme" Target="../theme/theme1.xml"/><Relationship Id="rId22" Type="http://schemas.openxmlformats.org/officeDocument/2006/relationships/vmlDrawing" Target="../drawings/vmlDrawing3.vml"/><Relationship Id="rId21" Type="http://schemas.openxmlformats.org/officeDocument/2006/relationships/image" Target="../media/image1.emf"/><Relationship Id="rId20" Type="http://schemas.openxmlformats.org/officeDocument/2006/relationships/oleObject" Target="../embeddings/oleObject5.bin"/><Relationship Id="rId2" Type="http://schemas.openxmlformats.org/officeDocument/2006/relationships/slideLayout" Target="../slideLayouts/slideLayout2.xml"/><Relationship Id="rId19" Type="http://schemas.openxmlformats.org/officeDocument/2006/relationships/tags" Target="../tags/tag5.xml"/><Relationship Id="rId18" Type="http://schemas.openxmlformats.org/officeDocument/2006/relationships/image" Target="../media/image5.png"/><Relationship Id="rId17" Type="http://schemas.openxmlformats.org/officeDocument/2006/relationships/image" Target="../media/image4.png"/><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矩形 6"/>
          <p:cNvSpPr/>
          <p:nvPr/>
        </p:nvSpPr>
        <p:spPr>
          <a:xfrm>
            <a:off x="0" y="0"/>
            <a:ext cx="12192000" cy="6858000"/>
          </a:xfrm>
          <a:prstGeom prst="rect">
            <a:avLst/>
          </a:prstGeom>
          <a:solidFill>
            <a:srgbClr val="F3F4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dirty="0"/>
              <a:t>四原色风格模板</a:t>
            </a:r>
            <a:endParaRPr lang="zh-CN" altLang="en-US" dirty="0"/>
          </a:p>
        </p:txBody>
      </p:sp>
      <p:pic>
        <p:nvPicPr>
          <p:cNvPr id="3" name="图片 2"/>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471873" y="6203410"/>
            <a:ext cx="1133620" cy="429831"/>
          </a:xfrm>
          <a:prstGeom prst="rect">
            <a:avLst/>
          </a:prstGeom>
        </p:spPr>
      </p:pic>
      <p:pic>
        <p:nvPicPr>
          <p:cNvPr id="5" name="图片 4"/>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1605493" y="6280727"/>
            <a:ext cx="267974" cy="267974"/>
          </a:xfrm>
          <a:prstGeom prst="rect">
            <a:avLst/>
          </a:prstGeom>
        </p:spPr>
      </p:pic>
      <p:graphicFrame>
        <p:nvGraphicFramePr>
          <p:cNvPr id="4" name="Object 6" hidden="1"/>
          <p:cNvGraphicFramePr>
            <a:graphicFrameLocks noChangeAspect="1"/>
          </p:cNvGraphicFramePr>
          <p:nvPr userDrawn="1">
            <p:custDataLst>
              <p:tags r:id="rId1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1" name="think-cell Slide" r:id="rId20" imgW="12700" imgH="12700" progId="TCLayout.ActiveDocument.1">
                  <p:embed/>
                </p:oleObj>
              </mc:Choice>
              <mc:Fallback>
                <p:oleObj name="think-cell Slide" r:id="rId20" imgW="12700" imgH="12700" progId="TCLayout.ActiveDocument.1">
                  <p:embed/>
                  <p:pic>
                    <p:nvPicPr>
                      <p:cNvPr id="0" name="Object 6" hidden="1"/>
                      <p:cNvPicPr/>
                      <p:nvPr/>
                    </p:nvPicPr>
                    <p:blipFill>
                      <a:blip r:embed="rId21"/>
                      <a:stretch>
                        <a:fillRect/>
                      </a:stretch>
                    </p:blipFill>
                    <p:spPr>
                      <a:xfrm>
                        <a:off x="1588" y="1588"/>
                        <a:ext cx="1587" cy="1587"/>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微软雅黑" panose="020B0503020204020204" charset="-122"/>
          <a:ea typeface="微软雅黑" panose="020B0503020204020204" charset="-122"/>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微软雅黑" panose="020B0503020204020204" charset="-122"/>
          <a:ea typeface="微软雅黑" panose="020B050302020402020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微软雅黑" panose="020B0503020204020204" charset="-122"/>
          <a:ea typeface="微软雅黑" panose="020B050302020402020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微软雅黑" panose="020B0503020204020204" charset="-122"/>
          <a:ea typeface="微软雅黑" panose="020B050302020402020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charset="-122"/>
          <a:ea typeface="微软雅黑" panose="020B050302020402020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charset="-122"/>
          <a:ea typeface="微软雅黑" panose="020B0503020204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5" Type="http://schemas.openxmlformats.org/officeDocument/2006/relationships/notesSlide" Target="../notesSlides/notesSlide1.xml"/><Relationship Id="rId4" Type="http://schemas.openxmlformats.org/officeDocument/2006/relationships/slideLayout" Target="../slideLayouts/slideLayout13.xml"/><Relationship Id="rId3" Type="http://schemas.openxmlformats.org/officeDocument/2006/relationships/tags" Target="../tags/tag6.xml"/><Relationship Id="rId2" Type="http://schemas.openxmlformats.org/officeDocument/2006/relationships/image" Target="../media/image7.png"/><Relationship Id="rId1" Type="http://schemas.openxmlformats.org/officeDocument/2006/relationships/image" Target="../media/image6.png"/></Relationships>
</file>

<file path=ppt/slides/_rels/slide10.xml.rels><?xml version="1.0" encoding="UTF-8" standalone="yes"?>
<Relationships xmlns="http://schemas.openxmlformats.org/package/2006/relationships"><Relationship Id="rId9" Type="http://schemas.openxmlformats.org/officeDocument/2006/relationships/slideLayout" Target="../slideLayouts/slideLayout1.xml"/><Relationship Id="rId8" Type="http://schemas.openxmlformats.org/officeDocument/2006/relationships/tags" Target="../tags/tag67.xml"/><Relationship Id="rId7" Type="http://schemas.openxmlformats.org/officeDocument/2006/relationships/tags" Target="../tags/tag66.xml"/><Relationship Id="rId6" Type="http://schemas.openxmlformats.org/officeDocument/2006/relationships/tags" Target="../tags/tag65.xml"/><Relationship Id="rId5" Type="http://schemas.openxmlformats.org/officeDocument/2006/relationships/tags" Target="../tags/tag64.xml"/><Relationship Id="rId4" Type="http://schemas.openxmlformats.org/officeDocument/2006/relationships/tags" Target="../tags/tag63.xml"/><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tags" Target="../tags/tag60.xml"/></Relationships>
</file>

<file path=ppt/slides/_rels/slide11.xml.rels><?xml version="1.0" encoding="UTF-8" standalone="yes"?>
<Relationships xmlns="http://schemas.openxmlformats.org/package/2006/relationships"><Relationship Id="rId9" Type="http://schemas.openxmlformats.org/officeDocument/2006/relationships/tags" Target="../tags/tag76.xml"/><Relationship Id="rId8" Type="http://schemas.openxmlformats.org/officeDocument/2006/relationships/tags" Target="../tags/tag75.xml"/><Relationship Id="rId75" Type="http://schemas.openxmlformats.org/officeDocument/2006/relationships/slideLayout" Target="../slideLayouts/slideLayout1.xml"/><Relationship Id="rId74" Type="http://schemas.openxmlformats.org/officeDocument/2006/relationships/tags" Target="../tags/tag141.xml"/><Relationship Id="rId73" Type="http://schemas.openxmlformats.org/officeDocument/2006/relationships/tags" Target="../tags/tag140.xml"/><Relationship Id="rId72" Type="http://schemas.openxmlformats.org/officeDocument/2006/relationships/tags" Target="../tags/tag139.xml"/><Relationship Id="rId71" Type="http://schemas.openxmlformats.org/officeDocument/2006/relationships/tags" Target="../tags/tag138.xml"/><Relationship Id="rId70" Type="http://schemas.openxmlformats.org/officeDocument/2006/relationships/tags" Target="../tags/tag137.xml"/><Relationship Id="rId7" Type="http://schemas.openxmlformats.org/officeDocument/2006/relationships/tags" Target="../tags/tag74.xml"/><Relationship Id="rId69" Type="http://schemas.openxmlformats.org/officeDocument/2006/relationships/tags" Target="../tags/tag136.xml"/><Relationship Id="rId68" Type="http://schemas.openxmlformats.org/officeDocument/2006/relationships/tags" Target="../tags/tag135.xml"/><Relationship Id="rId67" Type="http://schemas.openxmlformats.org/officeDocument/2006/relationships/tags" Target="../tags/tag134.xml"/><Relationship Id="rId66" Type="http://schemas.openxmlformats.org/officeDocument/2006/relationships/tags" Target="../tags/tag133.xml"/><Relationship Id="rId65" Type="http://schemas.openxmlformats.org/officeDocument/2006/relationships/tags" Target="../tags/tag132.xml"/><Relationship Id="rId64" Type="http://schemas.openxmlformats.org/officeDocument/2006/relationships/tags" Target="../tags/tag131.xml"/><Relationship Id="rId63" Type="http://schemas.openxmlformats.org/officeDocument/2006/relationships/tags" Target="../tags/tag130.xml"/><Relationship Id="rId62" Type="http://schemas.openxmlformats.org/officeDocument/2006/relationships/tags" Target="../tags/tag129.xml"/><Relationship Id="rId61" Type="http://schemas.openxmlformats.org/officeDocument/2006/relationships/tags" Target="../tags/tag128.xml"/><Relationship Id="rId60" Type="http://schemas.openxmlformats.org/officeDocument/2006/relationships/tags" Target="../tags/tag127.xml"/><Relationship Id="rId6" Type="http://schemas.openxmlformats.org/officeDocument/2006/relationships/tags" Target="../tags/tag73.xml"/><Relationship Id="rId59" Type="http://schemas.openxmlformats.org/officeDocument/2006/relationships/tags" Target="../tags/tag126.xml"/><Relationship Id="rId58" Type="http://schemas.openxmlformats.org/officeDocument/2006/relationships/tags" Target="../tags/tag125.xml"/><Relationship Id="rId57" Type="http://schemas.openxmlformats.org/officeDocument/2006/relationships/tags" Target="../tags/tag124.xml"/><Relationship Id="rId56" Type="http://schemas.openxmlformats.org/officeDocument/2006/relationships/tags" Target="../tags/tag123.xml"/><Relationship Id="rId55" Type="http://schemas.openxmlformats.org/officeDocument/2006/relationships/tags" Target="../tags/tag122.xml"/><Relationship Id="rId54" Type="http://schemas.openxmlformats.org/officeDocument/2006/relationships/tags" Target="../tags/tag121.xml"/><Relationship Id="rId53" Type="http://schemas.openxmlformats.org/officeDocument/2006/relationships/tags" Target="../tags/tag120.xml"/><Relationship Id="rId52" Type="http://schemas.openxmlformats.org/officeDocument/2006/relationships/tags" Target="../tags/tag119.xml"/><Relationship Id="rId51" Type="http://schemas.openxmlformats.org/officeDocument/2006/relationships/tags" Target="../tags/tag118.xml"/><Relationship Id="rId50" Type="http://schemas.openxmlformats.org/officeDocument/2006/relationships/tags" Target="../tags/tag117.xml"/><Relationship Id="rId5" Type="http://schemas.openxmlformats.org/officeDocument/2006/relationships/tags" Target="../tags/tag72.xml"/><Relationship Id="rId49" Type="http://schemas.openxmlformats.org/officeDocument/2006/relationships/tags" Target="../tags/tag116.xml"/><Relationship Id="rId48" Type="http://schemas.openxmlformats.org/officeDocument/2006/relationships/tags" Target="../tags/tag115.xml"/><Relationship Id="rId47" Type="http://schemas.openxmlformats.org/officeDocument/2006/relationships/tags" Target="../tags/tag114.xml"/><Relationship Id="rId46" Type="http://schemas.openxmlformats.org/officeDocument/2006/relationships/tags" Target="../tags/tag113.xml"/><Relationship Id="rId45" Type="http://schemas.openxmlformats.org/officeDocument/2006/relationships/tags" Target="../tags/tag112.xml"/><Relationship Id="rId44" Type="http://schemas.openxmlformats.org/officeDocument/2006/relationships/tags" Target="../tags/tag111.xml"/><Relationship Id="rId43" Type="http://schemas.openxmlformats.org/officeDocument/2006/relationships/tags" Target="../tags/tag110.xml"/><Relationship Id="rId42" Type="http://schemas.openxmlformats.org/officeDocument/2006/relationships/tags" Target="../tags/tag109.xml"/><Relationship Id="rId41" Type="http://schemas.openxmlformats.org/officeDocument/2006/relationships/tags" Target="../tags/tag108.xml"/><Relationship Id="rId40" Type="http://schemas.openxmlformats.org/officeDocument/2006/relationships/tags" Target="../tags/tag107.xml"/><Relationship Id="rId4" Type="http://schemas.openxmlformats.org/officeDocument/2006/relationships/tags" Target="../tags/tag71.xml"/><Relationship Id="rId39" Type="http://schemas.openxmlformats.org/officeDocument/2006/relationships/tags" Target="../tags/tag106.xml"/><Relationship Id="rId38" Type="http://schemas.openxmlformats.org/officeDocument/2006/relationships/tags" Target="../tags/tag105.xml"/><Relationship Id="rId37" Type="http://schemas.openxmlformats.org/officeDocument/2006/relationships/tags" Target="../tags/tag104.xml"/><Relationship Id="rId36" Type="http://schemas.openxmlformats.org/officeDocument/2006/relationships/tags" Target="../tags/tag103.xml"/><Relationship Id="rId35" Type="http://schemas.openxmlformats.org/officeDocument/2006/relationships/tags" Target="../tags/tag102.xml"/><Relationship Id="rId34" Type="http://schemas.openxmlformats.org/officeDocument/2006/relationships/tags" Target="../tags/tag101.xml"/><Relationship Id="rId33" Type="http://schemas.openxmlformats.org/officeDocument/2006/relationships/tags" Target="../tags/tag100.xml"/><Relationship Id="rId32" Type="http://schemas.openxmlformats.org/officeDocument/2006/relationships/tags" Target="../tags/tag99.xml"/><Relationship Id="rId31" Type="http://schemas.openxmlformats.org/officeDocument/2006/relationships/tags" Target="../tags/tag98.xml"/><Relationship Id="rId30" Type="http://schemas.openxmlformats.org/officeDocument/2006/relationships/tags" Target="../tags/tag97.xml"/><Relationship Id="rId3" Type="http://schemas.openxmlformats.org/officeDocument/2006/relationships/tags" Target="../tags/tag70.xml"/><Relationship Id="rId29" Type="http://schemas.openxmlformats.org/officeDocument/2006/relationships/tags" Target="../tags/tag96.xml"/><Relationship Id="rId28" Type="http://schemas.openxmlformats.org/officeDocument/2006/relationships/tags" Target="../tags/tag95.xml"/><Relationship Id="rId27" Type="http://schemas.openxmlformats.org/officeDocument/2006/relationships/tags" Target="../tags/tag94.xml"/><Relationship Id="rId26" Type="http://schemas.openxmlformats.org/officeDocument/2006/relationships/tags" Target="../tags/tag93.xml"/><Relationship Id="rId25" Type="http://schemas.openxmlformats.org/officeDocument/2006/relationships/tags" Target="../tags/tag92.xml"/><Relationship Id="rId24" Type="http://schemas.openxmlformats.org/officeDocument/2006/relationships/tags" Target="../tags/tag91.xml"/><Relationship Id="rId23" Type="http://schemas.openxmlformats.org/officeDocument/2006/relationships/tags" Target="../tags/tag90.xml"/><Relationship Id="rId22" Type="http://schemas.openxmlformats.org/officeDocument/2006/relationships/tags" Target="../tags/tag89.xml"/><Relationship Id="rId21" Type="http://schemas.openxmlformats.org/officeDocument/2006/relationships/tags" Target="../tags/tag88.xml"/><Relationship Id="rId20" Type="http://schemas.openxmlformats.org/officeDocument/2006/relationships/tags" Target="../tags/tag87.xml"/><Relationship Id="rId2" Type="http://schemas.openxmlformats.org/officeDocument/2006/relationships/tags" Target="../tags/tag69.xml"/><Relationship Id="rId19" Type="http://schemas.openxmlformats.org/officeDocument/2006/relationships/tags" Target="../tags/tag86.xml"/><Relationship Id="rId18" Type="http://schemas.openxmlformats.org/officeDocument/2006/relationships/tags" Target="../tags/tag85.xml"/><Relationship Id="rId17" Type="http://schemas.openxmlformats.org/officeDocument/2006/relationships/tags" Target="../tags/tag84.xml"/><Relationship Id="rId16" Type="http://schemas.openxmlformats.org/officeDocument/2006/relationships/tags" Target="../tags/tag83.xml"/><Relationship Id="rId15" Type="http://schemas.openxmlformats.org/officeDocument/2006/relationships/tags" Target="../tags/tag82.xml"/><Relationship Id="rId14" Type="http://schemas.openxmlformats.org/officeDocument/2006/relationships/tags" Target="../tags/tag81.xml"/><Relationship Id="rId13" Type="http://schemas.openxmlformats.org/officeDocument/2006/relationships/tags" Target="../tags/tag80.xml"/><Relationship Id="rId12" Type="http://schemas.openxmlformats.org/officeDocument/2006/relationships/tags" Target="../tags/tag79.xml"/><Relationship Id="rId11" Type="http://schemas.openxmlformats.org/officeDocument/2006/relationships/tags" Target="../tags/tag78.xml"/><Relationship Id="rId10" Type="http://schemas.openxmlformats.org/officeDocument/2006/relationships/tags" Target="../tags/tag77.xml"/><Relationship Id="rId1" Type="http://schemas.openxmlformats.org/officeDocument/2006/relationships/tags" Target="../tags/tag68.xml"/></Relationships>
</file>

<file path=ppt/slides/_rels/slide12.xml.rels><?xml version="1.0" encoding="UTF-8" standalone="yes"?>
<Relationships xmlns="http://schemas.openxmlformats.org/package/2006/relationships"><Relationship Id="rId9" Type="http://schemas.openxmlformats.org/officeDocument/2006/relationships/tags" Target="../tags/tag150.xml"/><Relationship Id="rId8" Type="http://schemas.openxmlformats.org/officeDocument/2006/relationships/tags" Target="../tags/tag149.xml"/><Relationship Id="rId75" Type="http://schemas.openxmlformats.org/officeDocument/2006/relationships/slideLayout" Target="../slideLayouts/slideLayout1.xml"/><Relationship Id="rId74" Type="http://schemas.openxmlformats.org/officeDocument/2006/relationships/tags" Target="../tags/tag215.xml"/><Relationship Id="rId73" Type="http://schemas.openxmlformats.org/officeDocument/2006/relationships/tags" Target="../tags/tag214.xml"/><Relationship Id="rId72" Type="http://schemas.openxmlformats.org/officeDocument/2006/relationships/tags" Target="../tags/tag213.xml"/><Relationship Id="rId71" Type="http://schemas.openxmlformats.org/officeDocument/2006/relationships/tags" Target="../tags/tag212.xml"/><Relationship Id="rId70" Type="http://schemas.openxmlformats.org/officeDocument/2006/relationships/tags" Target="../tags/tag211.xml"/><Relationship Id="rId7" Type="http://schemas.openxmlformats.org/officeDocument/2006/relationships/tags" Target="../tags/tag148.xml"/><Relationship Id="rId69" Type="http://schemas.openxmlformats.org/officeDocument/2006/relationships/tags" Target="../tags/tag210.xml"/><Relationship Id="rId68" Type="http://schemas.openxmlformats.org/officeDocument/2006/relationships/tags" Target="../tags/tag209.xml"/><Relationship Id="rId67" Type="http://schemas.openxmlformats.org/officeDocument/2006/relationships/tags" Target="../tags/tag208.xml"/><Relationship Id="rId66" Type="http://schemas.openxmlformats.org/officeDocument/2006/relationships/tags" Target="../tags/tag207.xml"/><Relationship Id="rId65" Type="http://schemas.openxmlformats.org/officeDocument/2006/relationships/tags" Target="../tags/tag206.xml"/><Relationship Id="rId64" Type="http://schemas.openxmlformats.org/officeDocument/2006/relationships/tags" Target="../tags/tag205.xml"/><Relationship Id="rId63" Type="http://schemas.openxmlformats.org/officeDocument/2006/relationships/tags" Target="../tags/tag204.xml"/><Relationship Id="rId62" Type="http://schemas.openxmlformats.org/officeDocument/2006/relationships/tags" Target="../tags/tag203.xml"/><Relationship Id="rId61" Type="http://schemas.openxmlformats.org/officeDocument/2006/relationships/tags" Target="../tags/tag202.xml"/><Relationship Id="rId60" Type="http://schemas.openxmlformats.org/officeDocument/2006/relationships/tags" Target="../tags/tag201.xml"/><Relationship Id="rId6" Type="http://schemas.openxmlformats.org/officeDocument/2006/relationships/tags" Target="../tags/tag147.xml"/><Relationship Id="rId59" Type="http://schemas.openxmlformats.org/officeDocument/2006/relationships/tags" Target="../tags/tag200.xml"/><Relationship Id="rId58" Type="http://schemas.openxmlformats.org/officeDocument/2006/relationships/tags" Target="../tags/tag199.xml"/><Relationship Id="rId57" Type="http://schemas.openxmlformats.org/officeDocument/2006/relationships/tags" Target="../tags/tag198.xml"/><Relationship Id="rId56" Type="http://schemas.openxmlformats.org/officeDocument/2006/relationships/tags" Target="../tags/tag197.xml"/><Relationship Id="rId55" Type="http://schemas.openxmlformats.org/officeDocument/2006/relationships/tags" Target="../tags/tag196.xml"/><Relationship Id="rId54" Type="http://schemas.openxmlformats.org/officeDocument/2006/relationships/tags" Target="../tags/tag195.xml"/><Relationship Id="rId53" Type="http://schemas.openxmlformats.org/officeDocument/2006/relationships/tags" Target="../tags/tag194.xml"/><Relationship Id="rId52" Type="http://schemas.openxmlformats.org/officeDocument/2006/relationships/tags" Target="../tags/tag193.xml"/><Relationship Id="rId51" Type="http://schemas.openxmlformats.org/officeDocument/2006/relationships/tags" Target="../tags/tag192.xml"/><Relationship Id="rId50" Type="http://schemas.openxmlformats.org/officeDocument/2006/relationships/tags" Target="../tags/tag191.xml"/><Relationship Id="rId5" Type="http://schemas.openxmlformats.org/officeDocument/2006/relationships/tags" Target="../tags/tag146.xml"/><Relationship Id="rId49" Type="http://schemas.openxmlformats.org/officeDocument/2006/relationships/tags" Target="../tags/tag190.xml"/><Relationship Id="rId48" Type="http://schemas.openxmlformats.org/officeDocument/2006/relationships/tags" Target="../tags/tag189.xml"/><Relationship Id="rId47" Type="http://schemas.openxmlformats.org/officeDocument/2006/relationships/tags" Target="../tags/tag188.xml"/><Relationship Id="rId46" Type="http://schemas.openxmlformats.org/officeDocument/2006/relationships/tags" Target="../tags/tag187.xml"/><Relationship Id="rId45" Type="http://schemas.openxmlformats.org/officeDocument/2006/relationships/tags" Target="../tags/tag186.xml"/><Relationship Id="rId44" Type="http://schemas.openxmlformats.org/officeDocument/2006/relationships/tags" Target="../tags/tag185.xml"/><Relationship Id="rId43" Type="http://schemas.openxmlformats.org/officeDocument/2006/relationships/tags" Target="../tags/tag184.xml"/><Relationship Id="rId42" Type="http://schemas.openxmlformats.org/officeDocument/2006/relationships/tags" Target="../tags/tag183.xml"/><Relationship Id="rId41" Type="http://schemas.openxmlformats.org/officeDocument/2006/relationships/tags" Target="../tags/tag182.xml"/><Relationship Id="rId40" Type="http://schemas.openxmlformats.org/officeDocument/2006/relationships/tags" Target="../tags/tag181.xml"/><Relationship Id="rId4" Type="http://schemas.openxmlformats.org/officeDocument/2006/relationships/tags" Target="../tags/tag145.xml"/><Relationship Id="rId39" Type="http://schemas.openxmlformats.org/officeDocument/2006/relationships/tags" Target="../tags/tag180.xml"/><Relationship Id="rId38" Type="http://schemas.openxmlformats.org/officeDocument/2006/relationships/tags" Target="../tags/tag179.xml"/><Relationship Id="rId37" Type="http://schemas.openxmlformats.org/officeDocument/2006/relationships/tags" Target="../tags/tag178.xml"/><Relationship Id="rId36" Type="http://schemas.openxmlformats.org/officeDocument/2006/relationships/tags" Target="../tags/tag177.xml"/><Relationship Id="rId35" Type="http://schemas.openxmlformats.org/officeDocument/2006/relationships/tags" Target="../tags/tag176.xml"/><Relationship Id="rId34" Type="http://schemas.openxmlformats.org/officeDocument/2006/relationships/tags" Target="../tags/tag175.xml"/><Relationship Id="rId33" Type="http://schemas.openxmlformats.org/officeDocument/2006/relationships/tags" Target="../tags/tag174.xml"/><Relationship Id="rId32" Type="http://schemas.openxmlformats.org/officeDocument/2006/relationships/tags" Target="../tags/tag173.xml"/><Relationship Id="rId31" Type="http://schemas.openxmlformats.org/officeDocument/2006/relationships/tags" Target="../tags/tag172.xml"/><Relationship Id="rId30" Type="http://schemas.openxmlformats.org/officeDocument/2006/relationships/tags" Target="../tags/tag171.xml"/><Relationship Id="rId3" Type="http://schemas.openxmlformats.org/officeDocument/2006/relationships/tags" Target="../tags/tag144.xml"/><Relationship Id="rId29" Type="http://schemas.openxmlformats.org/officeDocument/2006/relationships/tags" Target="../tags/tag170.xml"/><Relationship Id="rId28" Type="http://schemas.openxmlformats.org/officeDocument/2006/relationships/tags" Target="../tags/tag169.xml"/><Relationship Id="rId27" Type="http://schemas.openxmlformats.org/officeDocument/2006/relationships/tags" Target="../tags/tag168.xml"/><Relationship Id="rId26" Type="http://schemas.openxmlformats.org/officeDocument/2006/relationships/tags" Target="../tags/tag167.xml"/><Relationship Id="rId25" Type="http://schemas.openxmlformats.org/officeDocument/2006/relationships/tags" Target="../tags/tag166.xml"/><Relationship Id="rId24" Type="http://schemas.openxmlformats.org/officeDocument/2006/relationships/tags" Target="../tags/tag165.xml"/><Relationship Id="rId23" Type="http://schemas.openxmlformats.org/officeDocument/2006/relationships/tags" Target="../tags/tag164.xml"/><Relationship Id="rId22" Type="http://schemas.openxmlformats.org/officeDocument/2006/relationships/tags" Target="../tags/tag163.xml"/><Relationship Id="rId21" Type="http://schemas.openxmlformats.org/officeDocument/2006/relationships/tags" Target="../tags/tag162.xml"/><Relationship Id="rId20" Type="http://schemas.openxmlformats.org/officeDocument/2006/relationships/tags" Target="../tags/tag161.xml"/><Relationship Id="rId2" Type="http://schemas.openxmlformats.org/officeDocument/2006/relationships/tags" Target="../tags/tag143.xml"/><Relationship Id="rId19" Type="http://schemas.openxmlformats.org/officeDocument/2006/relationships/tags" Target="../tags/tag160.xml"/><Relationship Id="rId18" Type="http://schemas.openxmlformats.org/officeDocument/2006/relationships/tags" Target="../tags/tag159.xml"/><Relationship Id="rId17" Type="http://schemas.openxmlformats.org/officeDocument/2006/relationships/tags" Target="../tags/tag158.xml"/><Relationship Id="rId16" Type="http://schemas.openxmlformats.org/officeDocument/2006/relationships/tags" Target="../tags/tag157.xml"/><Relationship Id="rId15" Type="http://schemas.openxmlformats.org/officeDocument/2006/relationships/tags" Target="../tags/tag156.xml"/><Relationship Id="rId14" Type="http://schemas.openxmlformats.org/officeDocument/2006/relationships/tags" Target="../tags/tag155.xml"/><Relationship Id="rId13" Type="http://schemas.openxmlformats.org/officeDocument/2006/relationships/tags" Target="../tags/tag154.xml"/><Relationship Id="rId12" Type="http://schemas.openxmlformats.org/officeDocument/2006/relationships/tags" Target="../tags/tag153.xml"/><Relationship Id="rId11" Type="http://schemas.openxmlformats.org/officeDocument/2006/relationships/tags" Target="../tags/tag152.xml"/><Relationship Id="rId10" Type="http://schemas.openxmlformats.org/officeDocument/2006/relationships/tags" Target="../tags/tag151.xml"/><Relationship Id="rId1" Type="http://schemas.openxmlformats.org/officeDocument/2006/relationships/tags" Target="../tags/tag142.xml"/></Relationships>
</file>

<file path=ppt/slides/_rels/slide13.xml.rels><?xml version="1.0" encoding="UTF-8" standalone="yes"?>
<Relationships xmlns="http://schemas.openxmlformats.org/package/2006/relationships"><Relationship Id="rId9" Type="http://schemas.openxmlformats.org/officeDocument/2006/relationships/tags" Target="../tags/tag224.xml"/><Relationship Id="rId8" Type="http://schemas.openxmlformats.org/officeDocument/2006/relationships/tags" Target="../tags/tag223.xml"/><Relationship Id="rId75" Type="http://schemas.openxmlformats.org/officeDocument/2006/relationships/slideLayout" Target="../slideLayouts/slideLayout1.xml"/><Relationship Id="rId74" Type="http://schemas.openxmlformats.org/officeDocument/2006/relationships/tags" Target="../tags/tag289.xml"/><Relationship Id="rId73" Type="http://schemas.openxmlformats.org/officeDocument/2006/relationships/tags" Target="../tags/tag288.xml"/><Relationship Id="rId72" Type="http://schemas.openxmlformats.org/officeDocument/2006/relationships/tags" Target="../tags/tag287.xml"/><Relationship Id="rId71" Type="http://schemas.openxmlformats.org/officeDocument/2006/relationships/tags" Target="../tags/tag286.xml"/><Relationship Id="rId70" Type="http://schemas.openxmlformats.org/officeDocument/2006/relationships/tags" Target="../tags/tag285.xml"/><Relationship Id="rId7" Type="http://schemas.openxmlformats.org/officeDocument/2006/relationships/tags" Target="../tags/tag222.xml"/><Relationship Id="rId69" Type="http://schemas.openxmlformats.org/officeDocument/2006/relationships/tags" Target="../tags/tag284.xml"/><Relationship Id="rId68" Type="http://schemas.openxmlformats.org/officeDocument/2006/relationships/tags" Target="../tags/tag283.xml"/><Relationship Id="rId67" Type="http://schemas.openxmlformats.org/officeDocument/2006/relationships/tags" Target="../tags/tag282.xml"/><Relationship Id="rId66" Type="http://schemas.openxmlformats.org/officeDocument/2006/relationships/tags" Target="../tags/tag281.xml"/><Relationship Id="rId65" Type="http://schemas.openxmlformats.org/officeDocument/2006/relationships/tags" Target="../tags/tag280.xml"/><Relationship Id="rId64" Type="http://schemas.openxmlformats.org/officeDocument/2006/relationships/tags" Target="../tags/tag279.xml"/><Relationship Id="rId63" Type="http://schemas.openxmlformats.org/officeDocument/2006/relationships/tags" Target="../tags/tag278.xml"/><Relationship Id="rId62" Type="http://schemas.openxmlformats.org/officeDocument/2006/relationships/tags" Target="../tags/tag277.xml"/><Relationship Id="rId61" Type="http://schemas.openxmlformats.org/officeDocument/2006/relationships/tags" Target="../tags/tag276.xml"/><Relationship Id="rId60" Type="http://schemas.openxmlformats.org/officeDocument/2006/relationships/tags" Target="../tags/tag275.xml"/><Relationship Id="rId6" Type="http://schemas.openxmlformats.org/officeDocument/2006/relationships/tags" Target="../tags/tag221.xml"/><Relationship Id="rId59" Type="http://schemas.openxmlformats.org/officeDocument/2006/relationships/tags" Target="../tags/tag274.xml"/><Relationship Id="rId58" Type="http://schemas.openxmlformats.org/officeDocument/2006/relationships/tags" Target="../tags/tag273.xml"/><Relationship Id="rId57" Type="http://schemas.openxmlformats.org/officeDocument/2006/relationships/tags" Target="../tags/tag272.xml"/><Relationship Id="rId56" Type="http://schemas.openxmlformats.org/officeDocument/2006/relationships/tags" Target="../tags/tag271.xml"/><Relationship Id="rId55" Type="http://schemas.openxmlformats.org/officeDocument/2006/relationships/tags" Target="../tags/tag270.xml"/><Relationship Id="rId54" Type="http://schemas.openxmlformats.org/officeDocument/2006/relationships/tags" Target="../tags/tag269.xml"/><Relationship Id="rId53" Type="http://schemas.openxmlformats.org/officeDocument/2006/relationships/tags" Target="../tags/tag268.xml"/><Relationship Id="rId52" Type="http://schemas.openxmlformats.org/officeDocument/2006/relationships/tags" Target="../tags/tag267.xml"/><Relationship Id="rId51" Type="http://schemas.openxmlformats.org/officeDocument/2006/relationships/tags" Target="../tags/tag266.xml"/><Relationship Id="rId50" Type="http://schemas.openxmlformats.org/officeDocument/2006/relationships/tags" Target="../tags/tag265.xml"/><Relationship Id="rId5" Type="http://schemas.openxmlformats.org/officeDocument/2006/relationships/tags" Target="../tags/tag220.xml"/><Relationship Id="rId49" Type="http://schemas.openxmlformats.org/officeDocument/2006/relationships/tags" Target="../tags/tag264.xml"/><Relationship Id="rId48" Type="http://schemas.openxmlformats.org/officeDocument/2006/relationships/tags" Target="../tags/tag263.xml"/><Relationship Id="rId47" Type="http://schemas.openxmlformats.org/officeDocument/2006/relationships/tags" Target="../tags/tag262.xml"/><Relationship Id="rId46" Type="http://schemas.openxmlformats.org/officeDocument/2006/relationships/tags" Target="../tags/tag261.xml"/><Relationship Id="rId45" Type="http://schemas.openxmlformats.org/officeDocument/2006/relationships/tags" Target="../tags/tag260.xml"/><Relationship Id="rId44" Type="http://schemas.openxmlformats.org/officeDocument/2006/relationships/tags" Target="../tags/tag259.xml"/><Relationship Id="rId43" Type="http://schemas.openxmlformats.org/officeDocument/2006/relationships/tags" Target="../tags/tag258.xml"/><Relationship Id="rId42" Type="http://schemas.openxmlformats.org/officeDocument/2006/relationships/tags" Target="../tags/tag257.xml"/><Relationship Id="rId41" Type="http://schemas.openxmlformats.org/officeDocument/2006/relationships/tags" Target="../tags/tag256.xml"/><Relationship Id="rId40" Type="http://schemas.openxmlformats.org/officeDocument/2006/relationships/tags" Target="../tags/tag255.xml"/><Relationship Id="rId4" Type="http://schemas.openxmlformats.org/officeDocument/2006/relationships/tags" Target="../tags/tag219.xml"/><Relationship Id="rId39" Type="http://schemas.openxmlformats.org/officeDocument/2006/relationships/tags" Target="../tags/tag254.xml"/><Relationship Id="rId38" Type="http://schemas.openxmlformats.org/officeDocument/2006/relationships/tags" Target="../tags/tag253.xml"/><Relationship Id="rId37" Type="http://schemas.openxmlformats.org/officeDocument/2006/relationships/tags" Target="../tags/tag252.xml"/><Relationship Id="rId36" Type="http://schemas.openxmlformats.org/officeDocument/2006/relationships/tags" Target="../tags/tag251.xml"/><Relationship Id="rId35" Type="http://schemas.openxmlformats.org/officeDocument/2006/relationships/tags" Target="../tags/tag250.xml"/><Relationship Id="rId34" Type="http://schemas.openxmlformats.org/officeDocument/2006/relationships/tags" Target="../tags/tag249.xml"/><Relationship Id="rId33" Type="http://schemas.openxmlformats.org/officeDocument/2006/relationships/tags" Target="../tags/tag248.xml"/><Relationship Id="rId32" Type="http://schemas.openxmlformats.org/officeDocument/2006/relationships/tags" Target="../tags/tag247.xml"/><Relationship Id="rId31" Type="http://schemas.openxmlformats.org/officeDocument/2006/relationships/tags" Target="../tags/tag246.xml"/><Relationship Id="rId30" Type="http://schemas.openxmlformats.org/officeDocument/2006/relationships/tags" Target="../tags/tag245.xml"/><Relationship Id="rId3" Type="http://schemas.openxmlformats.org/officeDocument/2006/relationships/tags" Target="../tags/tag218.xml"/><Relationship Id="rId29" Type="http://schemas.openxmlformats.org/officeDocument/2006/relationships/tags" Target="../tags/tag244.xml"/><Relationship Id="rId28" Type="http://schemas.openxmlformats.org/officeDocument/2006/relationships/tags" Target="../tags/tag243.xml"/><Relationship Id="rId27" Type="http://schemas.openxmlformats.org/officeDocument/2006/relationships/tags" Target="../tags/tag242.xml"/><Relationship Id="rId26" Type="http://schemas.openxmlformats.org/officeDocument/2006/relationships/tags" Target="../tags/tag241.xml"/><Relationship Id="rId25" Type="http://schemas.openxmlformats.org/officeDocument/2006/relationships/tags" Target="../tags/tag240.xml"/><Relationship Id="rId24" Type="http://schemas.openxmlformats.org/officeDocument/2006/relationships/tags" Target="../tags/tag239.xml"/><Relationship Id="rId23" Type="http://schemas.openxmlformats.org/officeDocument/2006/relationships/tags" Target="../tags/tag238.xml"/><Relationship Id="rId22" Type="http://schemas.openxmlformats.org/officeDocument/2006/relationships/tags" Target="../tags/tag237.xml"/><Relationship Id="rId21" Type="http://schemas.openxmlformats.org/officeDocument/2006/relationships/tags" Target="../tags/tag236.xml"/><Relationship Id="rId20" Type="http://schemas.openxmlformats.org/officeDocument/2006/relationships/tags" Target="../tags/tag235.xml"/><Relationship Id="rId2" Type="http://schemas.openxmlformats.org/officeDocument/2006/relationships/tags" Target="../tags/tag217.xml"/><Relationship Id="rId19" Type="http://schemas.openxmlformats.org/officeDocument/2006/relationships/tags" Target="../tags/tag234.xml"/><Relationship Id="rId18" Type="http://schemas.openxmlformats.org/officeDocument/2006/relationships/tags" Target="../tags/tag233.xml"/><Relationship Id="rId17" Type="http://schemas.openxmlformats.org/officeDocument/2006/relationships/tags" Target="../tags/tag232.xml"/><Relationship Id="rId16" Type="http://schemas.openxmlformats.org/officeDocument/2006/relationships/tags" Target="../tags/tag231.xml"/><Relationship Id="rId15" Type="http://schemas.openxmlformats.org/officeDocument/2006/relationships/tags" Target="../tags/tag230.xml"/><Relationship Id="rId14" Type="http://schemas.openxmlformats.org/officeDocument/2006/relationships/tags" Target="../tags/tag229.xml"/><Relationship Id="rId13" Type="http://schemas.openxmlformats.org/officeDocument/2006/relationships/tags" Target="../tags/tag228.xml"/><Relationship Id="rId12" Type="http://schemas.openxmlformats.org/officeDocument/2006/relationships/tags" Target="../tags/tag227.xml"/><Relationship Id="rId11" Type="http://schemas.openxmlformats.org/officeDocument/2006/relationships/tags" Target="../tags/tag226.xml"/><Relationship Id="rId10" Type="http://schemas.openxmlformats.org/officeDocument/2006/relationships/tags" Target="../tags/tag225.xml"/><Relationship Id="rId1" Type="http://schemas.openxmlformats.org/officeDocument/2006/relationships/tags" Target="../tags/tag216.xml"/></Relationships>
</file>

<file path=ppt/slides/_rels/slide14.xml.rels><?xml version="1.0" encoding="UTF-8" standalone="yes"?>
<Relationships xmlns="http://schemas.openxmlformats.org/package/2006/relationships"><Relationship Id="rId7" Type="http://schemas.openxmlformats.org/officeDocument/2006/relationships/slideLayout" Target="../slideLayouts/slideLayout1.xml"/><Relationship Id="rId6" Type="http://schemas.openxmlformats.org/officeDocument/2006/relationships/tags" Target="../tags/tag295.xml"/><Relationship Id="rId5" Type="http://schemas.openxmlformats.org/officeDocument/2006/relationships/tags" Target="../tags/tag294.xml"/><Relationship Id="rId4" Type="http://schemas.openxmlformats.org/officeDocument/2006/relationships/tags" Target="../tags/tag293.xml"/><Relationship Id="rId3" Type="http://schemas.openxmlformats.org/officeDocument/2006/relationships/tags" Target="../tags/tag292.xml"/><Relationship Id="rId2" Type="http://schemas.openxmlformats.org/officeDocument/2006/relationships/tags" Target="../tags/tag291.xml"/><Relationship Id="rId1" Type="http://schemas.openxmlformats.org/officeDocument/2006/relationships/tags" Target="../tags/tag290.xml"/></Relationships>
</file>

<file path=ppt/slides/_rels/slide15.xml.rels><?xml version="1.0" encoding="UTF-8" standalone="yes"?>
<Relationships xmlns="http://schemas.openxmlformats.org/package/2006/relationships"><Relationship Id="rId6" Type="http://schemas.openxmlformats.org/officeDocument/2006/relationships/slideLayout" Target="../slideLayouts/slideLayout1.xml"/><Relationship Id="rId5" Type="http://schemas.openxmlformats.org/officeDocument/2006/relationships/tags" Target="../tags/tag300.xml"/><Relationship Id="rId4" Type="http://schemas.openxmlformats.org/officeDocument/2006/relationships/tags" Target="../tags/tag299.xml"/><Relationship Id="rId3" Type="http://schemas.openxmlformats.org/officeDocument/2006/relationships/tags" Target="../tags/tag298.xml"/><Relationship Id="rId2" Type="http://schemas.openxmlformats.org/officeDocument/2006/relationships/tags" Target="../tags/tag297.xml"/><Relationship Id="rId1" Type="http://schemas.openxmlformats.org/officeDocument/2006/relationships/tags" Target="../tags/tag296.xml"/></Relationships>
</file>

<file path=ppt/slides/_rels/slide16.xml.rels><?xml version="1.0" encoding="UTF-8" standalone="yes"?>
<Relationships xmlns="http://schemas.openxmlformats.org/package/2006/relationships"><Relationship Id="rId6" Type="http://schemas.openxmlformats.org/officeDocument/2006/relationships/slideLayout" Target="../slideLayouts/slideLayout1.xml"/><Relationship Id="rId5" Type="http://schemas.openxmlformats.org/officeDocument/2006/relationships/tags" Target="../tags/tag305.xml"/><Relationship Id="rId4" Type="http://schemas.openxmlformats.org/officeDocument/2006/relationships/tags" Target="../tags/tag304.xml"/><Relationship Id="rId3" Type="http://schemas.openxmlformats.org/officeDocument/2006/relationships/tags" Target="../tags/tag303.xml"/><Relationship Id="rId2" Type="http://schemas.openxmlformats.org/officeDocument/2006/relationships/tags" Target="../tags/tag302.xml"/><Relationship Id="rId1" Type="http://schemas.openxmlformats.org/officeDocument/2006/relationships/tags" Target="../tags/tag30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8.png"/></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30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9" Type="http://schemas.openxmlformats.org/officeDocument/2006/relationships/tags" Target="../tags/tag315.xml"/><Relationship Id="rId8" Type="http://schemas.openxmlformats.org/officeDocument/2006/relationships/tags" Target="../tags/tag314.xml"/><Relationship Id="rId7" Type="http://schemas.openxmlformats.org/officeDocument/2006/relationships/tags" Target="../tags/tag313.xml"/><Relationship Id="rId6" Type="http://schemas.openxmlformats.org/officeDocument/2006/relationships/tags" Target="../tags/tag312.xml"/><Relationship Id="rId5" Type="http://schemas.openxmlformats.org/officeDocument/2006/relationships/tags" Target="../tags/tag311.xml"/><Relationship Id="rId4" Type="http://schemas.openxmlformats.org/officeDocument/2006/relationships/tags" Target="../tags/tag310.xml"/><Relationship Id="rId3" Type="http://schemas.openxmlformats.org/officeDocument/2006/relationships/tags" Target="../tags/tag309.xml"/><Relationship Id="rId2" Type="http://schemas.openxmlformats.org/officeDocument/2006/relationships/tags" Target="../tags/tag308.xml"/><Relationship Id="rId12" Type="http://schemas.openxmlformats.org/officeDocument/2006/relationships/notesSlide" Target="../notesSlides/notesSlide10.xml"/><Relationship Id="rId11" Type="http://schemas.openxmlformats.org/officeDocument/2006/relationships/slideLayout" Target="../slideLayouts/slideLayout1.xml"/><Relationship Id="rId10" Type="http://schemas.openxmlformats.org/officeDocument/2006/relationships/tags" Target="../tags/tag316.xml"/><Relationship Id="rId1" Type="http://schemas.openxmlformats.org/officeDocument/2006/relationships/tags" Target="../tags/tag307.xml"/></Relationships>
</file>

<file path=ppt/slides/_rels/slide4.xml.rels><?xml version="1.0" encoding="UTF-8" standalone="yes"?>
<Relationships xmlns="http://schemas.openxmlformats.org/package/2006/relationships"><Relationship Id="rId9" Type="http://schemas.openxmlformats.org/officeDocument/2006/relationships/tags" Target="../tags/tag15.xml"/><Relationship Id="rId8" Type="http://schemas.openxmlformats.org/officeDocument/2006/relationships/tags" Target="../tags/tag14.xml"/><Relationship Id="rId7" Type="http://schemas.openxmlformats.org/officeDocument/2006/relationships/tags" Target="../tags/tag13.xml"/><Relationship Id="rId6" Type="http://schemas.openxmlformats.org/officeDocument/2006/relationships/tags" Target="../tags/tag12.xml"/><Relationship Id="rId5" Type="http://schemas.openxmlformats.org/officeDocument/2006/relationships/tags" Target="../tags/tag11.xml"/><Relationship Id="rId4" Type="http://schemas.openxmlformats.org/officeDocument/2006/relationships/tags" Target="../tags/tag10.xml"/><Relationship Id="rId3" Type="http://schemas.openxmlformats.org/officeDocument/2006/relationships/tags" Target="../tags/tag9.xml"/><Relationship Id="rId2" Type="http://schemas.openxmlformats.org/officeDocument/2006/relationships/tags" Target="../tags/tag8.xml"/><Relationship Id="rId11" Type="http://schemas.openxmlformats.org/officeDocument/2006/relationships/notesSlide" Target="../notesSlides/notesSlide3.xml"/><Relationship Id="rId10" Type="http://schemas.openxmlformats.org/officeDocument/2006/relationships/slideLayout" Target="../slideLayouts/slideLayout1.xml"/><Relationship Id="rId1" Type="http://schemas.openxmlformats.org/officeDocument/2006/relationships/tags" Target="../tags/tag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image" Target="../media/image10.png"/><Relationship Id="rId1" Type="http://schemas.openxmlformats.org/officeDocument/2006/relationships/image" Target="../media/image9.png"/></Relationships>
</file>

<file path=ppt/slides/_rels/slide42.xml.rels><?xml version="1.0" encoding="UTF-8" standalone="yes"?>
<Relationships xmlns="http://schemas.openxmlformats.org/package/2006/relationships"><Relationship Id="rId9" Type="http://schemas.openxmlformats.org/officeDocument/2006/relationships/tags" Target="../tags/tag325.xml"/><Relationship Id="rId8" Type="http://schemas.openxmlformats.org/officeDocument/2006/relationships/tags" Target="../tags/tag324.xml"/><Relationship Id="rId7" Type="http://schemas.openxmlformats.org/officeDocument/2006/relationships/tags" Target="../tags/tag323.xml"/><Relationship Id="rId6" Type="http://schemas.openxmlformats.org/officeDocument/2006/relationships/tags" Target="../tags/tag322.xml"/><Relationship Id="rId5" Type="http://schemas.openxmlformats.org/officeDocument/2006/relationships/tags" Target="../tags/tag321.xml"/><Relationship Id="rId4" Type="http://schemas.openxmlformats.org/officeDocument/2006/relationships/tags" Target="../tags/tag320.xml"/><Relationship Id="rId3" Type="http://schemas.openxmlformats.org/officeDocument/2006/relationships/tags" Target="../tags/tag319.xml"/><Relationship Id="rId2" Type="http://schemas.openxmlformats.org/officeDocument/2006/relationships/tags" Target="../tags/tag318.xml"/><Relationship Id="rId17" Type="http://schemas.openxmlformats.org/officeDocument/2006/relationships/slideLayout" Target="../slideLayouts/slideLayout1.xml"/><Relationship Id="rId16" Type="http://schemas.openxmlformats.org/officeDocument/2006/relationships/tags" Target="../tags/tag332.xml"/><Relationship Id="rId15" Type="http://schemas.openxmlformats.org/officeDocument/2006/relationships/tags" Target="../tags/tag331.xml"/><Relationship Id="rId14" Type="http://schemas.openxmlformats.org/officeDocument/2006/relationships/tags" Target="../tags/tag330.xml"/><Relationship Id="rId13" Type="http://schemas.openxmlformats.org/officeDocument/2006/relationships/tags" Target="../tags/tag329.xml"/><Relationship Id="rId12" Type="http://schemas.openxmlformats.org/officeDocument/2006/relationships/tags" Target="../tags/tag328.xml"/><Relationship Id="rId11" Type="http://schemas.openxmlformats.org/officeDocument/2006/relationships/tags" Target="../tags/tag327.xml"/><Relationship Id="rId10" Type="http://schemas.openxmlformats.org/officeDocument/2006/relationships/tags" Target="../tags/tag326.xml"/><Relationship Id="rId1" Type="http://schemas.openxmlformats.org/officeDocument/2006/relationships/tags" Target="../tags/tag317.xml"/></Relationships>
</file>

<file path=ppt/slides/_rels/slide43.xml.rels><?xml version="1.0" encoding="UTF-8" standalone="yes"?>
<Relationships xmlns="http://schemas.openxmlformats.org/package/2006/relationships"><Relationship Id="rId9" Type="http://schemas.openxmlformats.org/officeDocument/2006/relationships/tags" Target="../tags/tag341.xml"/><Relationship Id="rId8" Type="http://schemas.openxmlformats.org/officeDocument/2006/relationships/tags" Target="../tags/tag340.xml"/><Relationship Id="rId7" Type="http://schemas.openxmlformats.org/officeDocument/2006/relationships/tags" Target="../tags/tag339.xml"/><Relationship Id="rId6" Type="http://schemas.openxmlformats.org/officeDocument/2006/relationships/tags" Target="../tags/tag338.xml"/><Relationship Id="rId5" Type="http://schemas.openxmlformats.org/officeDocument/2006/relationships/tags" Target="../tags/tag337.xml"/><Relationship Id="rId4" Type="http://schemas.openxmlformats.org/officeDocument/2006/relationships/tags" Target="../tags/tag336.xml"/><Relationship Id="rId3" Type="http://schemas.openxmlformats.org/officeDocument/2006/relationships/tags" Target="../tags/tag335.xml"/><Relationship Id="rId2" Type="http://schemas.openxmlformats.org/officeDocument/2006/relationships/tags" Target="../tags/tag334.xml"/><Relationship Id="rId17" Type="http://schemas.openxmlformats.org/officeDocument/2006/relationships/slideLayout" Target="../slideLayouts/slideLayout1.xml"/><Relationship Id="rId16" Type="http://schemas.openxmlformats.org/officeDocument/2006/relationships/tags" Target="../tags/tag348.xml"/><Relationship Id="rId15" Type="http://schemas.openxmlformats.org/officeDocument/2006/relationships/tags" Target="../tags/tag347.xml"/><Relationship Id="rId14" Type="http://schemas.openxmlformats.org/officeDocument/2006/relationships/tags" Target="../tags/tag346.xml"/><Relationship Id="rId13" Type="http://schemas.openxmlformats.org/officeDocument/2006/relationships/tags" Target="../tags/tag345.xml"/><Relationship Id="rId12" Type="http://schemas.openxmlformats.org/officeDocument/2006/relationships/tags" Target="../tags/tag344.xml"/><Relationship Id="rId11" Type="http://schemas.openxmlformats.org/officeDocument/2006/relationships/tags" Target="../tags/tag343.xml"/><Relationship Id="rId10" Type="http://schemas.openxmlformats.org/officeDocument/2006/relationships/tags" Target="../tags/tag342.xml"/><Relationship Id="rId1" Type="http://schemas.openxmlformats.org/officeDocument/2006/relationships/tags" Target="../tags/tag333.xml"/></Relationships>
</file>

<file path=ppt/slides/_rels/slide44.xml.rels><?xml version="1.0" encoding="UTF-8" standalone="yes"?>
<Relationships xmlns="http://schemas.openxmlformats.org/package/2006/relationships"><Relationship Id="rId9" Type="http://schemas.openxmlformats.org/officeDocument/2006/relationships/tags" Target="../tags/tag357.xml"/><Relationship Id="rId8" Type="http://schemas.openxmlformats.org/officeDocument/2006/relationships/tags" Target="../tags/tag356.xml"/><Relationship Id="rId75" Type="http://schemas.openxmlformats.org/officeDocument/2006/relationships/slideLayout" Target="../slideLayouts/slideLayout1.xml"/><Relationship Id="rId74" Type="http://schemas.openxmlformats.org/officeDocument/2006/relationships/tags" Target="../tags/tag422.xml"/><Relationship Id="rId73" Type="http://schemas.openxmlformats.org/officeDocument/2006/relationships/tags" Target="../tags/tag421.xml"/><Relationship Id="rId72" Type="http://schemas.openxmlformats.org/officeDocument/2006/relationships/tags" Target="../tags/tag420.xml"/><Relationship Id="rId71" Type="http://schemas.openxmlformats.org/officeDocument/2006/relationships/tags" Target="../tags/tag419.xml"/><Relationship Id="rId70" Type="http://schemas.openxmlformats.org/officeDocument/2006/relationships/tags" Target="../tags/tag418.xml"/><Relationship Id="rId7" Type="http://schemas.openxmlformats.org/officeDocument/2006/relationships/tags" Target="../tags/tag355.xml"/><Relationship Id="rId69" Type="http://schemas.openxmlformats.org/officeDocument/2006/relationships/tags" Target="../tags/tag417.xml"/><Relationship Id="rId68" Type="http://schemas.openxmlformats.org/officeDocument/2006/relationships/tags" Target="../tags/tag416.xml"/><Relationship Id="rId67" Type="http://schemas.openxmlformats.org/officeDocument/2006/relationships/tags" Target="../tags/tag415.xml"/><Relationship Id="rId66" Type="http://schemas.openxmlformats.org/officeDocument/2006/relationships/tags" Target="../tags/tag414.xml"/><Relationship Id="rId65" Type="http://schemas.openxmlformats.org/officeDocument/2006/relationships/tags" Target="../tags/tag413.xml"/><Relationship Id="rId64" Type="http://schemas.openxmlformats.org/officeDocument/2006/relationships/tags" Target="../tags/tag412.xml"/><Relationship Id="rId63" Type="http://schemas.openxmlformats.org/officeDocument/2006/relationships/tags" Target="../tags/tag411.xml"/><Relationship Id="rId62" Type="http://schemas.openxmlformats.org/officeDocument/2006/relationships/tags" Target="../tags/tag410.xml"/><Relationship Id="rId61" Type="http://schemas.openxmlformats.org/officeDocument/2006/relationships/tags" Target="../tags/tag409.xml"/><Relationship Id="rId60" Type="http://schemas.openxmlformats.org/officeDocument/2006/relationships/tags" Target="../tags/tag408.xml"/><Relationship Id="rId6" Type="http://schemas.openxmlformats.org/officeDocument/2006/relationships/tags" Target="../tags/tag354.xml"/><Relationship Id="rId59" Type="http://schemas.openxmlformats.org/officeDocument/2006/relationships/tags" Target="../tags/tag407.xml"/><Relationship Id="rId58" Type="http://schemas.openxmlformats.org/officeDocument/2006/relationships/tags" Target="../tags/tag406.xml"/><Relationship Id="rId57" Type="http://schemas.openxmlformats.org/officeDocument/2006/relationships/tags" Target="../tags/tag405.xml"/><Relationship Id="rId56" Type="http://schemas.openxmlformats.org/officeDocument/2006/relationships/tags" Target="../tags/tag404.xml"/><Relationship Id="rId55" Type="http://schemas.openxmlformats.org/officeDocument/2006/relationships/tags" Target="../tags/tag403.xml"/><Relationship Id="rId54" Type="http://schemas.openxmlformats.org/officeDocument/2006/relationships/tags" Target="../tags/tag402.xml"/><Relationship Id="rId53" Type="http://schemas.openxmlformats.org/officeDocument/2006/relationships/tags" Target="../tags/tag401.xml"/><Relationship Id="rId52" Type="http://schemas.openxmlformats.org/officeDocument/2006/relationships/tags" Target="../tags/tag400.xml"/><Relationship Id="rId51" Type="http://schemas.openxmlformats.org/officeDocument/2006/relationships/tags" Target="../tags/tag399.xml"/><Relationship Id="rId50" Type="http://schemas.openxmlformats.org/officeDocument/2006/relationships/tags" Target="../tags/tag398.xml"/><Relationship Id="rId5" Type="http://schemas.openxmlformats.org/officeDocument/2006/relationships/tags" Target="../tags/tag353.xml"/><Relationship Id="rId49" Type="http://schemas.openxmlformats.org/officeDocument/2006/relationships/tags" Target="../tags/tag397.xml"/><Relationship Id="rId48" Type="http://schemas.openxmlformats.org/officeDocument/2006/relationships/tags" Target="../tags/tag396.xml"/><Relationship Id="rId47" Type="http://schemas.openxmlformats.org/officeDocument/2006/relationships/tags" Target="../tags/tag395.xml"/><Relationship Id="rId46" Type="http://schemas.openxmlformats.org/officeDocument/2006/relationships/tags" Target="../tags/tag394.xml"/><Relationship Id="rId45" Type="http://schemas.openxmlformats.org/officeDocument/2006/relationships/tags" Target="../tags/tag393.xml"/><Relationship Id="rId44" Type="http://schemas.openxmlformats.org/officeDocument/2006/relationships/tags" Target="../tags/tag392.xml"/><Relationship Id="rId43" Type="http://schemas.openxmlformats.org/officeDocument/2006/relationships/tags" Target="../tags/tag391.xml"/><Relationship Id="rId42" Type="http://schemas.openxmlformats.org/officeDocument/2006/relationships/tags" Target="../tags/tag390.xml"/><Relationship Id="rId41" Type="http://schemas.openxmlformats.org/officeDocument/2006/relationships/tags" Target="../tags/tag389.xml"/><Relationship Id="rId40" Type="http://schemas.openxmlformats.org/officeDocument/2006/relationships/tags" Target="../tags/tag388.xml"/><Relationship Id="rId4" Type="http://schemas.openxmlformats.org/officeDocument/2006/relationships/tags" Target="../tags/tag352.xml"/><Relationship Id="rId39" Type="http://schemas.openxmlformats.org/officeDocument/2006/relationships/tags" Target="../tags/tag387.xml"/><Relationship Id="rId38" Type="http://schemas.openxmlformats.org/officeDocument/2006/relationships/tags" Target="../tags/tag386.xml"/><Relationship Id="rId37" Type="http://schemas.openxmlformats.org/officeDocument/2006/relationships/tags" Target="../tags/tag385.xml"/><Relationship Id="rId36" Type="http://schemas.openxmlformats.org/officeDocument/2006/relationships/tags" Target="../tags/tag384.xml"/><Relationship Id="rId35" Type="http://schemas.openxmlformats.org/officeDocument/2006/relationships/tags" Target="../tags/tag383.xml"/><Relationship Id="rId34" Type="http://schemas.openxmlformats.org/officeDocument/2006/relationships/tags" Target="../tags/tag382.xml"/><Relationship Id="rId33" Type="http://schemas.openxmlformats.org/officeDocument/2006/relationships/tags" Target="../tags/tag381.xml"/><Relationship Id="rId32" Type="http://schemas.openxmlformats.org/officeDocument/2006/relationships/tags" Target="../tags/tag380.xml"/><Relationship Id="rId31" Type="http://schemas.openxmlformats.org/officeDocument/2006/relationships/tags" Target="../tags/tag379.xml"/><Relationship Id="rId30" Type="http://schemas.openxmlformats.org/officeDocument/2006/relationships/tags" Target="../tags/tag378.xml"/><Relationship Id="rId3" Type="http://schemas.openxmlformats.org/officeDocument/2006/relationships/tags" Target="../tags/tag351.xml"/><Relationship Id="rId29" Type="http://schemas.openxmlformats.org/officeDocument/2006/relationships/tags" Target="../tags/tag377.xml"/><Relationship Id="rId28" Type="http://schemas.openxmlformats.org/officeDocument/2006/relationships/tags" Target="../tags/tag376.xml"/><Relationship Id="rId27" Type="http://schemas.openxmlformats.org/officeDocument/2006/relationships/tags" Target="../tags/tag375.xml"/><Relationship Id="rId26" Type="http://schemas.openxmlformats.org/officeDocument/2006/relationships/tags" Target="../tags/tag374.xml"/><Relationship Id="rId25" Type="http://schemas.openxmlformats.org/officeDocument/2006/relationships/tags" Target="../tags/tag373.xml"/><Relationship Id="rId24" Type="http://schemas.openxmlformats.org/officeDocument/2006/relationships/tags" Target="../tags/tag372.xml"/><Relationship Id="rId23" Type="http://schemas.openxmlformats.org/officeDocument/2006/relationships/tags" Target="../tags/tag371.xml"/><Relationship Id="rId22" Type="http://schemas.openxmlformats.org/officeDocument/2006/relationships/tags" Target="../tags/tag370.xml"/><Relationship Id="rId21" Type="http://schemas.openxmlformats.org/officeDocument/2006/relationships/tags" Target="../tags/tag369.xml"/><Relationship Id="rId20" Type="http://schemas.openxmlformats.org/officeDocument/2006/relationships/tags" Target="../tags/tag368.xml"/><Relationship Id="rId2" Type="http://schemas.openxmlformats.org/officeDocument/2006/relationships/tags" Target="../tags/tag350.xml"/><Relationship Id="rId19" Type="http://schemas.openxmlformats.org/officeDocument/2006/relationships/tags" Target="../tags/tag367.xml"/><Relationship Id="rId18" Type="http://schemas.openxmlformats.org/officeDocument/2006/relationships/tags" Target="../tags/tag366.xml"/><Relationship Id="rId17" Type="http://schemas.openxmlformats.org/officeDocument/2006/relationships/tags" Target="../tags/tag365.xml"/><Relationship Id="rId16" Type="http://schemas.openxmlformats.org/officeDocument/2006/relationships/tags" Target="../tags/tag364.xml"/><Relationship Id="rId15" Type="http://schemas.openxmlformats.org/officeDocument/2006/relationships/tags" Target="../tags/tag363.xml"/><Relationship Id="rId14" Type="http://schemas.openxmlformats.org/officeDocument/2006/relationships/tags" Target="../tags/tag362.xml"/><Relationship Id="rId13" Type="http://schemas.openxmlformats.org/officeDocument/2006/relationships/tags" Target="../tags/tag361.xml"/><Relationship Id="rId12" Type="http://schemas.openxmlformats.org/officeDocument/2006/relationships/tags" Target="../tags/tag360.xml"/><Relationship Id="rId11" Type="http://schemas.openxmlformats.org/officeDocument/2006/relationships/tags" Target="../tags/tag359.xml"/><Relationship Id="rId10" Type="http://schemas.openxmlformats.org/officeDocument/2006/relationships/tags" Target="../tags/tag358.xml"/><Relationship Id="rId1" Type="http://schemas.openxmlformats.org/officeDocument/2006/relationships/tags" Target="../tags/tag349.xml"/></Relationships>
</file>

<file path=ppt/slides/_rels/slide45.xml.rels><?xml version="1.0" encoding="UTF-8" standalone="yes"?>
<Relationships xmlns="http://schemas.openxmlformats.org/package/2006/relationships"><Relationship Id="rId8" Type="http://schemas.openxmlformats.org/officeDocument/2006/relationships/slideLayout" Target="../slideLayouts/slideLayout1.xml"/><Relationship Id="rId7" Type="http://schemas.openxmlformats.org/officeDocument/2006/relationships/tags" Target="../tags/tag429.xml"/><Relationship Id="rId6" Type="http://schemas.openxmlformats.org/officeDocument/2006/relationships/tags" Target="../tags/tag428.xml"/><Relationship Id="rId5" Type="http://schemas.openxmlformats.org/officeDocument/2006/relationships/tags" Target="../tags/tag427.xml"/><Relationship Id="rId4" Type="http://schemas.openxmlformats.org/officeDocument/2006/relationships/tags" Target="../tags/tag426.xml"/><Relationship Id="rId3" Type="http://schemas.openxmlformats.org/officeDocument/2006/relationships/tags" Target="../tags/tag425.xml"/><Relationship Id="rId2" Type="http://schemas.openxmlformats.org/officeDocument/2006/relationships/tags" Target="../tags/tag424.xml"/><Relationship Id="rId1" Type="http://schemas.openxmlformats.org/officeDocument/2006/relationships/tags" Target="../tags/tag423.xml"/></Relationships>
</file>

<file path=ppt/slides/_rels/slide46.xml.rels><?xml version="1.0" encoding="UTF-8" standalone="yes"?>
<Relationships xmlns="http://schemas.openxmlformats.org/package/2006/relationships"><Relationship Id="rId9" Type="http://schemas.openxmlformats.org/officeDocument/2006/relationships/tags" Target="../tags/tag438.xml"/><Relationship Id="rId8" Type="http://schemas.openxmlformats.org/officeDocument/2006/relationships/tags" Target="../tags/tag437.xml"/><Relationship Id="rId7" Type="http://schemas.openxmlformats.org/officeDocument/2006/relationships/tags" Target="../tags/tag436.xml"/><Relationship Id="rId6" Type="http://schemas.openxmlformats.org/officeDocument/2006/relationships/tags" Target="../tags/tag435.xml"/><Relationship Id="rId5" Type="http://schemas.openxmlformats.org/officeDocument/2006/relationships/tags" Target="../tags/tag434.xml"/><Relationship Id="rId4" Type="http://schemas.openxmlformats.org/officeDocument/2006/relationships/tags" Target="../tags/tag433.xml"/><Relationship Id="rId3" Type="http://schemas.openxmlformats.org/officeDocument/2006/relationships/tags" Target="../tags/tag432.xml"/><Relationship Id="rId2" Type="http://schemas.openxmlformats.org/officeDocument/2006/relationships/tags" Target="../tags/tag431.xml"/><Relationship Id="rId12" Type="http://schemas.openxmlformats.org/officeDocument/2006/relationships/notesSlide" Target="../notesSlides/notesSlide11.xml"/><Relationship Id="rId11" Type="http://schemas.openxmlformats.org/officeDocument/2006/relationships/slideLayout" Target="../slideLayouts/slideLayout1.xml"/><Relationship Id="rId10" Type="http://schemas.openxmlformats.org/officeDocument/2006/relationships/tags" Target="../tags/tag439.xml"/><Relationship Id="rId1" Type="http://schemas.openxmlformats.org/officeDocument/2006/relationships/tags" Target="../tags/tag430.xml"/></Relationships>
</file>

<file path=ppt/slides/_rels/slide47.xml.rels><?xml version="1.0" encoding="UTF-8" standalone="yes"?>
<Relationships xmlns="http://schemas.openxmlformats.org/package/2006/relationships"><Relationship Id="rId8" Type="http://schemas.openxmlformats.org/officeDocument/2006/relationships/slideLayout" Target="../slideLayouts/slideLayout1.xml"/><Relationship Id="rId7" Type="http://schemas.openxmlformats.org/officeDocument/2006/relationships/tags" Target="../tags/tag446.xml"/><Relationship Id="rId6" Type="http://schemas.openxmlformats.org/officeDocument/2006/relationships/tags" Target="../tags/tag445.xml"/><Relationship Id="rId5" Type="http://schemas.openxmlformats.org/officeDocument/2006/relationships/tags" Target="../tags/tag444.xml"/><Relationship Id="rId4" Type="http://schemas.openxmlformats.org/officeDocument/2006/relationships/tags" Target="../tags/tag443.xml"/><Relationship Id="rId3" Type="http://schemas.openxmlformats.org/officeDocument/2006/relationships/tags" Target="../tags/tag442.xml"/><Relationship Id="rId2" Type="http://schemas.openxmlformats.org/officeDocument/2006/relationships/tags" Target="../tags/tag441.xml"/><Relationship Id="rId1" Type="http://schemas.openxmlformats.org/officeDocument/2006/relationships/tags" Target="../tags/tag440.xml"/></Relationships>
</file>

<file path=ppt/slides/_rels/slide48.xml.rels><?xml version="1.0" encoding="UTF-8" standalone="yes"?>
<Relationships xmlns="http://schemas.openxmlformats.org/package/2006/relationships"><Relationship Id="rId9" Type="http://schemas.openxmlformats.org/officeDocument/2006/relationships/tags" Target="../tags/tag455.xml"/><Relationship Id="rId8" Type="http://schemas.openxmlformats.org/officeDocument/2006/relationships/tags" Target="../tags/tag454.xml"/><Relationship Id="rId7" Type="http://schemas.openxmlformats.org/officeDocument/2006/relationships/tags" Target="../tags/tag453.xml"/><Relationship Id="rId6" Type="http://schemas.openxmlformats.org/officeDocument/2006/relationships/tags" Target="../tags/tag452.xml"/><Relationship Id="rId5" Type="http://schemas.openxmlformats.org/officeDocument/2006/relationships/tags" Target="../tags/tag451.xml"/><Relationship Id="rId4" Type="http://schemas.openxmlformats.org/officeDocument/2006/relationships/tags" Target="../tags/tag450.xml"/><Relationship Id="rId3" Type="http://schemas.openxmlformats.org/officeDocument/2006/relationships/tags" Target="../tags/tag449.xml"/><Relationship Id="rId2" Type="http://schemas.openxmlformats.org/officeDocument/2006/relationships/tags" Target="../tags/tag448.xml"/><Relationship Id="rId12" Type="http://schemas.openxmlformats.org/officeDocument/2006/relationships/notesSlide" Target="../notesSlides/notesSlide12.xml"/><Relationship Id="rId11" Type="http://schemas.openxmlformats.org/officeDocument/2006/relationships/slideLayout" Target="../slideLayouts/slideLayout1.xml"/><Relationship Id="rId10" Type="http://schemas.openxmlformats.org/officeDocument/2006/relationships/tags" Target="../tags/tag456.xml"/><Relationship Id="rId1" Type="http://schemas.openxmlformats.org/officeDocument/2006/relationships/tags" Target="../tags/tag447.xml"/></Relationships>
</file>

<file path=ppt/slides/_rels/slide49.xml.rels><?xml version="1.0" encoding="UTF-8" standalone="yes"?>
<Relationships xmlns="http://schemas.openxmlformats.org/package/2006/relationships"><Relationship Id="rId9" Type="http://schemas.openxmlformats.org/officeDocument/2006/relationships/tags" Target="../tags/tag465.xml"/><Relationship Id="rId8" Type="http://schemas.openxmlformats.org/officeDocument/2006/relationships/tags" Target="../tags/tag464.xml"/><Relationship Id="rId75" Type="http://schemas.openxmlformats.org/officeDocument/2006/relationships/slideLayout" Target="../slideLayouts/slideLayout1.xml"/><Relationship Id="rId74" Type="http://schemas.openxmlformats.org/officeDocument/2006/relationships/tags" Target="../tags/tag530.xml"/><Relationship Id="rId73" Type="http://schemas.openxmlformats.org/officeDocument/2006/relationships/tags" Target="../tags/tag529.xml"/><Relationship Id="rId72" Type="http://schemas.openxmlformats.org/officeDocument/2006/relationships/tags" Target="../tags/tag528.xml"/><Relationship Id="rId71" Type="http://schemas.openxmlformats.org/officeDocument/2006/relationships/tags" Target="../tags/tag527.xml"/><Relationship Id="rId70" Type="http://schemas.openxmlformats.org/officeDocument/2006/relationships/tags" Target="../tags/tag526.xml"/><Relationship Id="rId7" Type="http://schemas.openxmlformats.org/officeDocument/2006/relationships/tags" Target="../tags/tag463.xml"/><Relationship Id="rId69" Type="http://schemas.openxmlformats.org/officeDocument/2006/relationships/tags" Target="../tags/tag525.xml"/><Relationship Id="rId68" Type="http://schemas.openxmlformats.org/officeDocument/2006/relationships/tags" Target="../tags/tag524.xml"/><Relationship Id="rId67" Type="http://schemas.openxmlformats.org/officeDocument/2006/relationships/tags" Target="../tags/tag523.xml"/><Relationship Id="rId66" Type="http://schemas.openxmlformats.org/officeDocument/2006/relationships/tags" Target="../tags/tag522.xml"/><Relationship Id="rId65" Type="http://schemas.openxmlformats.org/officeDocument/2006/relationships/tags" Target="../tags/tag521.xml"/><Relationship Id="rId64" Type="http://schemas.openxmlformats.org/officeDocument/2006/relationships/tags" Target="../tags/tag520.xml"/><Relationship Id="rId63" Type="http://schemas.openxmlformats.org/officeDocument/2006/relationships/tags" Target="../tags/tag519.xml"/><Relationship Id="rId62" Type="http://schemas.openxmlformats.org/officeDocument/2006/relationships/tags" Target="../tags/tag518.xml"/><Relationship Id="rId61" Type="http://schemas.openxmlformats.org/officeDocument/2006/relationships/tags" Target="../tags/tag517.xml"/><Relationship Id="rId60" Type="http://schemas.openxmlformats.org/officeDocument/2006/relationships/tags" Target="../tags/tag516.xml"/><Relationship Id="rId6" Type="http://schemas.openxmlformats.org/officeDocument/2006/relationships/tags" Target="../tags/tag462.xml"/><Relationship Id="rId59" Type="http://schemas.openxmlformats.org/officeDocument/2006/relationships/tags" Target="../tags/tag515.xml"/><Relationship Id="rId58" Type="http://schemas.openxmlformats.org/officeDocument/2006/relationships/tags" Target="../tags/tag514.xml"/><Relationship Id="rId57" Type="http://schemas.openxmlformats.org/officeDocument/2006/relationships/tags" Target="../tags/tag513.xml"/><Relationship Id="rId56" Type="http://schemas.openxmlformats.org/officeDocument/2006/relationships/tags" Target="../tags/tag512.xml"/><Relationship Id="rId55" Type="http://schemas.openxmlformats.org/officeDocument/2006/relationships/tags" Target="../tags/tag511.xml"/><Relationship Id="rId54" Type="http://schemas.openxmlformats.org/officeDocument/2006/relationships/tags" Target="../tags/tag510.xml"/><Relationship Id="rId53" Type="http://schemas.openxmlformats.org/officeDocument/2006/relationships/tags" Target="../tags/tag509.xml"/><Relationship Id="rId52" Type="http://schemas.openxmlformats.org/officeDocument/2006/relationships/tags" Target="../tags/tag508.xml"/><Relationship Id="rId51" Type="http://schemas.openxmlformats.org/officeDocument/2006/relationships/tags" Target="../tags/tag507.xml"/><Relationship Id="rId50" Type="http://schemas.openxmlformats.org/officeDocument/2006/relationships/tags" Target="../tags/tag506.xml"/><Relationship Id="rId5" Type="http://schemas.openxmlformats.org/officeDocument/2006/relationships/tags" Target="../tags/tag461.xml"/><Relationship Id="rId49" Type="http://schemas.openxmlformats.org/officeDocument/2006/relationships/tags" Target="../tags/tag505.xml"/><Relationship Id="rId48" Type="http://schemas.openxmlformats.org/officeDocument/2006/relationships/tags" Target="../tags/tag504.xml"/><Relationship Id="rId47" Type="http://schemas.openxmlformats.org/officeDocument/2006/relationships/tags" Target="../tags/tag503.xml"/><Relationship Id="rId46" Type="http://schemas.openxmlformats.org/officeDocument/2006/relationships/tags" Target="../tags/tag502.xml"/><Relationship Id="rId45" Type="http://schemas.openxmlformats.org/officeDocument/2006/relationships/tags" Target="../tags/tag501.xml"/><Relationship Id="rId44" Type="http://schemas.openxmlformats.org/officeDocument/2006/relationships/tags" Target="../tags/tag500.xml"/><Relationship Id="rId43" Type="http://schemas.openxmlformats.org/officeDocument/2006/relationships/tags" Target="../tags/tag499.xml"/><Relationship Id="rId42" Type="http://schemas.openxmlformats.org/officeDocument/2006/relationships/tags" Target="../tags/tag498.xml"/><Relationship Id="rId41" Type="http://schemas.openxmlformats.org/officeDocument/2006/relationships/tags" Target="../tags/tag497.xml"/><Relationship Id="rId40" Type="http://schemas.openxmlformats.org/officeDocument/2006/relationships/tags" Target="../tags/tag496.xml"/><Relationship Id="rId4" Type="http://schemas.openxmlformats.org/officeDocument/2006/relationships/tags" Target="../tags/tag460.xml"/><Relationship Id="rId39" Type="http://schemas.openxmlformats.org/officeDocument/2006/relationships/tags" Target="../tags/tag495.xml"/><Relationship Id="rId38" Type="http://schemas.openxmlformats.org/officeDocument/2006/relationships/tags" Target="../tags/tag494.xml"/><Relationship Id="rId37" Type="http://schemas.openxmlformats.org/officeDocument/2006/relationships/tags" Target="../tags/tag493.xml"/><Relationship Id="rId36" Type="http://schemas.openxmlformats.org/officeDocument/2006/relationships/tags" Target="../tags/tag492.xml"/><Relationship Id="rId35" Type="http://schemas.openxmlformats.org/officeDocument/2006/relationships/tags" Target="../tags/tag491.xml"/><Relationship Id="rId34" Type="http://schemas.openxmlformats.org/officeDocument/2006/relationships/tags" Target="../tags/tag490.xml"/><Relationship Id="rId33" Type="http://schemas.openxmlformats.org/officeDocument/2006/relationships/tags" Target="../tags/tag489.xml"/><Relationship Id="rId32" Type="http://schemas.openxmlformats.org/officeDocument/2006/relationships/tags" Target="../tags/tag488.xml"/><Relationship Id="rId31" Type="http://schemas.openxmlformats.org/officeDocument/2006/relationships/tags" Target="../tags/tag487.xml"/><Relationship Id="rId30" Type="http://schemas.openxmlformats.org/officeDocument/2006/relationships/tags" Target="../tags/tag486.xml"/><Relationship Id="rId3" Type="http://schemas.openxmlformats.org/officeDocument/2006/relationships/tags" Target="../tags/tag459.xml"/><Relationship Id="rId29" Type="http://schemas.openxmlformats.org/officeDocument/2006/relationships/tags" Target="../tags/tag485.xml"/><Relationship Id="rId28" Type="http://schemas.openxmlformats.org/officeDocument/2006/relationships/tags" Target="../tags/tag484.xml"/><Relationship Id="rId27" Type="http://schemas.openxmlformats.org/officeDocument/2006/relationships/tags" Target="../tags/tag483.xml"/><Relationship Id="rId26" Type="http://schemas.openxmlformats.org/officeDocument/2006/relationships/tags" Target="../tags/tag482.xml"/><Relationship Id="rId25" Type="http://schemas.openxmlformats.org/officeDocument/2006/relationships/tags" Target="../tags/tag481.xml"/><Relationship Id="rId24" Type="http://schemas.openxmlformats.org/officeDocument/2006/relationships/tags" Target="../tags/tag480.xml"/><Relationship Id="rId23" Type="http://schemas.openxmlformats.org/officeDocument/2006/relationships/tags" Target="../tags/tag479.xml"/><Relationship Id="rId22" Type="http://schemas.openxmlformats.org/officeDocument/2006/relationships/tags" Target="../tags/tag478.xml"/><Relationship Id="rId21" Type="http://schemas.openxmlformats.org/officeDocument/2006/relationships/tags" Target="../tags/tag477.xml"/><Relationship Id="rId20" Type="http://schemas.openxmlformats.org/officeDocument/2006/relationships/tags" Target="../tags/tag476.xml"/><Relationship Id="rId2" Type="http://schemas.openxmlformats.org/officeDocument/2006/relationships/tags" Target="../tags/tag458.xml"/><Relationship Id="rId19" Type="http://schemas.openxmlformats.org/officeDocument/2006/relationships/tags" Target="../tags/tag475.xml"/><Relationship Id="rId18" Type="http://schemas.openxmlformats.org/officeDocument/2006/relationships/tags" Target="../tags/tag474.xml"/><Relationship Id="rId17" Type="http://schemas.openxmlformats.org/officeDocument/2006/relationships/tags" Target="../tags/tag473.xml"/><Relationship Id="rId16" Type="http://schemas.openxmlformats.org/officeDocument/2006/relationships/tags" Target="../tags/tag472.xml"/><Relationship Id="rId15" Type="http://schemas.openxmlformats.org/officeDocument/2006/relationships/tags" Target="../tags/tag471.xml"/><Relationship Id="rId14" Type="http://schemas.openxmlformats.org/officeDocument/2006/relationships/tags" Target="../tags/tag470.xml"/><Relationship Id="rId13" Type="http://schemas.openxmlformats.org/officeDocument/2006/relationships/tags" Target="../tags/tag469.xml"/><Relationship Id="rId12" Type="http://schemas.openxmlformats.org/officeDocument/2006/relationships/tags" Target="../tags/tag468.xml"/><Relationship Id="rId11" Type="http://schemas.openxmlformats.org/officeDocument/2006/relationships/tags" Target="../tags/tag467.xml"/><Relationship Id="rId10" Type="http://schemas.openxmlformats.org/officeDocument/2006/relationships/tags" Target="../tags/tag466.xml"/><Relationship Id="rId1" Type="http://schemas.openxmlformats.org/officeDocument/2006/relationships/tags" Target="../tags/tag457.xml"/></Relationships>
</file>

<file path=ppt/slides/_rels/slide5.xml.rels><?xml version="1.0" encoding="UTF-8" standalone="yes"?>
<Relationships xmlns="http://schemas.openxmlformats.org/package/2006/relationships"><Relationship Id="rId9" Type="http://schemas.openxmlformats.org/officeDocument/2006/relationships/tags" Target="../tags/tag24.xml"/><Relationship Id="rId8" Type="http://schemas.openxmlformats.org/officeDocument/2006/relationships/tags" Target="../tags/tag23.xml"/><Relationship Id="rId7" Type="http://schemas.openxmlformats.org/officeDocument/2006/relationships/tags" Target="../tags/tag22.xml"/><Relationship Id="rId6" Type="http://schemas.openxmlformats.org/officeDocument/2006/relationships/tags" Target="../tags/tag21.xml"/><Relationship Id="rId5" Type="http://schemas.openxmlformats.org/officeDocument/2006/relationships/tags" Target="../tags/tag20.xml"/><Relationship Id="rId4" Type="http://schemas.openxmlformats.org/officeDocument/2006/relationships/tags" Target="../tags/tag19.xml"/><Relationship Id="rId3" Type="http://schemas.openxmlformats.org/officeDocument/2006/relationships/tags" Target="../tags/tag18.xml"/><Relationship Id="rId2" Type="http://schemas.openxmlformats.org/officeDocument/2006/relationships/tags" Target="../tags/tag17.xml"/><Relationship Id="rId11" Type="http://schemas.openxmlformats.org/officeDocument/2006/relationships/notesSlide" Target="../notesSlides/notesSlide4.xml"/><Relationship Id="rId10" Type="http://schemas.openxmlformats.org/officeDocument/2006/relationships/slideLayout" Target="../slideLayouts/slideLayout1.xml"/><Relationship Id="rId1" Type="http://schemas.openxmlformats.org/officeDocument/2006/relationships/tags" Target="../tags/tag16.xml"/></Relationships>
</file>

<file path=ppt/slides/_rels/slide50.xml.rels><?xml version="1.0" encoding="UTF-8" standalone="yes"?>
<Relationships xmlns="http://schemas.openxmlformats.org/package/2006/relationships"><Relationship Id="rId8" Type="http://schemas.openxmlformats.org/officeDocument/2006/relationships/slideLayout" Target="../slideLayouts/slideLayout1.xml"/><Relationship Id="rId7" Type="http://schemas.openxmlformats.org/officeDocument/2006/relationships/tags" Target="../tags/tag537.xml"/><Relationship Id="rId6" Type="http://schemas.openxmlformats.org/officeDocument/2006/relationships/tags" Target="../tags/tag536.xml"/><Relationship Id="rId5" Type="http://schemas.openxmlformats.org/officeDocument/2006/relationships/tags" Target="../tags/tag535.xml"/><Relationship Id="rId4" Type="http://schemas.openxmlformats.org/officeDocument/2006/relationships/tags" Target="../tags/tag534.xml"/><Relationship Id="rId3" Type="http://schemas.openxmlformats.org/officeDocument/2006/relationships/tags" Target="../tags/tag533.xml"/><Relationship Id="rId2" Type="http://schemas.openxmlformats.org/officeDocument/2006/relationships/tags" Target="../tags/tag532.xml"/><Relationship Id="rId1" Type="http://schemas.openxmlformats.org/officeDocument/2006/relationships/tags" Target="../tags/tag531.xml"/></Relationships>
</file>

<file path=ppt/slides/_rels/slide51.xml.rels><?xml version="1.0" encoding="UTF-8" standalone="yes"?>
<Relationships xmlns="http://schemas.openxmlformats.org/package/2006/relationships"><Relationship Id="rId9" Type="http://schemas.openxmlformats.org/officeDocument/2006/relationships/tags" Target="../tags/tag546.xml"/><Relationship Id="rId8" Type="http://schemas.openxmlformats.org/officeDocument/2006/relationships/tags" Target="../tags/tag545.xml"/><Relationship Id="rId7" Type="http://schemas.openxmlformats.org/officeDocument/2006/relationships/tags" Target="../tags/tag544.xml"/><Relationship Id="rId6" Type="http://schemas.openxmlformats.org/officeDocument/2006/relationships/tags" Target="../tags/tag543.xml"/><Relationship Id="rId5" Type="http://schemas.openxmlformats.org/officeDocument/2006/relationships/tags" Target="../tags/tag542.xml"/><Relationship Id="rId4" Type="http://schemas.openxmlformats.org/officeDocument/2006/relationships/tags" Target="../tags/tag541.xml"/><Relationship Id="rId3" Type="http://schemas.openxmlformats.org/officeDocument/2006/relationships/tags" Target="../tags/tag540.xml"/><Relationship Id="rId2" Type="http://schemas.openxmlformats.org/officeDocument/2006/relationships/tags" Target="../tags/tag539.xml"/><Relationship Id="rId12" Type="http://schemas.openxmlformats.org/officeDocument/2006/relationships/notesSlide" Target="../notesSlides/notesSlide13.xml"/><Relationship Id="rId11" Type="http://schemas.openxmlformats.org/officeDocument/2006/relationships/slideLayout" Target="../slideLayouts/slideLayout1.xml"/><Relationship Id="rId10" Type="http://schemas.openxmlformats.org/officeDocument/2006/relationships/tags" Target="../tags/tag547.xml"/><Relationship Id="rId1" Type="http://schemas.openxmlformats.org/officeDocument/2006/relationships/tags" Target="../tags/tag538.xml"/></Relationships>
</file>

<file path=ppt/slides/_rels/slide52.xml.rels><?xml version="1.0" encoding="UTF-8" standalone="yes"?>
<Relationships xmlns="http://schemas.openxmlformats.org/package/2006/relationships"><Relationship Id="rId9" Type="http://schemas.openxmlformats.org/officeDocument/2006/relationships/tags" Target="../tags/tag556.xml"/><Relationship Id="rId8" Type="http://schemas.openxmlformats.org/officeDocument/2006/relationships/tags" Target="../tags/tag555.xml"/><Relationship Id="rId7" Type="http://schemas.openxmlformats.org/officeDocument/2006/relationships/tags" Target="../tags/tag554.xml"/><Relationship Id="rId6" Type="http://schemas.openxmlformats.org/officeDocument/2006/relationships/tags" Target="../tags/tag553.xml"/><Relationship Id="rId5" Type="http://schemas.openxmlformats.org/officeDocument/2006/relationships/tags" Target="../tags/tag552.xml"/><Relationship Id="rId4" Type="http://schemas.openxmlformats.org/officeDocument/2006/relationships/tags" Target="../tags/tag551.xml"/><Relationship Id="rId3" Type="http://schemas.openxmlformats.org/officeDocument/2006/relationships/tags" Target="../tags/tag550.xml"/><Relationship Id="rId2" Type="http://schemas.openxmlformats.org/officeDocument/2006/relationships/tags" Target="../tags/tag549.xml"/><Relationship Id="rId12" Type="http://schemas.openxmlformats.org/officeDocument/2006/relationships/notesSlide" Target="../notesSlides/notesSlide14.xml"/><Relationship Id="rId11" Type="http://schemas.openxmlformats.org/officeDocument/2006/relationships/slideLayout" Target="../slideLayouts/slideLayout1.xml"/><Relationship Id="rId10" Type="http://schemas.openxmlformats.org/officeDocument/2006/relationships/tags" Target="../tags/tag557.xml"/><Relationship Id="rId1" Type="http://schemas.openxmlformats.org/officeDocument/2006/relationships/tags" Target="../tags/tag548.xml"/></Relationships>
</file>

<file path=ppt/slides/_rels/slide53.xml.rels><?xml version="1.0" encoding="UTF-8" standalone="yes"?>
<Relationships xmlns="http://schemas.openxmlformats.org/package/2006/relationships"><Relationship Id="rId9" Type="http://schemas.openxmlformats.org/officeDocument/2006/relationships/tags" Target="../tags/tag566.xml"/><Relationship Id="rId8" Type="http://schemas.openxmlformats.org/officeDocument/2006/relationships/tags" Target="../tags/tag565.xml"/><Relationship Id="rId7" Type="http://schemas.openxmlformats.org/officeDocument/2006/relationships/tags" Target="../tags/tag564.xml"/><Relationship Id="rId6" Type="http://schemas.openxmlformats.org/officeDocument/2006/relationships/tags" Target="../tags/tag563.xml"/><Relationship Id="rId5" Type="http://schemas.openxmlformats.org/officeDocument/2006/relationships/tags" Target="../tags/tag562.xml"/><Relationship Id="rId4" Type="http://schemas.openxmlformats.org/officeDocument/2006/relationships/tags" Target="../tags/tag561.xml"/><Relationship Id="rId3" Type="http://schemas.openxmlformats.org/officeDocument/2006/relationships/tags" Target="../tags/tag560.xml"/><Relationship Id="rId2" Type="http://schemas.openxmlformats.org/officeDocument/2006/relationships/tags" Target="../tags/tag559.xml"/><Relationship Id="rId12" Type="http://schemas.openxmlformats.org/officeDocument/2006/relationships/notesSlide" Target="../notesSlides/notesSlide15.xml"/><Relationship Id="rId11" Type="http://schemas.openxmlformats.org/officeDocument/2006/relationships/slideLayout" Target="../slideLayouts/slideLayout1.xml"/><Relationship Id="rId10" Type="http://schemas.openxmlformats.org/officeDocument/2006/relationships/tags" Target="../tags/tag567.xml"/><Relationship Id="rId1" Type="http://schemas.openxmlformats.org/officeDocument/2006/relationships/tags" Target="../tags/tag558.xml"/></Relationships>
</file>

<file path=ppt/slides/_rels/slide54.xml.rels><?xml version="1.0" encoding="UTF-8" standalone="yes"?>
<Relationships xmlns="http://schemas.openxmlformats.org/package/2006/relationships"><Relationship Id="rId9" Type="http://schemas.openxmlformats.org/officeDocument/2006/relationships/tags" Target="../tags/tag576.xml"/><Relationship Id="rId8" Type="http://schemas.openxmlformats.org/officeDocument/2006/relationships/tags" Target="../tags/tag575.xml"/><Relationship Id="rId7" Type="http://schemas.openxmlformats.org/officeDocument/2006/relationships/tags" Target="../tags/tag574.xml"/><Relationship Id="rId6" Type="http://schemas.openxmlformats.org/officeDocument/2006/relationships/tags" Target="../tags/tag573.xml"/><Relationship Id="rId5" Type="http://schemas.openxmlformats.org/officeDocument/2006/relationships/tags" Target="../tags/tag572.xml"/><Relationship Id="rId4" Type="http://schemas.openxmlformats.org/officeDocument/2006/relationships/tags" Target="../tags/tag571.xml"/><Relationship Id="rId3" Type="http://schemas.openxmlformats.org/officeDocument/2006/relationships/tags" Target="../tags/tag570.xml"/><Relationship Id="rId2" Type="http://schemas.openxmlformats.org/officeDocument/2006/relationships/tags" Target="../tags/tag569.xml"/><Relationship Id="rId12" Type="http://schemas.openxmlformats.org/officeDocument/2006/relationships/notesSlide" Target="../notesSlides/notesSlide16.xml"/><Relationship Id="rId11" Type="http://schemas.openxmlformats.org/officeDocument/2006/relationships/slideLayout" Target="../slideLayouts/slideLayout1.xml"/><Relationship Id="rId10" Type="http://schemas.openxmlformats.org/officeDocument/2006/relationships/tags" Target="../tags/tag577.xml"/><Relationship Id="rId1" Type="http://schemas.openxmlformats.org/officeDocument/2006/relationships/tags" Target="../tags/tag56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9" Type="http://schemas.openxmlformats.org/officeDocument/2006/relationships/image" Target="../media/image11.png"/><Relationship Id="rId8" Type="http://schemas.openxmlformats.org/officeDocument/2006/relationships/tags" Target="../tags/tag585.xml"/><Relationship Id="rId7" Type="http://schemas.openxmlformats.org/officeDocument/2006/relationships/tags" Target="../tags/tag584.xml"/><Relationship Id="rId6" Type="http://schemas.openxmlformats.org/officeDocument/2006/relationships/tags" Target="../tags/tag583.xml"/><Relationship Id="rId5" Type="http://schemas.openxmlformats.org/officeDocument/2006/relationships/tags" Target="../tags/tag582.xml"/><Relationship Id="rId4" Type="http://schemas.openxmlformats.org/officeDocument/2006/relationships/tags" Target="../tags/tag581.xml"/><Relationship Id="rId3" Type="http://schemas.openxmlformats.org/officeDocument/2006/relationships/tags" Target="../tags/tag580.xml"/><Relationship Id="rId2" Type="http://schemas.openxmlformats.org/officeDocument/2006/relationships/tags" Target="../tags/tag579.xml"/><Relationship Id="rId12" Type="http://schemas.openxmlformats.org/officeDocument/2006/relationships/notesSlide" Target="../notesSlides/notesSlide17.xml"/><Relationship Id="rId11" Type="http://schemas.openxmlformats.org/officeDocument/2006/relationships/slideLayout" Target="../slideLayouts/slideLayout1.xml"/><Relationship Id="rId10" Type="http://schemas.openxmlformats.org/officeDocument/2006/relationships/tags" Target="../tags/tag586.xml"/><Relationship Id="rId1" Type="http://schemas.openxmlformats.org/officeDocument/2006/relationships/tags" Target="../tags/tag578.xml"/></Relationships>
</file>

<file path=ppt/slides/_rels/slide6.xml.rels><?xml version="1.0" encoding="UTF-8" standalone="yes"?>
<Relationships xmlns="http://schemas.openxmlformats.org/package/2006/relationships"><Relationship Id="rId9" Type="http://schemas.openxmlformats.org/officeDocument/2006/relationships/tags" Target="../tags/tag33.xml"/><Relationship Id="rId8" Type="http://schemas.openxmlformats.org/officeDocument/2006/relationships/tags" Target="../tags/tag32.xml"/><Relationship Id="rId7" Type="http://schemas.openxmlformats.org/officeDocument/2006/relationships/tags" Target="../tags/tag31.xml"/><Relationship Id="rId6" Type="http://schemas.openxmlformats.org/officeDocument/2006/relationships/tags" Target="../tags/tag30.xml"/><Relationship Id="rId5" Type="http://schemas.openxmlformats.org/officeDocument/2006/relationships/tags" Target="../tags/tag29.xml"/><Relationship Id="rId4" Type="http://schemas.openxmlformats.org/officeDocument/2006/relationships/tags" Target="../tags/tag28.xml"/><Relationship Id="rId3" Type="http://schemas.openxmlformats.org/officeDocument/2006/relationships/tags" Target="../tags/tag27.xml"/><Relationship Id="rId2" Type="http://schemas.openxmlformats.org/officeDocument/2006/relationships/tags" Target="../tags/tag26.xml"/><Relationship Id="rId11" Type="http://schemas.openxmlformats.org/officeDocument/2006/relationships/notesSlide" Target="../notesSlides/notesSlide5.xml"/><Relationship Id="rId10" Type="http://schemas.openxmlformats.org/officeDocument/2006/relationships/slideLayout" Target="../slideLayouts/slideLayout1.xml"/><Relationship Id="rId1" Type="http://schemas.openxmlformats.org/officeDocument/2006/relationships/tags" Target="../tags/tag25.xml"/></Relationships>
</file>

<file path=ppt/slides/_rels/slide60.xml.rels><?xml version="1.0" encoding="UTF-8" standalone="yes"?>
<Relationships xmlns="http://schemas.openxmlformats.org/package/2006/relationships"><Relationship Id="rId9" Type="http://schemas.openxmlformats.org/officeDocument/2006/relationships/tags" Target="../tags/tag595.xml"/><Relationship Id="rId8" Type="http://schemas.openxmlformats.org/officeDocument/2006/relationships/tags" Target="../tags/tag594.xml"/><Relationship Id="rId7" Type="http://schemas.openxmlformats.org/officeDocument/2006/relationships/tags" Target="../tags/tag593.xml"/><Relationship Id="rId6" Type="http://schemas.openxmlformats.org/officeDocument/2006/relationships/tags" Target="../tags/tag592.xml"/><Relationship Id="rId5" Type="http://schemas.openxmlformats.org/officeDocument/2006/relationships/tags" Target="../tags/tag591.xml"/><Relationship Id="rId4" Type="http://schemas.openxmlformats.org/officeDocument/2006/relationships/tags" Target="../tags/tag590.xml"/><Relationship Id="rId3" Type="http://schemas.openxmlformats.org/officeDocument/2006/relationships/tags" Target="../tags/tag589.xml"/><Relationship Id="rId2" Type="http://schemas.openxmlformats.org/officeDocument/2006/relationships/tags" Target="../tags/tag588.xml"/><Relationship Id="rId13" Type="http://schemas.openxmlformats.org/officeDocument/2006/relationships/notesSlide" Target="../notesSlides/notesSlide18.xml"/><Relationship Id="rId12" Type="http://schemas.openxmlformats.org/officeDocument/2006/relationships/slideLayout" Target="../slideLayouts/slideLayout1.xml"/><Relationship Id="rId11" Type="http://schemas.openxmlformats.org/officeDocument/2006/relationships/tags" Target="../tags/tag596.xml"/><Relationship Id="rId10" Type="http://schemas.openxmlformats.org/officeDocument/2006/relationships/image" Target="../media/image12.png"/><Relationship Id="rId1" Type="http://schemas.openxmlformats.org/officeDocument/2006/relationships/tags" Target="../tags/tag587.xml"/></Relationships>
</file>

<file path=ppt/slides/_rels/slide61.xml.rels><?xml version="1.0" encoding="UTF-8" standalone="yes"?>
<Relationships xmlns="http://schemas.openxmlformats.org/package/2006/relationships"><Relationship Id="rId9" Type="http://schemas.openxmlformats.org/officeDocument/2006/relationships/tags" Target="../tags/tag605.xml"/><Relationship Id="rId8" Type="http://schemas.openxmlformats.org/officeDocument/2006/relationships/tags" Target="../tags/tag604.xml"/><Relationship Id="rId7" Type="http://schemas.openxmlformats.org/officeDocument/2006/relationships/tags" Target="../tags/tag603.xml"/><Relationship Id="rId6" Type="http://schemas.openxmlformats.org/officeDocument/2006/relationships/tags" Target="../tags/tag602.xml"/><Relationship Id="rId5" Type="http://schemas.openxmlformats.org/officeDocument/2006/relationships/tags" Target="../tags/tag601.xml"/><Relationship Id="rId4" Type="http://schemas.openxmlformats.org/officeDocument/2006/relationships/tags" Target="../tags/tag600.xml"/><Relationship Id="rId3" Type="http://schemas.openxmlformats.org/officeDocument/2006/relationships/tags" Target="../tags/tag599.xml"/><Relationship Id="rId2" Type="http://schemas.openxmlformats.org/officeDocument/2006/relationships/tags" Target="../tags/tag598.xml"/><Relationship Id="rId13" Type="http://schemas.openxmlformats.org/officeDocument/2006/relationships/notesSlide" Target="../notesSlides/notesSlide19.xml"/><Relationship Id="rId12" Type="http://schemas.openxmlformats.org/officeDocument/2006/relationships/slideLayout" Target="../slideLayouts/slideLayout1.xml"/><Relationship Id="rId11" Type="http://schemas.openxmlformats.org/officeDocument/2006/relationships/tags" Target="../tags/tag606.xml"/><Relationship Id="rId10" Type="http://schemas.openxmlformats.org/officeDocument/2006/relationships/image" Target="../media/image13.png"/><Relationship Id="rId1" Type="http://schemas.openxmlformats.org/officeDocument/2006/relationships/tags" Target="../tags/tag597.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14.png"/></Relationships>
</file>

<file path=ppt/slides/_rels/slide66.xml.rels><?xml version="1.0" encoding="UTF-8" standalone="yes"?>
<Relationships xmlns="http://schemas.openxmlformats.org/package/2006/relationships"><Relationship Id="rId8" Type="http://schemas.openxmlformats.org/officeDocument/2006/relationships/slideLayout" Target="../slideLayouts/slideLayout1.xml"/><Relationship Id="rId7" Type="http://schemas.openxmlformats.org/officeDocument/2006/relationships/tags" Target="../tags/tag612.xml"/><Relationship Id="rId6" Type="http://schemas.openxmlformats.org/officeDocument/2006/relationships/image" Target="../media/image15.png"/><Relationship Id="rId5" Type="http://schemas.openxmlformats.org/officeDocument/2006/relationships/tags" Target="../tags/tag611.xml"/><Relationship Id="rId4" Type="http://schemas.openxmlformats.org/officeDocument/2006/relationships/tags" Target="../tags/tag610.xml"/><Relationship Id="rId3" Type="http://schemas.openxmlformats.org/officeDocument/2006/relationships/tags" Target="../tags/tag609.xml"/><Relationship Id="rId2" Type="http://schemas.openxmlformats.org/officeDocument/2006/relationships/tags" Target="../tags/tag608.xml"/><Relationship Id="rId1" Type="http://schemas.openxmlformats.org/officeDocument/2006/relationships/tags" Target="../tags/tag607.xml"/></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image" Target="../media/image7.png"/><Relationship Id="rId1" Type="http://schemas.openxmlformats.org/officeDocument/2006/relationships/image" Target="../media/image6.png"/></Relationships>
</file>

<file path=ppt/slides/_rels/slide7.xml.rels><?xml version="1.0" encoding="UTF-8" standalone="yes"?>
<Relationships xmlns="http://schemas.openxmlformats.org/package/2006/relationships"><Relationship Id="rId9" Type="http://schemas.openxmlformats.org/officeDocument/2006/relationships/tags" Target="../tags/tag42.xml"/><Relationship Id="rId8" Type="http://schemas.openxmlformats.org/officeDocument/2006/relationships/tags" Target="../tags/tag41.xml"/><Relationship Id="rId7" Type="http://schemas.openxmlformats.org/officeDocument/2006/relationships/tags" Target="../tags/tag40.xml"/><Relationship Id="rId6" Type="http://schemas.openxmlformats.org/officeDocument/2006/relationships/tags" Target="../tags/tag39.xml"/><Relationship Id="rId5" Type="http://schemas.openxmlformats.org/officeDocument/2006/relationships/tags" Target="../tags/tag38.xml"/><Relationship Id="rId4" Type="http://schemas.openxmlformats.org/officeDocument/2006/relationships/tags" Target="../tags/tag37.xml"/><Relationship Id="rId3" Type="http://schemas.openxmlformats.org/officeDocument/2006/relationships/tags" Target="../tags/tag36.xml"/><Relationship Id="rId2" Type="http://schemas.openxmlformats.org/officeDocument/2006/relationships/tags" Target="../tags/tag35.xml"/><Relationship Id="rId11" Type="http://schemas.openxmlformats.org/officeDocument/2006/relationships/notesSlide" Target="../notesSlides/notesSlide6.xml"/><Relationship Id="rId10" Type="http://schemas.openxmlformats.org/officeDocument/2006/relationships/slideLayout" Target="../slideLayouts/slideLayout1.xml"/><Relationship Id="rId1" Type="http://schemas.openxmlformats.org/officeDocument/2006/relationships/tags" Target="../tags/tag34.xml"/></Relationships>
</file>

<file path=ppt/slides/_rels/slide8.xml.rels><?xml version="1.0" encoding="UTF-8" standalone="yes"?>
<Relationships xmlns="http://schemas.openxmlformats.org/package/2006/relationships"><Relationship Id="rId7" Type="http://schemas.openxmlformats.org/officeDocument/2006/relationships/slideLayout" Target="../slideLayouts/slideLayout1.xml"/><Relationship Id="rId6" Type="http://schemas.openxmlformats.org/officeDocument/2006/relationships/tags" Target="../tags/tag48.xml"/><Relationship Id="rId5" Type="http://schemas.openxmlformats.org/officeDocument/2006/relationships/tags" Target="../tags/tag47.xml"/><Relationship Id="rId4" Type="http://schemas.openxmlformats.org/officeDocument/2006/relationships/tags" Target="../tags/tag46.xml"/><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tags" Target="../tags/tag43.xml"/></Relationships>
</file>

<file path=ppt/slides/_rels/slide9.xml.rels><?xml version="1.0" encoding="UTF-8" standalone="yes"?>
<Relationships xmlns="http://schemas.openxmlformats.org/package/2006/relationships"><Relationship Id="rId9" Type="http://schemas.openxmlformats.org/officeDocument/2006/relationships/tags" Target="../tags/tag57.xml"/><Relationship Id="rId8" Type="http://schemas.openxmlformats.org/officeDocument/2006/relationships/tags" Target="../tags/tag56.xml"/><Relationship Id="rId7" Type="http://schemas.openxmlformats.org/officeDocument/2006/relationships/tags" Target="../tags/tag55.xml"/><Relationship Id="rId6" Type="http://schemas.openxmlformats.org/officeDocument/2006/relationships/tags" Target="../tags/tag54.xml"/><Relationship Id="rId5" Type="http://schemas.openxmlformats.org/officeDocument/2006/relationships/tags" Target="../tags/tag53.xml"/><Relationship Id="rId4" Type="http://schemas.openxmlformats.org/officeDocument/2006/relationships/tags" Target="../tags/tag52.xml"/><Relationship Id="rId3" Type="http://schemas.openxmlformats.org/officeDocument/2006/relationships/tags" Target="../tags/tag51.xml"/><Relationship Id="rId2" Type="http://schemas.openxmlformats.org/officeDocument/2006/relationships/tags" Target="../tags/tag50.xml"/><Relationship Id="rId13" Type="http://schemas.openxmlformats.org/officeDocument/2006/relationships/notesSlide" Target="../notesSlides/notesSlide7.xml"/><Relationship Id="rId12" Type="http://schemas.openxmlformats.org/officeDocument/2006/relationships/slideLayout" Target="../slideLayouts/slideLayout1.xml"/><Relationship Id="rId11" Type="http://schemas.openxmlformats.org/officeDocument/2006/relationships/tags" Target="../tags/tag59.xml"/><Relationship Id="rId10" Type="http://schemas.openxmlformats.org/officeDocument/2006/relationships/tags" Target="../tags/tag58.xml"/><Relationship Id="rId1" Type="http://schemas.openxmlformats.org/officeDocument/2006/relationships/tags" Target="../tags/tag4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3963955" y="1296955"/>
            <a:ext cx="4264090" cy="4264090"/>
          </a:xfrm>
          <a:prstGeom prst="ellipse">
            <a:avLst/>
          </a:prstGeom>
          <a:noFill/>
          <a:ln w="28575">
            <a:solidFill>
              <a:srgbClr val="A1A2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椭圆 2"/>
          <p:cNvSpPr/>
          <p:nvPr/>
        </p:nvSpPr>
        <p:spPr>
          <a:xfrm>
            <a:off x="6789895" y="1211178"/>
            <a:ext cx="848717" cy="848717"/>
          </a:xfrm>
          <a:prstGeom prst="ellipse">
            <a:avLst/>
          </a:prstGeom>
          <a:solidFill>
            <a:srgbClr val="F3F4EE"/>
          </a:solidFill>
          <a:ln w="19050">
            <a:solidFill>
              <a:srgbClr val="A1A2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6934374" y="1355657"/>
            <a:ext cx="559761" cy="559761"/>
          </a:xfrm>
          <a:prstGeom prst="rect">
            <a:avLst/>
          </a:prstGeom>
        </p:spPr>
      </p:pic>
      <p:sp>
        <p:nvSpPr>
          <p:cNvPr id="6" name="矩形 5"/>
          <p:cNvSpPr/>
          <p:nvPr/>
        </p:nvSpPr>
        <p:spPr>
          <a:xfrm>
            <a:off x="3463925" y="2408662"/>
            <a:ext cx="5264150" cy="768350"/>
          </a:xfrm>
          <a:prstGeom prst="rect">
            <a:avLst/>
          </a:prstGeom>
        </p:spPr>
        <p:txBody>
          <a:bodyPr wrap="none">
            <a:spAutoFit/>
          </a:bodyPr>
          <a:lstStyle/>
          <a:p>
            <a:pPr algn="ctr"/>
            <a:r>
              <a:rPr sz="4400" b="1">
                <a:solidFill>
                  <a:srgbClr val="3891EE"/>
                </a:solidFill>
                <a:latin typeface="微软雅黑" panose="020B0503020204020204" charset="-122"/>
                <a:ea typeface="微软雅黑" panose="020B0503020204020204" charset="-122"/>
              </a:rPr>
              <a:t>web前端响应式开发</a:t>
            </a:r>
            <a:endParaRPr sz="4400" b="1">
              <a:solidFill>
                <a:srgbClr val="3891EE"/>
              </a:solidFill>
              <a:latin typeface="微软雅黑" panose="020B0503020204020204" charset="-122"/>
              <a:ea typeface="微软雅黑" panose="020B0503020204020204" charset="-122"/>
            </a:endParaRPr>
          </a:p>
        </p:txBody>
      </p:sp>
      <p:cxnSp>
        <p:nvCxnSpPr>
          <p:cNvPr id="9" name="直接连接符 8"/>
          <p:cNvCxnSpPr/>
          <p:nvPr/>
        </p:nvCxnSpPr>
        <p:spPr>
          <a:xfrm>
            <a:off x="4330056" y="3345896"/>
            <a:ext cx="3551048" cy="0"/>
          </a:xfrm>
          <a:prstGeom prst="line">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pic>
        <p:nvPicPr>
          <p:cNvPr id="8" name="图片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10679" y="3705013"/>
            <a:ext cx="1584829" cy="694887"/>
          </a:xfrm>
          <a:prstGeom prst="rect">
            <a:avLst/>
          </a:prstGeom>
        </p:spPr>
      </p:pic>
      <p:sp>
        <p:nvSpPr>
          <p:cNvPr id="15" name="文本占位符 3"/>
          <p:cNvSpPr txBox="1"/>
          <p:nvPr>
            <p:custDataLst>
              <p:tags r:id="rId3"/>
            </p:custDataLst>
          </p:nvPr>
        </p:nvSpPr>
        <p:spPr>
          <a:xfrm>
            <a:off x="7400925" y="5703570"/>
            <a:ext cx="4538980" cy="652780"/>
          </a:xfrm>
          <a:prstGeom prst="rect">
            <a:avLst/>
          </a:prstGeom>
          <a:ln>
            <a:solidFill>
              <a:schemeClr val="bg1">
                <a:lumMod val="95000"/>
              </a:schemeClr>
            </a:solidFill>
            <a:prstDash val="sysDash"/>
          </a:ln>
        </p:spPr>
        <p:txBody>
          <a:bodyPr vert="horz" lIns="91440" tIns="45720" rIns="91440" bIns="45720" rtlCol="0" anchor="ctr" anchorCtr="0">
            <a:normAutofit/>
          </a:bodyPr>
          <a:lstStyle>
            <a:defPPr>
              <a:defRPr lang="zh-CN"/>
            </a:defPPr>
            <a:lvl1pPr indent="0">
              <a:lnSpc>
                <a:spcPct val="90000"/>
              </a:lnSpc>
              <a:spcBef>
                <a:spcPts val="1000"/>
              </a:spcBef>
              <a:buFont typeface="Wingdings" panose="05000000000000000000" pitchFamily="2" charset="2"/>
              <a:buNone/>
              <a:defRPr sz="280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zh-CN" dirty="0" smtClean="0"/>
              <a:t>主讲人：严毅力</a:t>
            </a:r>
            <a:endParaRPr lang="zh-CN" dirty="0" smtClean="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 name="矩形 5"/>
          <p:cNvSpPr/>
          <p:nvPr>
            <p:custDataLst>
              <p:tags r:id="rId1"/>
            </p:custDataLst>
          </p:nvPr>
        </p:nvSpPr>
        <p:spPr>
          <a:xfrm>
            <a:off x="5219700" y="1595438"/>
            <a:ext cx="4424363" cy="3667125"/>
          </a:xfrm>
          <a:prstGeom prst="rect">
            <a:avLst/>
          </a:prstGeom>
          <a:noFill/>
          <a:ln>
            <a:solidFill>
              <a:srgbClr val="FFFFFF">
                <a:lumMod val="85000"/>
              </a:srgbClr>
            </a:solidFill>
          </a:ln>
        </p:spPr>
        <p:style>
          <a:lnRef idx="2">
            <a:srgbClr val="1E6BC5">
              <a:shade val="50000"/>
            </a:srgbClr>
          </a:lnRef>
          <a:fillRef idx="1">
            <a:srgbClr val="1E6BC5"/>
          </a:fillRef>
          <a:effectRef idx="0">
            <a:srgbClr val="1E6BC5"/>
          </a:effectRef>
          <a:fontRef idx="minor">
            <a:srgbClr val="FFFFFF"/>
          </a:fontRef>
        </p:style>
        <p:txBody>
          <a:bodyPr rtlCol="0" anchor="ctr"/>
          <a:p>
            <a:pPr algn="ctr" fontAlgn="base"/>
            <a:endParaRPr lang="zh-CN" altLang="en-US" sz="1350" strike="noStrike" noProof="1"/>
          </a:p>
        </p:txBody>
      </p:sp>
      <p:sp>
        <p:nvSpPr>
          <p:cNvPr id="8" name="矩形 7"/>
          <p:cNvSpPr/>
          <p:nvPr>
            <p:custDataLst>
              <p:tags r:id="rId2"/>
            </p:custDataLst>
          </p:nvPr>
        </p:nvSpPr>
        <p:spPr>
          <a:xfrm>
            <a:off x="1955800" y="1371600"/>
            <a:ext cx="4114800" cy="4114800"/>
          </a:xfrm>
          <a:prstGeom prst="rect">
            <a:avLst/>
          </a:prstGeom>
          <a:pattFill prst="dkUpDiag">
            <a:fgClr>
              <a:srgbClr val="FFFFFF">
                <a:lumMod val="85000"/>
              </a:srgbClr>
            </a:fgClr>
            <a:bgClr>
              <a:srgbClr val="FFFFFF">
                <a:lumMod val="75000"/>
              </a:srgbClr>
            </a:bgClr>
          </a:pattFill>
          <a:ln>
            <a:noFill/>
          </a:ln>
        </p:spPr>
        <p:style>
          <a:lnRef idx="2">
            <a:srgbClr val="1E6BC5">
              <a:shade val="50000"/>
            </a:srgbClr>
          </a:lnRef>
          <a:fillRef idx="1">
            <a:srgbClr val="1E6BC5"/>
          </a:fillRef>
          <a:effectRef idx="0">
            <a:srgbClr val="1E6BC5"/>
          </a:effectRef>
          <a:fontRef idx="minor">
            <a:srgbClr val="FFFFFF"/>
          </a:fontRef>
        </p:style>
        <p:txBody>
          <a:bodyPr rtlCol="0" anchor="ctr"/>
          <a:p>
            <a:pPr algn="ctr" fontAlgn="base"/>
            <a:endParaRPr lang="zh-CN" altLang="en-US" sz="1350" strike="noStrike" noProof="1"/>
          </a:p>
        </p:txBody>
      </p:sp>
      <p:sp>
        <p:nvSpPr>
          <p:cNvPr id="10" name="矩形 9"/>
          <p:cNvSpPr/>
          <p:nvPr>
            <p:custDataLst>
              <p:tags r:id="rId3"/>
            </p:custDataLst>
          </p:nvPr>
        </p:nvSpPr>
        <p:spPr>
          <a:xfrm>
            <a:off x="3149600" y="1736725"/>
            <a:ext cx="6296025" cy="3384550"/>
          </a:xfrm>
          <a:prstGeom prst="rect">
            <a:avLst/>
          </a:prstGeom>
          <a:solidFill>
            <a:srgbClr val="FFFFFF">
              <a:lumMod val="95000"/>
              <a:alpha val="94000"/>
            </a:srgbClr>
          </a:solidFill>
          <a:ln>
            <a:noFill/>
          </a:ln>
        </p:spPr>
        <p:style>
          <a:lnRef idx="2">
            <a:srgbClr val="1E6BC5">
              <a:shade val="50000"/>
            </a:srgbClr>
          </a:lnRef>
          <a:fillRef idx="1">
            <a:srgbClr val="1E6BC5"/>
          </a:fillRef>
          <a:effectRef idx="0">
            <a:srgbClr val="1E6BC5"/>
          </a:effectRef>
          <a:fontRef idx="minor">
            <a:srgbClr val="FFFFFF"/>
          </a:fontRef>
        </p:style>
        <p:txBody>
          <a:bodyPr rtlCol="0" anchor="ctr"/>
          <a:p>
            <a:pPr algn="ctr" fontAlgn="base"/>
            <a:endParaRPr lang="zh-CN" altLang="en-US" sz="1350" strike="noStrike" noProof="1"/>
          </a:p>
        </p:txBody>
      </p:sp>
      <p:sp>
        <p:nvSpPr>
          <p:cNvPr id="12" name="矩形 11"/>
          <p:cNvSpPr/>
          <p:nvPr>
            <p:custDataLst>
              <p:tags r:id="rId4"/>
            </p:custDataLst>
          </p:nvPr>
        </p:nvSpPr>
        <p:spPr>
          <a:xfrm>
            <a:off x="9545638" y="1501775"/>
            <a:ext cx="196850" cy="196850"/>
          </a:xfrm>
          <a:prstGeom prst="rect">
            <a:avLst/>
          </a:prstGeom>
          <a:solidFill>
            <a:srgbClr val="E7E6E6">
              <a:lumMod val="75000"/>
            </a:srgbClr>
          </a:solidFill>
          <a:ln>
            <a:noFill/>
          </a:ln>
        </p:spPr>
        <p:style>
          <a:lnRef idx="2">
            <a:srgbClr val="1E6BC5">
              <a:shade val="50000"/>
            </a:srgbClr>
          </a:lnRef>
          <a:fillRef idx="1">
            <a:srgbClr val="1E6BC5"/>
          </a:fillRef>
          <a:effectRef idx="0">
            <a:srgbClr val="1E6BC5"/>
          </a:effectRef>
          <a:fontRef idx="minor">
            <a:srgbClr val="FFFFFF"/>
          </a:fontRef>
        </p:style>
        <p:txBody>
          <a:bodyPr rtlCol="0" anchor="ctr"/>
          <a:p>
            <a:pPr algn="ctr" fontAlgn="base"/>
            <a:endParaRPr lang="zh-CN" altLang="en-US" sz="1350" strike="noStrike" noProof="1"/>
          </a:p>
        </p:txBody>
      </p:sp>
      <p:sp>
        <p:nvSpPr>
          <p:cNvPr id="13" name="文本框 12"/>
          <p:cNvSpPr txBox="1"/>
          <p:nvPr>
            <p:custDataLst>
              <p:tags r:id="rId5"/>
            </p:custDataLst>
          </p:nvPr>
        </p:nvSpPr>
        <p:spPr>
          <a:xfrm>
            <a:off x="3315335" y="2311400"/>
            <a:ext cx="6185535" cy="1220470"/>
          </a:xfrm>
          <a:prstGeom prst="rect">
            <a:avLst/>
          </a:prstGeom>
          <a:noFill/>
        </p:spPr>
        <p:txBody>
          <a:bodyPr wrap="square" lIns="76200" tIns="0" rIns="61912" bIns="0" rtlCol="0">
            <a:noAutofit/>
          </a:bodyPr>
          <a:lstStyle>
            <a:defPPr>
              <a:defRPr lang="zh-CN"/>
            </a:defPPr>
            <a:lvl1pPr fontAlgn="auto">
              <a:lnSpc>
                <a:spcPct val="130000"/>
              </a:lnSpc>
              <a:spcAft>
                <a:spcPts val="1000"/>
              </a:spcAft>
              <a:defRPr sz="1600" spc="150"/>
            </a:lvl1pPr>
          </a:lstStyle>
          <a:p>
            <a:pPr algn="l" fontAlgn="ctr">
              <a:lnSpc>
                <a:spcPct val="130000"/>
              </a:lnSpc>
              <a:spcBef>
                <a:spcPts val="1000"/>
              </a:spcBef>
              <a:spcAft>
                <a:spcPts val="0"/>
              </a:spcAft>
              <a:buSzPct val="100000"/>
              <a:buFont typeface="WPS-Bullets" pitchFamily="2" charset="0"/>
            </a:pPr>
            <a:r>
              <a:rPr sz="2000" strike="noStrike" noProof="1" dirty="0">
                <a:solidFill>
                  <a:schemeClr val="tx1"/>
                </a:solidFill>
                <a:effectLst>
                  <a:outerShdw blurRad="38100" dist="19050" dir="2700000" algn="tl" rotWithShape="0">
                    <a:schemeClr val="dk1">
                      <a:alpha val="40000"/>
                    </a:schemeClr>
                  </a:outerShdw>
                </a:effectLst>
                <a:uFillTx/>
                <a:latin typeface="微软雅黑 Light" panose="020B0502040204020203" pitchFamily="34" charset="-122"/>
                <a:ea typeface="微软雅黑 Light" panose="020B0502040204020203" pitchFamily="34" charset="-122"/>
                <a:cs typeface="+mn-cs"/>
                <a:sym typeface="+mn-ea"/>
              </a:rPr>
              <a:t>当浏览器读到一个样式表，它就会按照这个样式表来对文档进行格式化。有以下三种方式来插入样式表：</a:t>
            </a:r>
            <a:endParaRPr sz="2000" strike="noStrike" noProof="1" dirty="0">
              <a:solidFill>
                <a:schemeClr val="tx1"/>
              </a:solidFill>
              <a:effectLst>
                <a:outerShdw blurRad="38100" dist="19050" dir="2700000" algn="tl" rotWithShape="0">
                  <a:schemeClr val="dk1">
                    <a:alpha val="40000"/>
                  </a:schemeClr>
                </a:outerShdw>
              </a:effectLst>
              <a:uFillTx/>
              <a:latin typeface="微软雅黑 Light" panose="020B0502040204020203" pitchFamily="34" charset="-122"/>
              <a:ea typeface="微软雅黑 Light" panose="020B0502040204020203" pitchFamily="34" charset="-122"/>
              <a:sym typeface="+mn-ea"/>
            </a:endParaRPr>
          </a:p>
          <a:p>
            <a:pPr algn="l" fontAlgn="ctr">
              <a:lnSpc>
                <a:spcPct val="130000"/>
              </a:lnSpc>
              <a:spcBef>
                <a:spcPts val="1000"/>
              </a:spcBef>
              <a:spcAft>
                <a:spcPts val="0"/>
              </a:spcAft>
              <a:buSzPct val="100000"/>
              <a:buFont typeface="WPS-Bullets" pitchFamily="2" charset="0"/>
            </a:pPr>
            <a:endParaRPr sz="2000" strike="noStrike" noProof="1" dirty="0">
              <a:solidFill>
                <a:schemeClr val="tx1"/>
              </a:solidFill>
              <a:effectLst>
                <a:outerShdw blurRad="38100" dist="19050" dir="2700000" algn="tl" rotWithShape="0">
                  <a:schemeClr val="dk1">
                    <a:alpha val="40000"/>
                  </a:schemeClr>
                </a:outerShdw>
              </a:effectLst>
              <a:uFillTx/>
              <a:latin typeface="微软雅黑 Light" panose="020B0502040204020203" pitchFamily="34" charset="-122"/>
              <a:ea typeface="微软雅黑 Light" panose="020B0502040204020203" pitchFamily="34" charset="-122"/>
              <a:sym typeface="+mn-ea"/>
            </a:endParaRPr>
          </a:p>
        </p:txBody>
      </p:sp>
      <p:sp>
        <p:nvSpPr>
          <p:cNvPr id="14" name="文本框 13"/>
          <p:cNvSpPr txBox="1"/>
          <p:nvPr>
            <p:custDataLst>
              <p:tags r:id="rId6"/>
            </p:custDataLst>
          </p:nvPr>
        </p:nvSpPr>
        <p:spPr>
          <a:xfrm>
            <a:off x="3314700" y="1870075"/>
            <a:ext cx="5324475" cy="441325"/>
          </a:xfrm>
          <a:prstGeom prst="rect">
            <a:avLst/>
          </a:prstGeom>
          <a:noFill/>
        </p:spPr>
        <p:txBody>
          <a:bodyPr wrap="none" lIns="76200" tIns="28575" rIns="47625" bIns="28575" rtlCol="0">
            <a:noAutofit/>
          </a:bodyPr>
          <a:lstStyle/>
          <a:p>
            <a:pPr>
              <a:spcBef>
                <a:spcPts val="0"/>
              </a:spcBef>
              <a:spcAft>
                <a:spcPts val="0"/>
              </a:spcAft>
            </a:pPr>
            <a:r>
              <a:rPr lang="en-US" altLang="zh-CN" sz="2700" b="1" spc="300" noProof="1" dirty="0">
                <a:solidFill>
                  <a:srgbClr val="000000">
                    <a:lumMod val="75000"/>
                    <a:lumOff val="25000"/>
                  </a:srgbClr>
                </a:solidFill>
                <a:latin typeface="Arial" panose="020B0604020202020204" pitchFamily="34" charset="0"/>
                <a:ea typeface="微软雅黑" panose="020B0503020204020204" charset="-122"/>
                <a:cs typeface="+mn-cs"/>
              </a:rPr>
              <a:t>css</a:t>
            </a:r>
            <a:endParaRPr lang="en-US" altLang="zh-CN" sz="2700" b="1" spc="300" noProof="1" dirty="0">
              <a:solidFill>
                <a:srgbClr val="000000">
                  <a:lumMod val="75000"/>
                  <a:lumOff val="25000"/>
                </a:srgbClr>
              </a:solidFill>
              <a:latin typeface="Arial" panose="020B0604020202020204" pitchFamily="34" charset="0"/>
              <a:ea typeface="微软雅黑" panose="020B0503020204020204" charset="-122"/>
            </a:endParaRPr>
          </a:p>
        </p:txBody>
      </p:sp>
      <p:sp>
        <p:nvSpPr>
          <p:cNvPr id="2" name="文本框 1"/>
          <p:cNvSpPr txBox="1"/>
          <p:nvPr>
            <p:custDataLst>
              <p:tags r:id="rId7"/>
            </p:custDataLst>
          </p:nvPr>
        </p:nvSpPr>
        <p:spPr>
          <a:xfrm>
            <a:off x="3314700" y="3590925"/>
            <a:ext cx="6186488" cy="1600200"/>
          </a:xfrm>
          <a:prstGeom prst="rect">
            <a:avLst/>
          </a:prstGeom>
          <a:noFill/>
        </p:spPr>
        <p:txBody>
          <a:bodyPr wrap="square" lIns="76200" tIns="0" rIns="61912" bIns="0" rtlCol="0">
            <a:noAutofit/>
          </a:bodyPr>
          <a:lstStyle>
            <a:defPPr>
              <a:defRPr lang="zh-CN"/>
            </a:defPPr>
            <a:lvl1pPr fontAlgn="auto">
              <a:lnSpc>
                <a:spcPct val="130000"/>
              </a:lnSpc>
              <a:spcAft>
                <a:spcPts val="1000"/>
              </a:spcAft>
              <a:defRPr sz="1600" spc="150"/>
            </a:lvl1pPr>
          </a:lstStyle>
          <a:p>
            <a:pPr algn="l" fontAlgn="ctr">
              <a:lnSpc>
                <a:spcPct val="130000"/>
              </a:lnSpc>
              <a:spcBef>
                <a:spcPts val="1000"/>
              </a:spcBef>
              <a:spcAft>
                <a:spcPts val="0"/>
              </a:spcAft>
              <a:buSzPct val="100000"/>
              <a:buFont typeface="WPS-Bullets" pitchFamily="2" charset="0"/>
            </a:pPr>
            <a:r>
              <a:rPr sz="2000" strike="noStrike" noProof="1" dirty="0">
                <a:solidFill>
                  <a:schemeClr val="tx1"/>
                </a:solidFill>
                <a:effectLst>
                  <a:outerShdw blurRad="38100" dist="19050" dir="2700000" algn="tl" rotWithShape="0">
                    <a:schemeClr val="dk1">
                      <a:alpha val="40000"/>
                    </a:schemeClr>
                  </a:outerShdw>
                </a:effectLst>
                <a:uFillTx/>
                <a:latin typeface="微软雅黑 Light" panose="020B0502040204020203" pitchFamily="34" charset="-122"/>
                <a:ea typeface="微软雅黑 Light" panose="020B0502040204020203" pitchFamily="34" charset="-122"/>
                <a:cs typeface="+mn-cs"/>
                <a:sym typeface="+mn-ea"/>
              </a:rPr>
              <a:t>外部样式表</a:t>
            </a:r>
            <a:endParaRPr sz="2000" strike="noStrike" noProof="1" dirty="0">
              <a:solidFill>
                <a:schemeClr val="tx1"/>
              </a:solidFill>
              <a:effectLst>
                <a:outerShdw blurRad="38100" dist="19050" dir="2700000" algn="tl" rotWithShape="0">
                  <a:schemeClr val="dk1">
                    <a:alpha val="40000"/>
                  </a:schemeClr>
                </a:outerShdw>
              </a:effectLst>
              <a:uFillTx/>
              <a:latin typeface="微软雅黑 Light" panose="020B0502040204020203" pitchFamily="34" charset="-122"/>
              <a:ea typeface="微软雅黑 Light" panose="020B0502040204020203" pitchFamily="34" charset="-122"/>
              <a:sym typeface="+mn-ea"/>
            </a:endParaRPr>
          </a:p>
          <a:p>
            <a:pPr algn="l" fontAlgn="ctr">
              <a:lnSpc>
                <a:spcPct val="130000"/>
              </a:lnSpc>
              <a:spcBef>
                <a:spcPts val="1000"/>
              </a:spcBef>
              <a:spcAft>
                <a:spcPts val="0"/>
              </a:spcAft>
              <a:buSzPct val="100000"/>
              <a:buFont typeface="WPS-Bullets" pitchFamily="2" charset="0"/>
            </a:pPr>
            <a:r>
              <a:rPr sz="2000" strike="noStrike" noProof="1" dirty="0">
                <a:solidFill>
                  <a:schemeClr val="tx1"/>
                </a:solidFill>
                <a:effectLst>
                  <a:outerShdw blurRad="38100" dist="19050" dir="2700000" algn="tl" rotWithShape="0">
                    <a:schemeClr val="dk1">
                      <a:alpha val="40000"/>
                    </a:schemeClr>
                  </a:outerShdw>
                </a:effectLst>
                <a:uFillTx/>
                <a:latin typeface="微软雅黑 Light" panose="020B0502040204020203" pitchFamily="34" charset="-122"/>
                <a:ea typeface="微软雅黑 Light" panose="020B0502040204020203" pitchFamily="34" charset="-122"/>
                <a:cs typeface="+mn-cs"/>
                <a:sym typeface="+mn-ea"/>
              </a:rPr>
              <a:t>内部样式表（位于 &lt;head&gt; 标签内部）</a:t>
            </a:r>
            <a:endParaRPr sz="2000" strike="noStrike" noProof="1" dirty="0">
              <a:solidFill>
                <a:schemeClr val="tx1"/>
              </a:solidFill>
              <a:effectLst>
                <a:outerShdw blurRad="38100" dist="19050" dir="2700000" algn="tl" rotWithShape="0">
                  <a:schemeClr val="dk1">
                    <a:alpha val="40000"/>
                  </a:schemeClr>
                </a:outerShdw>
              </a:effectLst>
              <a:uFillTx/>
              <a:latin typeface="微软雅黑 Light" panose="020B0502040204020203" pitchFamily="34" charset="-122"/>
              <a:ea typeface="微软雅黑 Light" panose="020B0502040204020203" pitchFamily="34" charset="-122"/>
              <a:sym typeface="+mn-ea"/>
            </a:endParaRPr>
          </a:p>
          <a:p>
            <a:pPr algn="l" fontAlgn="ctr">
              <a:lnSpc>
                <a:spcPct val="130000"/>
              </a:lnSpc>
              <a:spcBef>
                <a:spcPts val="1000"/>
              </a:spcBef>
              <a:spcAft>
                <a:spcPts val="0"/>
              </a:spcAft>
              <a:buSzPct val="100000"/>
              <a:buFont typeface="WPS-Bullets" pitchFamily="2" charset="0"/>
            </a:pPr>
            <a:r>
              <a:rPr sz="2000" strike="noStrike" noProof="1" dirty="0">
                <a:solidFill>
                  <a:schemeClr val="tx1"/>
                </a:solidFill>
                <a:effectLst>
                  <a:outerShdw blurRad="38100" dist="19050" dir="2700000" algn="tl" rotWithShape="0">
                    <a:schemeClr val="dk1">
                      <a:alpha val="40000"/>
                    </a:schemeClr>
                  </a:outerShdw>
                </a:effectLst>
                <a:uFillTx/>
                <a:latin typeface="微软雅黑 Light" panose="020B0502040204020203" pitchFamily="34" charset="-122"/>
                <a:ea typeface="微软雅黑 Light" panose="020B0502040204020203" pitchFamily="34" charset="-122"/>
                <a:cs typeface="+mn-cs"/>
                <a:sym typeface="+mn-ea"/>
              </a:rPr>
              <a:t>内联样式（在 HTML 元素内部）</a:t>
            </a:r>
            <a:endParaRPr sz="2000" strike="noStrike" noProof="1" dirty="0">
              <a:solidFill>
                <a:schemeClr val="tx1"/>
              </a:solidFill>
              <a:effectLst>
                <a:outerShdw blurRad="38100" dist="19050" dir="2700000" algn="tl" rotWithShape="0">
                  <a:schemeClr val="dk1">
                    <a:alpha val="40000"/>
                  </a:schemeClr>
                </a:outerShdw>
              </a:effectLst>
              <a:uFillTx/>
              <a:latin typeface="微软雅黑 Light" panose="020B0502040204020203" pitchFamily="34" charset="-122"/>
              <a:ea typeface="微软雅黑 Light" panose="020B0502040204020203" pitchFamily="34" charset="-122"/>
              <a:sym typeface="+mn-ea"/>
            </a:endParaRPr>
          </a:p>
          <a:p>
            <a:pPr algn="l" fontAlgn="ctr">
              <a:lnSpc>
                <a:spcPct val="130000"/>
              </a:lnSpc>
              <a:spcBef>
                <a:spcPts val="1000"/>
              </a:spcBef>
              <a:spcAft>
                <a:spcPts val="0"/>
              </a:spcAft>
              <a:buSzPct val="100000"/>
              <a:buFont typeface="WPS-Bullets" pitchFamily="2" charset="0"/>
            </a:pPr>
            <a:endParaRPr sz="2000" strike="noStrike" noProof="1" dirty="0">
              <a:solidFill>
                <a:schemeClr val="tx1"/>
              </a:solidFill>
              <a:effectLst>
                <a:outerShdw blurRad="38100" dist="19050" dir="2700000" algn="tl" rotWithShape="0">
                  <a:schemeClr val="dk1">
                    <a:alpha val="40000"/>
                  </a:schemeClr>
                </a:outerShdw>
              </a:effectLst>
              <a:uFillTx/>
              <a:latin typeface="微软雅黑 Light" panose="020B0502040204020203" pitchFamily="34" charset="-122"/>
              <a:ea typeface="微软雅黑 Light" panose="020B0502040204020203" pitchFamily="34" charset="-122"/>
              <a:sym typeface="+mn-ea"/>
            </a:endParaRPr>
          </a:p>
        </p:txBody>
      </p:sp>
    </p:spTree>
    <p:custDataLst>
      <p:tags r:id="rId8"/>
    </p:custData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任意多边形: 形状 89"/>
          <p:cNvSpPr/>
          <p:nvPr>
            <p:custDataLst>
              <p:tags r:id="rId1"/>
            </p:custDataLst>
          </p:nvPr>
        </p:nvSpPr>
        <p:spPr>
          <a:xfrm>
            <a:off x="1736806" y="1452674"/>
            <a:ext cx="9101599" cy="4499877"/>
          </a:xfrm>
          <a:custGeom>
            <a:avLst/>
            <a:gdLst>
              <a:gd name="connsiteX0" fmla="*/ 8838074 w 9101599"/>
              <a:gd name="connsiteY0" fmla="*/ 0 h 4499877"/>
              <a:gd name="connsiteX1" fmla="*/ 9101599 w 9101599"/>
              <a:gd name="connsiteY1" fmla="*/ 0 h 4499877"/>
              <a:gd name="connsiteX2" fmla="*/ 9101599 w 9101599"/>
              <a:gd name="connsiteY2" fmla="*/ 4499877 h 4499877"/>
              <a:gd name="connsiteX3" fmla="*/ 0 w 9101599"/>
              <a:gd name="connsiteY3" fmla="*/ 4499877 h 4499877"/>
              <a:gd name="connsiteX4" fmla="*/ 0 w 9101599"/>
              <a:gd name="connsiteY4" fmla="*/ 4281627 h 4499877"/>
              <a:gd name="connsiteX5" fmla="*/ 8838074 w 9101599"/>
              <a:gd name="connsiteY5" fmla="*/ 4281627 h 4499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01599" h="4499877">
                <a:moveTo>
                  <a:pt x="8838074" y="0"/>
                </a:moveTo>
                <a:lnTo>
                  <a:pt x="9101599" y="0"/>
                </a:lnTo>
                <a:lnTo>
                  <a:pt x="9101599" y="4499877"/>
                </a:lnTo>
                <a:lnTo>
                  <a:pt x="0" y="4499877"/>
                </a:lnTo>
                <a:lnTo>
                  <a:pt x="0" y="4281627"/>
                </a:lnTo>
                <a:lnTo>
                  <a:pt x="8838074" y="4281627"/>
                </a:ln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sz="1600" b="1" dirty="0">
              <a:solidFill>
                <a:schemeClr val="bg1"/>
              </a:solidFill>
              <a:latin typeface="+mn-ea"/>
            </a:endParaRPr>
          </a:p>
        </p:txBody>
      </p:sp>
      <p:sp>
        <p:nvSpPr>
          <p:cNvPr id="91" name="矩形 90"/>
          <p:cNvSpPr/>
          <p:nvPr>
            <p:custDataLst>
              <p:tags r:id="rId2"/>
            </p:custDataLst>
          </p:nvPr>
        </p:nvSpPr>
        <p:spPr>
          <a:xfrm>
            <a:off x="1473281" y="1123698"/>
            <a:ext cx="9101599" cy="4610603"/>
          </a:xfrm>
          <a:prstGeom prst="rect">
            <a:avLst/>
          </a:prstGeom>
          <a:solidFill>
            <a:schemeClr val="bg1"/>
          </a:solidFill>
          <a:ln w="508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600" b="1" dirty="0">
              <a:solidFill>
                <a:schemeClr val="bg1"/>
              </a:solidFill>
              <a:latin typeface="+mn-ea"/>
            </a:endParaRPr>
          </a:p>
        </p:txBody>
      </p:sp>
      <p:sp>
        <p:nvSpPr>
          <p:cNvPr id="2" name="文本框 1"/>
          <p:cNvSpPr txBox="1"/>
          <p:nvPr>
            <p:custDataLst>
              <p:tags r:id="rId3"/>
            </p:custDataLst>
          </p:nvPr>
        </p:nvSpPr>
        <p:spPr>
          <a:xfrm>
            <a:off x="1962294" y="2731166"/>
            <a:ext cx="8185215" cy="2258365"/>
          </a:xfrm>
          <a:prstGeom prst="rect">
            <a:avLst/>
          </a:prstGeom>
          <a:noFill/>
        </p:spPr>
        <p:txBody>
          <a:bodyPr wrap="square" lIns="101600" tIns="0" rIns="82550" bIns="0" rtlCol="0">
            <a:noAutofit/>
          </a:bodyPr>
          <a:lstStyle>
            <a:defPPr>
              <a:defRPr lang="zh-CN"/>
            </a:defPPr>
            <a:lvl1pPr fontAlgn="auto">
              <a:lnSpc>
                <a:spcPct val="130000"/>
              </a:lnSpc>
              <a:spcAft>
                <a:spcPts val="1000"/>
              </a:spcAft>
              <a:defRPr sz="1600" spc="150"/>
            </a:lvl1pPr>
          </a:lstStyle>
          <a:p>
            <a:pPr marL="358775" indent="-358775" fontAlgn="ctr">
              <a:spcBef>
                <a:spcPts val="1000"/>
              </a:spcBef>
              <a:spcAft>
                <a:spcPts val="0"/>
              </a:spcAft>
              <a:buClr>
                <a:schemeClr val="tx1">
                  <a:lumMod val="75000"/>
                  <a:lumOff val="25000"/>
                </a:schemeClr>
              </a:buClr>
              <a:buSzPct val="130000"/>
              <a:buFont typeface="+mj-lt"/>
              <a:buAutoNum type="arabicPeriod"/>
            </a:pPr>
            <a:r>
              <a:rPr lang="zh-CN" altLang="en-US"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sym typeface="+mn-ea"/>
              </a:rPr>
              <a:t>当样式需要应用于很多页面时，外部样式表将是理想的选择。在使用外部样式表的情况下，你可以通过改变一个文件来改变整个站点的外观。每个页面使用 &lt;link&gt; 标签链接到样式表。&lt;link&gt; 标签在（文档的）头部：</a:t>
            </a:r>
            <a:endParaRPr lang="zh-CN" altLang="en-US" spc="150"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1">
                  <a:lumMod val="75000"/>
                  <a:lumOff val="25000"/>
                </a:schemeClr>
              </a:buClr>
              <a:buSzPct val="130000"/>
              <a:buFont typeface="+mj-lt"/>
              <a:buNone/>
            </a:pPr>
            <a:r>
              <a:rPr lang="zh-CN" altLang="en-US"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sym typeface="+mn-ea"/>
              </a:rPr>
              <a:t>    &lt;head&gt;</a:t>
            </a:r>
            <a:endParaRPr lang="zh-CN" altLang="en-US" spc="150"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1">
                  <a:lumMod val="75000"/>
                  <a:lumOff val="25000"/>
                </a:schemeClr>
              </a:buClr>
              <a:buSzPct val="130000"/>
              <a:buFont typeface="+mj-lt"/>
              <a:buNone/>
            </a:pPr>
            <a:r>
              <a:rPr lang="zh-CN" altLang="en-US"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sym typeface="+mn-ea"/>
              </a:rPr>
              <a:t>      &lt;link rel="stylesheet" type="text/css" href="mystyle.css" /&gt;</a:t>
            </a:r>
            <a:endParaRPr lang="zh-CN" altLang="en-US" spc="150"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1">
                  <a:lumMod val="75000"/>
                  <a:lumOff val="25000"/>
                </a:schemeClr>
              </a:buClr>
              <a:buSzPct val="130000"/>
              <a:buFont typeface="+mj-lt"/>
              <a:buNone/>
            </a:pPr>
            <a:r>
              <a:rPr lang="zh-CN" altLang="en-US"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sym typeface="+mn-ea"/>
              </a:rPr>
              <a:t>    &lt;/head&gt;</a:t>
            </a:r>
            <a:r>
              <a:rPr lang="zh-CN" altLang="en-US" dirty="0">
                <a:solidFill>
                  <a:schemeClr val="tx1">
                    <a:lumMod val="50000"/>
                    <a:lumOff val="50000"/>
                  </a:schemeClr>
                </a:solidFill>
                <a:uFillTx/>
                <a:latin typeface="Arial" panose="020B0604020202020204" pitchFamily="34" charset="0"/>
                <a:ea typeface="微软雅黑" panose="020B0503020204020204" charset="-122"/>
                <a:sym typeface="+mn-ea"/>
              </a:rPr>
              <a:t> </a:t>
            </a:r>
            <a:endParaRPr lang="zh-CN" altLang="en-US" sz="1600" dirty="0">
              <a:solidFill>
                <a:schemeClr val="tx1">
                  <a:lumMod val="50000"/>
                  <a:lumOff val="50000"/>
                </a:schemeClr>
              </a:solidFill>
              <a:uFillTx/>
              <a:latin typeface="Arial" panose="020B0604020202020204" pitchFamily="34" charset="0"/>
              <a:ea typeface="微软雅黑" panose="020B0503020204020204" charset="-122"/>
            </a:endParaRPr>
          </a:p>
        </p:txBody>
      </p:sp>
      <p:sp>
        <p:nvSpPr>
          <p:cNvPr id="11" name="文本框 10"/>
          <p:cNvSpPr txBox="1"/>
          <p:nvPr>
            <p:custDataLst>
              <p:tags r:id="rId4"/>
            </p:custDataLst>
          </p:nvPr>
        </p:nvSpPr>
        <p:spPr>
          <a:xfrm>
            <a:off x="1962294" y="1760696"/>
            <a:ext cx="3632200" cy="624840"/>
          </a:xfrm>
          <a:prstGeom prst="rect">
            <a:avLst/>
          </a:prstGeom>
          <a:noFill/>
        </p:spPr>
        <p:txBody>
          <a:bodyPr wrap="none" lIns="101600" tIns="38100" rIns="63500" bIns="38100" rtlCol="0">
            <a:noAutofit/>
          </a:bodyPr>
          <a:lstStyle/>
          <a:p>
            <a:pPr algn="l"/>
            <a:r>
              <a:rPr lang="zh-CN" altLang="en-US" sz="3600" b="1" spc="300" dirty="0">
                <a:solidFill>
                  <a:schemeClr val="tx1">
                    <a:lumMod val="75000"/>
                    <a:lumOff val="25000"/>
                  </a:schemeClr>
                </a:solidFill>
                <a:uFillTx/>
                <a:latin typeface="Arial" panose="020B0604020202020204" pitchFamily="34" charset="0"/>
                <a:ea typeface="微软雅黑" panose="020B0503020204020204" charset="-122"/>
              </a:rPr>
              <a:t>外部样式表 </a:t>
            </a:r>
            <a:endParaRPr lang="zh-CN" altLang="en-US" sz="3600" b="1" spc="300" dirty="0">
              <a:solidFill>
                <a:schemeClr val="tx1">
                  <a:lumMod val="75000"/>
                  <a:lumOff val="25000"/>
                </a:schemeClr>
              </a:solidFill>
              <a:uFillTx/>
              <a:latin typeface="Arial" panose="020B0604020202020204" pitchFamily="34" charset="0"/>
              <a:ea typeface="微软雅黑" panose="020B0503020204020204" charset="-122"/>
            </a:endParaRPr>
          </a:p>
        </p:txBody>
      </p:sp>
      <p:sp>
        <p:nvSpPr>
          <p:cNvPr id="13" name="矩形 12"/>
          <p:cNvSpPr/>
          <p:nvPr>
            <p:custDataLst>
              <p:tags r:id="rId5"/>
            </p:custDataLst>
          </p:nvPr>
        </p:nvSpPr>
        <p:spPr>
          <a:xfrm>
            <a:off x="2069465" y="1092200"/>
            <a:ext cx="511810" cy="615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600" b="1" dirty="0">
              <a:solidFill>
                <a:schemeClr val="bg1"/>
              </a:solidFill>
              <a:latin typeface="+mn-ea"/>
            </a:endParaRPr>
          </a:p>
        </p:txBody>
      </p:sp>
      <p:sp>
        <p:nvSpPr>
          <p:cNvPr id="14" name="矩形 13"/>
          <p:cNvSpPr/>
          <p:nvPr>
            <p:custDataLst>
              <p:tags r:id="rId6"/>
            </p:custDataLst>
          </p:nvPr>
        </p:nvSpPr>
        <p:spPr>
          <a:xfrm>
            <a:off x="2199005" y="1092835"/>
            <a:ext cx="60960" cy="6159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600" b="1" dirty="0">
              <a:solidFill>
                <a:schemeClr val="bg1"/>
              </a:solidFill>
              <a:latin typeface="+mn-ea"/>
            </a:endParaRPr>
          </a:p>
        </p:txBody>
      </p:sp>
      <p:sp>
        <p:nvSpPr>
          <p:cNvPr id="15" name="矩形 14"/>
          <p:cNvSpPr/>
          <p:nvPr>
            <p:custDataLst>
              <p:tags r:id="rId7"/>
            </p:custDataLst>
          </p:nvPr>
        </p:nvSpPr>
        <p:spPr>
          <a:xfrm>
            <a:off x="2400300" y="1092835"/>
            <a:ext cx="60960" cy="6159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600" b="1" dirty="0">
              <a:solidFill>
                <a:schemeClr val="bg1"/>
              </a:solidFill>
              <a:latin typeface="+mn-ea"/>
            </a:endParaRPr>
          </a:p>
        </p:txBody>
      </p:sp>
      <p:sp>
        <p:nvSpPr>
          <p:cNvPr id="18" name="椭圆 17"/>
          <p:cNvSpPr/>
          <p:nvPr>
            <p:custDataLst>
              <p:tags r:id="rId8"/>
            </p:custDataLst>
          </p:nvPr>
        </p:nvSpPr>
        <p:spPr>
          <a:xfrm>
            <a:off x="8395970" y="1796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椭圆 18"/>
          <p:cNvSpPr/>
          <p:nvPr>
            <p:custDataLst>
              <p:tags r:id="rId9"/>
            </p:custDataLst>
          </p:nvPr>
        </p:nvSpPr>
        <p:spPr>
          <a:xfrm>
            <a:off x="8548370" y="1796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椭圆 19"/>
          <p:cNvSpPr/>
          <p:nvPr>
            <p:custDataLst>
              <p:tags r:id="rId10"/>
            </p:custDataLst>
          </p:nvPr>
        </p:nvSpPr>
        <p:spPr>
          <a:xfrm>
            <a:off x="8700770" y="1796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椭圆 20"/>
          <p:cNvSpPr/>
          <p:nvPr>
            <p:custDataLst>
              <p:tags r:id="rId11"/>
            </p:custDataLst>
          </p:nvPr>
        </p:nvSpPr>
        <p:spPr>
          <a:xfrm>
            <a:off x="8853170" y="1796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椭圆 21"/>
          <p:cNvSpPr/>
          <p:nvPr>
            <p:custDataLst>
              <p:tags r:id="rId12"/>
            </p:custDataLst>
          </p:nvPr>
        </p:nvSpPr>
        <p:spPr>
          <a:xfrm>
            <a:off x="9005570" y="1796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椭圆 22"/>
          <p:cNvSpPr/>
          <p:nvPr>
            <p:custDataLst>
              <p:tags r:id="rId13"/>
            </p:custDataLst>
          </p:nvPr>
        </p:nvSpPr>
        <p:spPr>
          <a:xfrm>
            <a:off x="9157970" y="1796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椭圆 23"/>
          <p:cNvSpPr/>
          <p:nvPr>
            <p:custDataLst>
              <p:tags r:id="rId14"/>
            </p:custDataLst>
          </p:nvPr>
        </p:nvSpPr>
        <p:spPr>
          <a:xfrm>
            <a:off x="9310370" y="1796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椭圆 24"/>
          <p:cNvSpPr/>
          <p:nvPr>
            <p:custDataLst>
              <p:tags r:id="rId15"/>
            </p:custDataLst>
          </p:nvPr>
        </p:nvSpPr>
        <p:spPr>
          <a:xfrm>
            <a:off x="9462770" y="1796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椭圆 25"/>
          <p:cNvSpPr/>
          <p:nvPr>
            <p:custDataLst>
              <p:tags r:id="rId16"/>
            </p:custDataLst>
          </p:nvPr>
        </p:nvSpPr>
        <p:spPr>
          <a:xfrm>
            <a:off x="9615170" y="1796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椭圆 26"/>
          <p:cNvSpPr/>
          <p:nvPr>
            <p:custDataLst>
              <p:tags r:id="rId17"/>
            </p:custDataLst>
          </p:nvPr>
        </p:nvSpPr>
        <p:spPr>
          <a:xfrm>
            <a:off x="9767570" y="1796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椭圆 27"/>
          <p:cNvSpPr/>
          <p:nvPr>
            <p:custDataLst>
              <p:tags r:id="rId18"/>
            </p:custDataLst>
          </p:nvPr>
        </p:nvSpPr>
        <p:spPr>
          <a:xfrm>
            <a:off x="9919970" y="1796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椭圆 29"/>
          <p:cNvSpPr/>
          <p:nvPr>
            <p:custDataLst>
              <p:tags r:id="rId19"/>
            </p:custDataLst>
          </p:nvPr>
        </p:nvSpPr>
        <p:spPr>
          <a:xfrm>
            <a:off x="8395970" y="19488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椭圆 30"/>
          <p:cNvSpPr/>
          <p:nvPr>
            <p:custDataLst>
              <p:tags r:id="rId20"/>
            </p:custDataLst>
          </p:nvPr>
        </p:nvSpPr>
        <p:spPr>
          <a:xfrm>
            <a:off x="8548370" y="19488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椭圆 31"/>
          <p:cNvSpPr/>
          <p:nvPr>
            <p:custDataLst>
              <p:tags r:id="rId21"/>
            </p:custDataLst>
          </p:nvPr>
        </p:nvSpPr>
        <p:spPr>
          <a:xfrm>
            <a:off x="8700770" y="19488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椭圆 32"/>
          <p:cNvSpPr/>
          <p:nvPr>
            <p:custDataLst>
              <p:tags r:id="rId22"/>
            </p:custDataLst>
          </p:nvPr>
        </p:nvSpPr>
        <p:spPr>
          <a:xfrm>
            <a:off x="8853170" y="19488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椭圆 33"/>
          <p:cNvSpPr/>
          <p:nvPr>
            <p:custDataLst>
              <p:tags r:id="rId23"/>
            </p:custDataLst>
          </p:nvPr>
        </p:nvSpPr>
        <p:spPr>
          <a:xfrm>
            <a:off x="9005570" y="19488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椭圆 34"/>
          <p:cNvSpPr/>
          <p:nvPr>
            <p:custDataLst>
              <p:tags r:id="rId24"/>
            </p:custDataLst>
          </p:nvPr>
        </p:nvSpPr>
        <p:spPr>
          <a:xfrm>
            <a:off x="9157970" y="19488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椭圆 35"/>
          <p:cNvSpPr/>
          <p:nvPr>
            <p:custDataLst>
              <p:tags r:id="rId25"/>
            </p:custDataLst>
          </p:nvPr>
        </p:nvSpPr>
        <p:spPr>
          <a:xfrm>
            <a:off x="9310370" y="19488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椭圆 36"/>
          <p:cNvSpPr/>
          <p:nvPr>
            <p:custDataLst>
              <p:tags r:id="rId26"/>
            </p:custDataLst>
          </p:nvPr>
        </p:nvSpPr>
        <p:spPr>
          <a:xfrm>
            <a:off x="9462770" y="19488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椭圆 37"/>
          <p:cNvSpPr/>
          <p:nvPr>
            <p:custDataLst>
              <p:tags r:id="rId27"/>
            </p:custDataLst>
          </p:nvPr>
        </p:nvSpPr>
        <p:spPr>
          <a:xfrm>
            <a:off x="9615170" y="19488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椭圆 38"/>
          <p:cNvSpPr/>
          <p:nvPr>
            <p:custDataLst>
              <p:tags r:id="rId28"/>
            </p:custDataLst>
          </p:nvPr>
        </p:nvSpPr>
        <p:spPr>
          <a:xfrm>
            <a:off x="9767570" y="19488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椭圆 39"/>
          <p:cNvSpPr/>
          <p:nvPr>
            <p:custDataLst>
              <p:tags r:id="rId29"/>
            </p:custDataLst>
          </p:nvPr>
        </p:nvSpPr>
        <p:spPr>
          <a:xfrm>
            <a:off x="9919970" y="19488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椭圆 41"/>
          <p:cNvSpPr/>
          <p:nvPr>
            <p:custDataLst>
              <p:tags r:id="rId30"/>
            </p:custDataLst>
          </p:nvPr>
        </p:nvSpPr>
        <p:spPr>
          <a:xfrm>
            <a:off x="8395970" y="21012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椭圆 42"/>
          <p:cNvSpPr/>
          <p:nvPr>
            <p:custDataLst>
              <p:tags r:id="rId31"/>
            </p:custDataLst>
          </p:nvPr>
        </p:nvSpPr>
        <p:spPr>
          <a:xfrm>
            <a:off x="8548370" y="21012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椭圆 43"/>
          <p:cNvSpPr/>
          <p:nvPr>
            <p:custDataLst>
              <p:tags r:id="rId32"/>
            </p:custDataLst>
          </p:nvPr>
        </p:nvSpPr>
        <p:spPr>
          <a:xfrm>
            <a:off x="8700770" y="21012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椭圆 44"/>
          <p:cNvSpPr/>
          <p:nvPr>
            <p:custDataLst>
              <p:tags r:id="rId33"/>
            </p:custDataLst>
          </p:nvPr>
        </p:nvSpPr>
        <p:spPr>
          <a:xfrm>
            <a:off x="8853170" y="21012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椭圆 45"/>
          <p:cNvSpPr/>
          <p:nvPr>
            <p:custDataLst>
              <p:tags r:id="rId34"/>
            </p:custDataLst>
          </p:nvPr>
        </p:nvSpPr>
        <p:spPr>
          <a:xfrm>
            <a:off x="9005570" y="21012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椭圆 46"/>
          <p:cNvSpPr/>
          <p:nvPr>
            <p:custDataLst>
              <p:tags r:id="rId35"/>
            </p:custDataLst>
          </p:nvPr>
        </p:nvSpPr>
        <p:spPr>
          <a:xfrm>
            <a:off x="9157970" y="21012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椭圆 47"/>
          <p:cNvSpPr/>
          <p:nvPr>
            <p:custDataLst>
              <p:tags r:id="rId36"/>
            </p:custDataLst>
          </p:nvPr>
        </p:nvSpPr>
        <p:spPr>
          <a:xfrm>
            <a:off x="9310370" y="21012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椭圆 48"/>
          <p:cNvSpPr/>
          <p:nvPr>
            <p:custDataLst>
              <p:tags r:id="rId37"/>
            </p:custDataLst>
          </p:nvPr>
        </p:nvSpPr>
        <p:spPr>
          <a:xfrm>
            <a:off x="9462770" y="21012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椭圆 49"/>
          <p:cNvSpPr/>
          <p:nvPr>
            <p:custDataLst>
              <p:tags r:id="rId38"/>
            </p:custDataLst>
          </p:nvPr>
        </p:nvSpPr>
        <p:spPr>
          <a:xfrm>
            <a:off x="9615170" y="21012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椭圆 50"/>
          <p:cNvSpPr/>
          <p:nvPr>
            <p:custDataLst>
              <p:tags r:id="rId39"/>
            </p:custDataLst>
          </p:nvPr>
        </p:nvSpPr>
        <p:spPr>
          <a:xfrm>
            <a:off x="9767570" y="21012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椭圆 51"/>
          <p:cNvSpPr/>
          <p:nvPr>
            <p:custDataLst>
              <p:tags r:id="rId40"/>
            </p:custDataLst>
          </p:nvPr>
        </p:nvSpPr>
        <p:spPr>
          <a:xfrm>
            <a:off x="9919970" y="21012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椭圆 53"/>
          <p:cNvSpPr/>
          <p:nvPr>
            <p:custDataLst>
              <p:tags r:id="rId41"/>
            </p:custDataLst>
          </p:nvPr>
        </p:nvSpPr>
        <p:spPr>
          <a:xfrm>
            <a:off x="8395970" y="22536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5" name="椭圆 54"/>
          <p:cNvSpPr/>
          <p:nvPr>
            <p:custDataLst>
              <p:tags r:id="rId42"/>
            </p:custDataLst>
          </p:nvPr>
        </p:nvSpPr>
        <p:spPr>
          <a:xfrm>
            <a:off x="8548370" y="22536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椭圆 55"/>
          <p:cNvSpPr/>
          <p:nvPr>
            <p:custDataLst>
              <p:tags r:id="rId43"/>
            </p:custDataLst>
          </p:nvPr>
        </p:nvSpPr>
        <p:spPr>
          <a:xfrm>
            <a:off x="8700770" y="22536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7" name="椭圆 56"/>
          <p:cNvSpPr/>
          <p:nvPr>
            <p:custDataLst>
              <p:tags r:id="rId44"/>
            </p:custDataLst>
          </p:nvPr>
        </p:nvSpPr>
        <p:spPr>
          <a:xfrm>
            <a:off x="8853170" y="22536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8" name="椭圆 57"/>
          <p:cNvSpPr/>
          <p:nvPr>
            <p:custDataLst>
              <p:tags r:id="rId45"/>
            </p:custDataLst>
          </p:nvPr>
        </p:nvSpPr>
        <p:spPr>
          <a:xfrm>
            <a:off x="9005570" y="22536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椭圆 58"/>
          <p:cNvSpPr/>
          <p:nvPr>
            <p:custDataLst>
              <p:tags r:id="rId46"/>
            </p:custDataLst>
          </p:nvPr>
        </p:nvSpPr>
        <p:spPr>
          <a:xfrm>
            <a:off x="9157970" y="22536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椭圆 59"/>
          <p:cNvSpPr/>
          <p:nvPr>
            <p:custDataLst>
              <p:tags r:id="rId47"/>
            </p:custDataLst>
          </p:nvPr>
        </p:nvSpPr>
        <p:spPr>
          <a:xfrm>
            <a:off x="9310370" y="22536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椭圆 60"/>
          <p:cNvSpPr/>
          <p:nvPr>
            <p:custDataLst>
              <p:tags r:id="rId48"/>
            </p:custDataLst>
          </p:nvPr>
        </p:nvSpPr>
        <p:spPr>
          <a:xfrm>
            <a:off x="9462770" y="22536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椭圆 61"/>
          <p:cNvSpPr/>
          <p:nvPr>
            <p:custDataLst>
              <p:tags r:id="rId49"/>
            </p:custDataLst>
          </p:nvPr>
        </p:nvSpPr>
        <p:spPr>
          <a:xfrm>
            <a:off x="9615170" y="22536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3" name="椭圆 62"/>
          <p:cNvSpPr/>
          <p:nvPr>
            <p:custDataLst>
              <p:tags r:id="rId50"/>
            </p:custDataLst>
          </p:nvPr>
        </p:nvSpPr>
        <p:spPr>
          <a:xfrm>
            <a:off x="9767570" y="22536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4" name="椭圆 63"/>
          <p:cNvSpPr/>
          <p:nvPr>
            <p:custDataLst>
              <p:tags r:id="rId51"/>
            </p:custDataLst>
          </p:nvPr>
        </p:nvSpPr>
        <p:spPr>
          <a:xfrm>
            <a:off x="9919970" y="22536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6" name="椭圆 65"/>
          <p:cNvSpPr/>
          <p:nvPr>
            <p:custDataLst>
              <p:tags r:id="rId52"/>
            </p:custDataLst>
          </p:nvPr>
        </p:nvSpPr>
        <p:spPr>
          <a:xfrm>
            <a:off x="8395970" y="24060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7" name="椭圆 66"/>
          <p:cNvSpPr/>
          <p:nvPr>
            <p:custDataLst>
              <p:tags r:id="rId53"/>
            </p:custDataLst>
          </p:nvPr>
        </p:nvSpPr>
        <p:spPr>
          <a:xfrm>
            <a:off x="8548370" y="24060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8" name="椭圆 67"/>
          <p:cNvSpPr/>
          <p:nvPr>
            <p:custDataLst>
              <p:tags r:id="rId54"/>
            </p:custDataLst>
          </p:nvPr>
        </p:nvSpPr>
        <p:spPr>
          <a:xfrm>
            <a:off x="8700770" y="24060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9" name="椭圆 68"/>
          <p:cNvSpPr/>
          <p:nvPr>
            <p:custDataLst>
              <p:tags r:id="rId55"/>
            </p:custDataLst>
          </p:nvPr>
        </p:nvSpPr>
        <p:spPr>
          <a:xfrm>
            <a:off x="8853170" y="24060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0" name="椭圆 69"/>
          <p:cNvSpPr/>
          <p:nvPr>
            <p:custDataLst>
              <p:tags r:id="rId56"/>
            </p:custDataLst>
          </p:nvPr>
        </p:nvSpPr>
        <p:spPr>
          <a:xfrm>
            <a:off x="9005570" y="24060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1" name="椭圆 70"/>
          <p:cNvSpPr/>
          <p:nvPr>
            <p:custDataLst>
              <p:tags r:id="rId57"/>
            </p:custDataLst>
          </p:nvPr>
        </p:nvSpPr>
        <p:spPr>
          <a:xfrm>
            <a:off x="9157970" y="24060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2" name="椭圆 71"/>
          <p:cNvSpPr/>
          <p:nvPr>
            <p:custDataLst>
              <p:tags r:id="rId58"/>
            </p:custDataLst>
          </p:nvPr>
        </p:nvSpPr>
        <p:spPr>
          <a:xfrm>
            <a:off x="9310370" y="24060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3" name="椭圆 72"/>
          <p:cNvSpPr/>
          <p:nvPr>
            <p:custDataLst>
              <p:tags r:id="rId59"/>
            </p:custDataLst>
          </p:nvPr>
        </p:nvSpPr>
        <p:spPr>
          <a:xfrm>
            <a:off x="9462770" y="24060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4" name="椭圆 73"/>
          <p:cNvSpPr/>
          <p:nvPr>
            <p:custDataLst>
              <p:tags r:id="rId60"/>
            </p:custDataLst>
          </p:nvPr>
        </p:nvSpPr>
        <p:spPr>
          <a:xfrm>
            <a:off x="9615170" y="24060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5" name="椭圆 74"/>
          <p:cNvSpPr/>
          <p:nvPr>
            <p:custDataLst>
              <p:tags r:id="rId61"/>
            </p:custDataLst>
          </p:nvPr>
        </p:nvSpPr>
        <p:spPr>
          <a:xfrm>
            <a:off x="9767570" y="24060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椭圆 75"/>
          <p:cNvSpPr/>
          <p:nvPr>
            <p:custDataLst>
              <p:tags r:id="rId62"/>
            </p:custDataLst>
          </p:nvPr>
        </p:nvSpPr>
        <p:spPr>
          <a:xfrm>
            <a:off x="9919970" y="24060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8" name="椭圆 77"/>
          <p:cNvSpPr/>
          <p:nvPr>
            <p:custDataLst>
              <p:tags r:id="rId63"/>
            </p:custDataLst>
          </p:nvPr>
        </p:nvSpPr>
        <p:spPr>
          <a:xfrm>
            <a:off x="8395970" y="2558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9" name="椭圆 78"/>
          <p:cNvSpPr/>
          <p:nvPr>
            <p:custDataLst>
              <p:tags r:id="rId64"/>
            </p:custDataLst>
          </p:nvPr>
        </p:nvSpPr>
        <p:spPr>
          <a:xfrm>
            <a:off x="8548370" y="2558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0" name="椭圆 79"/>
          <p:cNvSpPr/>
          <p:nvPr>
            <p:custDataLst>
              <p:tags r:id="rId65"/>
            </p:custDataLst>
          </p:nvPr>
        </p:nvSpPr>
        <p:spPr>
          <a:xfrm>
            <a:off x="8700770" y="2558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1" name="椭圆 80"/>
          <p:cNvSpPr/>
          <p:nvPr>
            <p:custDataLst>
              <p:tags r:id="rId66"/>
            </p:custDataLst>
          </p:nvPr>
        </p:nvSpPr>
        <p:spPr>
          <a:xfrm>
            <a:off x="8853170" y="2558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2" name="椭圆 81"/>
          <p:cNvSpPr/>
          <p:nvPr>
            <p:custDataLst>
              <p:tags r:id="rId67"/>
            </p:custDataLst>
          </p:nvPr>
        </p:nvSpPr>
        <p:spPr>
          <a:xfrm>
            <a:off x="9005570" y="2558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3" name="椭圆 82"/>
          <p:cNvSpPr/>
          <p:nvPr>
            <p:custDataLst>
              <p:tags r:id="rId68"/>
            </p:custDataLst>
          </p:nvPr>
        </p:nvSpPr>
        <p:spPr>
          <a:xfrm>
            <a:off x="9157970" y="2558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4" name="椭圆 83"/>
          <p:cNvSpPr/>
          <p:nvPr>
            <p:custDataLst>
              <p:tags r:id="rId69"/>
            </p:custDataLst>
          </p:nvPr>
        </p:nvSpPr>
        <p:spPr>
          <a:xfrm>
            <a:off x="9310370" y="2558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5" name="椭圆 84"/>
          <p:cNvSpPr/>
          <p:nvPr>
            <p:custDataLst>
              <p:tags r:id="rId70"/>
            </p:custDataLst>
          </p:nvPr>
        </p:nvSpPr>
        <p:spPr>
          <a:xfrm>
            <a:off x="9462770" y="2558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6" name="椭圆 85"/>
          <p:cNvSpPr/>
          <p:nvPr>
            <p:custDataLst>
              <p:tags r:id="rId71"/>
            </p:custDataLst>
          </p:nvPr>
        </p:nvSpPr>
        <p:spPr>
          <a:xfrm>
            <a:off x="9615170" y="2558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7" name="椭圆 86"/>
          <p:cNvSpPr/>
          <p:nvPr>
            <p:custDataLst>
              <p:tags r:id="rId72"/>
            </p:custDataLst>
          </p:nvPr>
        </p:nvSpPr>
        <p:spPr>
          <a:xfrm>
            <a:off x="9767570" y="2558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8" name="椭圆 87"/>
          <p:cNvSpPr/>
          <p:nvPr>
            <p:custDataLst>
              <p:tags r:id="rId73"/>
            </p:custDataLst>
          </p:nvPr>
        </p:nvSpPr>
        <p:spPr>
          <a:xfrm>
            <a:off x="9919970" y="2558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ustDataLst>
      <p:tags r:id="rId74"/>
    </p:custData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任意多边形: 形状 89"/>
          <p:cNvSpPr/>
          <p:nvPr>
            <p:custDataLst>
              <p:tags r:id="rId1"/>
            </p:custDataLst>
          </p:nvPr>
        </p:nvSpPr>
        <p:spPr>
          <a:xfrm>
            <a:off x="1736806" y="1452674"/>
            <a:ext cx="9101599" cy="4499877"/>
          </a:xfrm>
          <a:custGeom>
            <a:avLst/>
            <a:gdLst>
              <a:gd name="connsiteX0" fmla="*/ 8838074 w 9101599"/>
              <a:gd name="connsiteY0" fmla="*/ 0 h 4499877"/>
              <a:gd name="connsiteX1" fmla="*/ 9101599 w 9101599"/>
              <a:gd name="connsiteY1" fmla="*/ 0 h 4499877"/>
              <a:gd name="connsiteX2" fmla="*/ 9101599 w 9101599"/>
              <a:gd name="connsiteY2" fmla="*/ 4499877 h 4499877"/>
              <a:gd name="connsiteX3" fmla="*/ 0 w 9101599"/>
              <a:gd name="connsiteY3" fmla="*/ 4499877 h 4499877"/>
              <a:gd name="connsiteX4" fmla="*/ 0 w 9101599"/>
              <a:gd name="connsiteY4" fmla="*/ 4281627 h 4499877"/>
              <a:gd name="connsiteX5" fmla="*/ 8838074 w 9101599"/>
              <a:gd name="connsiteY5" fmla="*/ 4281627 h 4499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01599" h="4499877">
                <a:moveTo>
                  <a:pt x="8838074" y="0"/>
                </a:moveTo>
                <a:lnTo>
                  <a:pt x="9101599" y="0"/>
                </a:lnTo>
                <a:lnTo>
                  <a:pt x="9101599" y="4499877"/>
                </a:lnTo>
                <a:lnTo>
                  <a:pt x="0" y="4499877"/>
                </a:lnTo>
                <a:lnTo>
                  <a:pt x="0" y="4281627"/>
                </a:lnTo>
                <a:lnTo>
                  <a:pt x="8838074" y="4281627"/>
                </a:ln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sz="1600" b="1" dirty="0">
              <a:solidFill>
                <a:schemeClr val="bg1"/>
              </a:solidFill>
              <a:latin typeface="+mn-ea"/>
            </a:endParaRPr>
          </a:p>
        </p:txBody>
      </p:sp>
      <p:sp>
        <p:nvSpPr>
          <p:cNvPr id="91" name="矩形 90"/>
          <p:cNvSpPr/>
          <p:nvPr>
            <p:custDataLst>
              <p:tags r:id="rId2"/>
            </p:custDataLst>
          </p:nvPr>
        </p:nvSpPr>
        <p:spPr>
          <a:xfrm>
            <a:off x="1473281" y="1123698"/>
            <a:ext cx="9101599" cy="4610603"/>
          </a:xfrm>
          <a:prstGeom prst="rect">
            <a:avLst/>
          </a:prstGeom>
          <a:solidFill>
            <a:schemeClr val="bg1"/>
          </a:solidFill>
          <a:ln w="508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600" b="1" dirty="0">
              <a:solidFill>
                <a:schemeClr val="bg1"/>
              </a:solidFill>
              <a:latin typeface="+mn-ea"/>
            </a:endParaRPr>
          </a:p>
        </p:txBody>
      </p:sp>
      <p:sp>
        <p:nvSpPr>
          <p:cNvPr id="2" name="文本框 1"/>
          <p:cNvSpPr txBox="1"/>
          <p:nvPr>
            <p:custDataLst>
              <p:tags r:id="rId3"/>
            </p:custDataLst>
          </p:nvPr>
        </p:nvSpPr>
        <p:spPr>
          <a:xfrm>
            <a:off x="1806575" y="1731010"/>
            <a:ext cx="8185150" cy="4300220"/>
          </a:xfrm>
          <a:prstGeom prst="rect">
            <a:avLst/>
          </a:prstGeom>
          <a:noFill/>
        </p:spPr>
        <p:txBody>
          <a:bodyPr wrap="square" lIns="101600" tIns="0" rIns="82550" bIns="0" rtlCol="0">
            <a:noAutofit/>
          </a:bodyPr>
          <a:lstStyle>
            <a:defPPr>
              <a:defRPr lang="zh-CN"/>
            </a:defPPr>
            <a:lvl1pPr fontAlgn="auto">
              <a:lnSpc>
                <a:spcPct val="130000"/>
              </a:lnSpc>
              <a:spcAft>
                <a:spcPts val="1000"/>
              </a:spcAft>
              <a:defRPr sz="1600" spc="150"/>
            </a:lvl1pPr>
          </a:lstStyle>
          <a:p>
            <a:pPr indent="0" fontAlgn="ctr">
              <a:spcBef>
                <a:spcPts val="1000"/>
              </a:spcBef>
              <a:spcAft>
                <a:spcPts val="0"/>
              </a:spcAft>
              <a:buSzPct val="100000"/>
              <a:buFont typeface="WPS-Bullets" pitchFamily="2" charset="0"/>
              <a:buNone/>
            </a:pPr>
            <a:r>
              <a:rPr lang="en-US" altLang="zh-CN" sz="1600"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2.</a:t>
            </a:r>
            <a:r>
              <a:rPr lang="zh-CN" altLang="en-US" sz="1600"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当单个文档需要特殊的样式时，就应该使用内部样式表。你可以使用 &lt;style&gt; 标签在文档头部定义内部样式表，就像这样:</a:t>
            </a:r>
            <a:endParaRPr lang="zh-CN" altLang="en-US" sz="1600"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SzPct val="100000"/>
              <a:buFont typeface="WPS-Bullets" pitchFamily="2" charset="0"/>
              <a:buNone/>
            </a:pPr>
            <a:r>
              <a:rPr lang="zh-CN" altLang="en-US" sz="1600"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lt;head&gt;</a:t>
            </a:r>
            <a:endParaRPr lang="zh-CN" altLang="en-US" sz="1600"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SzPct val="100000"/>
              <a:buFont typeface="WPS-Bullets" pitchFamily="2" charset="0"/>
              <a:buNone/>
            </a:pPr>
            <a:r>
              <a:rPr lang="zh-CN" altLang="en-US" sz="1600"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lt;style type="text/css"&gt;</a:t>
            </a:r>
            <a:endParaRPr lang="zh-CN" altLang="en-US" sz="1600"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SzPct val="100000"/>
              <a:buFont typeface="WPS-Bullets" pitchFamily="2" charset="0"/>
              <a:buNone/>
            </a:pPr>
            <a:r>
              <a:rPr lang="zh-CN" altLang="en-US" sz="1600"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  hr {color: sienna;}</a:t>
            </a:r>
            <a:endParaRPr lang="zh-CN" altLang="en-US" sz="1600"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SzPct val="100000"/>
              <a:buFont typeface="WPS-Bullets" pitchFamily="2" charset="0"/>
              <a:buNone/>
            </a:pPr>
            <a:r>
              <a:rPr lang="zh-CN" altLang="en-US" sz="1600"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  p {margin-left: 20px;}</a:t>
            </a:r>
            <a:endParaRPr lang="zh-CN" altLang="en-US" sz="1600"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SzPct val="100000"/>
              <a:buFont typeface="WPS-Bullets" pitchFamily="2" charset="0"/>
              <a:buNone/>
            </a:pPr>
            <a:r>
              <a:rPr lang="zh-CN" altLang="en-US" sz="1600"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  body {background-image: url("images/back40.gif");}</a:t>
            </a:r>
            <a:endParaRPr lang="zh-CN" altLang="en-US" sz="1600"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SzPct val="100000"/>
              <a:buFont typeface="WPS-Bullets" pitchFamily="2" charset="0"/>
              <a:buNone/>
            </a:pPr>
            <a:r>
              <a:rPr lang="zh-CN" altLang="en-US" sz="1600"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lt;/style&gt;</a:t>
            </a:r>
            <a:endParaRPr lang="zh-CN" altLang="en-US" sz="1600"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SzPct val="100000"/>
              <a:buFont typeface="WPS-Bullets" pitchFamily="2" charset="0"/>
              <a:buNone/>
            </a:pPr>
            <a:r>
              <a:rPr lang="zh-CN" altLang="en-US" sz="1600"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lt;/head&gt;</a:t>
            </a:r>
            <a:endParaRPr lang="zh-CN" altLang="en-US" sz="1600"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p:txBody>
      </p:sp>
      <p:sp>
        <p:nvSpPr>
          <p:cNvPr id="11" name="文本框 10"/>
          <p:cNvSpPr txBox="1"/>
          <p:nvPr>
            <p:custDataLst>
              <p:tags r:id="rId4"/>
            </p:custDataLst>
          </p:nvPr>
        </p:nvSpPr>
        <p:spPr>
          <a:xfrm>
            <a:off x="1736869" y="1171416"/>
            <a:ext cx="3632200" cy="624840"/>
          </a:xfrm>
          <a:prstGeom prst="rect">
            <a:avLst/>
          </a:prstGeom>
          <a:noFill/>
        </p:spPr>
        <p:txBody>
          <a:bodyPr wrap="none" lIns="101600" tIns="38100" rIns="63500" bIns="38100" rtlCol="0">
            <a:noAutofit/>
          </a:bodyPr>
          <a:lstStyle/>
          <a:p>
            <a:pPr algn="l"/>
            <a:r>
              <a:rPr lang="zh-CN" altLang="en-US" sz="3600" b="1" spc="300" dirty="0">
                <a:solidFill>
                  <a:schemeClr val="tx1">
                    <a:lumMod val="75000"/>
                    <a:lumOff val="25000"/>
                  </a:schemeClr>
                </a:solidFill>
                <a:uFillTx/>
                <a:latin typeface="Arial" panose="020B0604020202020204" pitchFamily="34" charset="0"/>
                <a:ea typeface="微软雅黑" panose="020B0503020204020204" charset="-122"/>
              </a:rPr>
              <a:t>内部样式表</a:t>
            </a:r>
            <a:endParaRPr lang="zh-CN" altLang="en-US" sz="3600" b="1" spc="300" dirty="0">
              <a:solidFill>
                <a:schemeClr val="tx1">
                  <a:lumMod val="75000"/>
                  <a:lumOff val="25000"/>
                </a:schemeClr>
              </a:solidFill>
              <a:uFillTx/>
              <a:latin typeface="Arial" panose="020B0604020202020204" pitchFamily="34" charset="0"/>
              <a:ea typeface="微软雅黑" panose="020B0503020204020204" charset="-122"/>
            </a:endParaRPr>
          </a:p>
        </p:txBody>
      </p:sp>
      <p:sp>
        <p:nvSpPr>
          <p:cNvPr id="13" name="矩形 12"/>
          <p:cNvSpPr/>
          <p:nvPr>
            <p:custDataLst>
              <p:tags r:id="rId5"/>
            </p:custDataLst>
          </p:nvPr>
        </p:nvSpPr>
        <p:spPr>
          <a:xfrm>
            <a:off x="2069465" y="1092200"/>
            <a:ext cx="511810" cy="615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600" b="1" dirty="0">
              <a:solidFill>
                <a:schemeClr val="bg1"/>
              </a:solidFill>
              <a:latin typeface="+mn-ea"/>
            </a:endParaRPr>
          </a:p>
        </p:txBody>
      </p:sp>
      <p:sp>
        <p:nvSpPr>
          <p:cNvPr id="14" name="矩形 13"/>
          <p:cNvSpPr/>
          <p:nvPr>
            <p:custDataLst>
              <p:tags r:id="rId6"/>
            </p:custDataLst>
          </p:nvPr>
        </p:nvSpPr>
        <p:spPr>
          <a:xfrm>
            <a:off x="2199005" y="1092835"/>
            <a:ext cx="60960" cy="6159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600" b="1" dirty="0">
              <a:solidFill>
                <a:schemeClr val="bg1"/>
              </a:solidFill>
              <a:latin typeface="+mn-ea"/>
            </a:endParaRPr>
          </a:p>
        </p:txBody>
      </p:sp>
      <p:sp>
        <p:nvSpPr>
          <p:cNvPr id="15" name="矩形 14"/>
          <p:cNvSpPr/>
          <p:nvPr>
            <p:custDataLst>
              <p:tags r:id="rId7"/>
            </p:custDataLst>
          </p:nvPr>
        </p:nvSpPr>
        <p:spPr>
          <a:xfrm>
            <a:off x="2400300" y="1092835"/>
            <a:ext cx="60960" cy="6159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600" b="1" dirty="0">
              <a:solidFill>
                <a:schemeClr val="bg1"/>
              </a:solidFill>
              <a:latin typeface="+mn-ea"/>
            </a:endParaRPr>
          </a:p>
        </p:txBody>
      </p:sp>
      <p:sp>
        <p:nvSpPr>
          <p:cNvPr id="18" name="椭圆 17"/>
          <p:cNvSpPr/>
          <p:nvPr>
            <p:custDataLst>
              <p:tags r:id="rId8"/>
            </p:custDataLst>
          </p:nvPr>
        </p:nvSpPr>
        <p:spPr>
          <a:xfrm>
            <a:off x="8395970" y="1796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椭圆 18"/>
          <p:cNvSpPr/>
          <p:nvPr>
            <p:custDataLst>
              <p:tags r:id="rId9"/>
            </p:custDataLst>
          </p:nvPr>
        </p:nvSpPr>
        <p:spPr>
          <a:xfrm>
            <a:off x="8548370" y="1796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椭圆 19"/>
          <p:cNvSpPr/>
          <p:nvPr>
            <p:custDataLst>
              <p:tags r:id="rId10"/>
            </p:custDataLst>
          </p:nvPr>
        </p:nvSpPr>
        <p:spPr>
          <a:xfrm>
            <a:off x="8700770" y="1796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椭圆 20"/>
          <p:cNvSpPr/>
          <p:nvPr>
            <p:custDataLst>
              <p:tags r:id="rId11"/>
            </p:custDataLst>
          </p:nvPr>
        </p:nvSpPr>
        <p:spPr>
          <a:xfrm>
            <a:off x="8853170" y="1796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椭圆 21"/>
          <p:cNvSpPr/>
          <p:nvPr>
            <p:custDataLst>
              <p:tags r:id="rId12"/>
            </p:custDataLst>
          </p:nvPr>
        </p:nvSpPr>
        <p:spPr>
          <a:xfrm>
            <a:off x="9005570" y="1796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椭圆 22"/>
          <p:cNvSpPr/>
          <p:nvPr>
            <p:custDataLst>
              <p:tags r:id="rId13"/>
            </p:custDataLst>
          </p:nvPr>
        </p:nvSpPr>
        <p:spPr>
          <a:xfrm>
            <a:off x="9157970" y="1796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椭圆 23"/>
          <p:cNvSpPr/>
          <p:nvPr>
            <p:custDataLst>
              <p:tags r:id="rId14"/>
            </p:custDataLst>
          </p:nvPr>
        </p:nvSpPr>
        <p:spPr>
          <a:xfrm>
            <a:off x="9310370" y="1796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椭圆 24"/>
          <p:cNvSpPr/>
          <p:nvPr>
            <p:custDataLst>
              <p:tags r:id="rId15"/>
            </p:custDataLst>
          </p:nvPr>
        </p:nvSpPr>
        <p:spPr>
          <a:xfrm>
            <a:off x="9462770" y="1796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椭圆 25"/>
          <p:cNvSpPr/>
          <p:nvPr>
            <p:custDataLst>
              <p:tags r:id="rId16"/>
            </p:custDataLst>
          </p:nvPr>
        </p:nvSpPr>
        <p:spPr>
          <a:xfrm>
            <a:off x="9615170" y="1796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椭圆 26"/>
          <p:cNvSpPr/>
          <p:nvPr>
            <p:custDataLst>
              <p:tags r:id="rId17"/>
            </p:custDataLst>
          </p:nvPr>
        </p:nvSpPr>
        <p:spPr>
          <a:xfrm>
            <a:off x="9767570" y="1796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椭圆 27"/>
          <p:cNvSpPr/>
          <p:nvPr>
            <p:custDataLst>
              <p:tags r:id="rId18"/>
            </p:custDataLst>
          </p:nvPr>
        </p:nvSpPr>
        <p:spPr>
          <a:xfrm>
            <a:off x="9919970" y="1796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椭圆 29"/>
          <p:cNvSpPr/>
          <p:nvPr>
            <p:custDataLst>
              <p:tags r:id="rId19"/>
            </p:custDataLst>
          </p:nvPr>
        </p:nvSpPr>
        <p:spPr>
          <a:xfrm>
            <a:off x="8395970" y="19488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椭圆 30"/>
          <p:cNvSpPr/>
          <p:nvPr>
            <p:custDataLst>
              <p:tags r:id="rId20"/>
            </p:custDataLst>
          </p:nvPr>
        </p:nvSpPr>
        <p:spPr>
          <a:xfrm>
            <a:off x="8548370" y="19488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椭圆 31"/>
          <p:cNvSpPr/>
          <p:nvPr>
            <p:custDataLst>
              <p:tags r:id="rId21"/>
            </p:custDataLst>
          </p:nvPr>
        </p:nvSpPr>
        <p:spPr>
          <a:xfrm>
            <a:off x="8700770" y="19488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椭圆 32"/>
          <p:cNvSpPr/>
          <p:nvPr>
            <p:custDataLst>
              <p:tags r:id="rId22"/>
            </p:custDataLst>
          </p:nvPr>
        </p:nvSpPr>
        <p:spPr>
          <a:xfrm>
            <a:off x="8853170" y="19488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椭圆 33"/>
          <p:cNvSpPr/>
          <p:nvPr>
            <p:custDataLst>
              <p:tags r:id="rId23"/>
            </p:custDataLst>
          </p:nvPr>
        </p:nvSpPr>
        <p:spPr>
          <a:xfrm>
            <a:off x="9005570" y="19488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椭圆 34"/>
          <p:cNvSpPr/>
          <p:nvPr>
            <p:custDataLst>
              <p:tags r:id="rId24"/>
            </p:custDataLst>
          </p:nvPr>
        </p:nvSpPr>
        <p:spPr>
          <a:xfrm>
            <a:off x="9157970" y="19488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椭圆 35"/>
          <p:cNvSpPr/>
          <p:nvPr>
            <p:custDataLst>
              <p:tags r:id="rId25"/>
            </p:custDataLst>
          </p:nvPr>
        </p:nvSpPr>
        <p:spPr>
          <a:xfrm>
            <a:off x="9310370" y="19488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椭圆 36"/>
          <p:cNvSpPr/>
          <p:nvPr>
            <p:custDataLst>
              <p:tags r:id="rId26"/>
            </p:custDataLst>
          </p:nvPr>
        </p:nvSpPr>
        <p:spPr>
          <a:xfrm>
            <a:off x="9462770" y="19488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椭圆 37"/>
          <p:cNvSpPr/>
          <p:nvPr>
            <p:custDataLst>
              <p:tags r:id="rId27"/>
            </p:custDataLst>
          </p:nvPr>
        </p:nvSpPr>
        <p:spPr>
          <a:xfrm>
            <a:off x="9615170" y="19488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椭圆 38"/>
          <p:cNvSpPr/>
          <p:nvPr>
            <p:custDataLst>
              <p:tags r:id="rId28"/>
            </p:custDataLst>
          </p:nvPr>
        </p:nvSpPr>
        <p:spPr>
          <a:xfrm>
            <a:off x="9767570" y="19488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椭圆 39"/>
          <p:cNvSpPr/>
          <p:nvPr>
            <p:custDataLst>
              <p:tags r:id="rId29"/>
            </p:custDataLst>
          </p:nvPr>
        </p:nvSpPr>
        <p:spPr>
          <a:xfrm>
            <a:off x="9919970" y="19488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椭圆 41"/>
          <p:cNvSpPr/>
          <p:nvPr>
            <p:custDataLst>
              <p:tags r:id="rId30"/>
            </p:custDataLst>
          </p:nvPr>
        </p:nvSpPr>
        <p:spPr>
          <a:xfrm>
            <a:off x="8395970" y="21012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椭圆 42"/>
          <p:cNvSpPr/>
          <p:nvPr>
            <p:custDataLst>
              <p:tags r:id="rId31"/>
            </p:custDataLst>
          </p:nvPr>
        </p:nvSpPr>
        <p:spPr>
          <a:xfrm>
            <a:off x="8548370" y="21012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椭圆 43"/>
          <p:cNvSpPr/>
          <p:nvPr>
            <p:custDataLst>
              <p:tags r:id="rId32"/>
            </p:custDataLst>
          </p:nvPr>
        </p:nvSpPr>
        <p:spPr>
          <a:xfrm>
            <a:off x="8700770" y="21012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椭圆 44"/>
          <p:cNvSpPr/>
          <p:nvPr>
            <p:custDataLst>
              <p:tags r:id="rId33"/>
            </p:custDataLst>
          </p:nvPr>
        </p:nvSpPr>
        <p:spPr>
          <a:xfrm>
            <a:off x="8853170" y="21012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椭圆 45"/>
          <p:cNvSpPr/>
          <p:nvPr>
            <p:custDataLst>
              <p:tags r:id="rId34"/>
            </p:custDataLst>
          </p:nvPr>
        </p:nvSpPr>
        <p:spPr>
          <a:xfrm>
            <a:off x="9005570" y="21012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椭圆 46"/>
          <p:cNvSpPr/>
          <p:nvPr>
            <p:custDataLst>
              <p:tags r:id="rId35"/>
            </p:custDataLst>
          </p:nvPr>
        </p:nvSpPr>
        <p:spPr>
          <a:xfrm>
            <a:off x="9157970" y="21012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椭圆 47"/>
          <p:cNvSpPr/>
          <p:nvPr>
            <p:custDataLst>
              <p:tags r:id="rId36"/>
            </p:custDataLst>
          </p:nvPr>
        </p:nvSpPr>
        <p:spPr>
          <a:xfrm>
            <a:off x="9310370" y="21012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椭圆 48"/>
          <p:cNvSpPr/>
          <p:nvPr>
            <p:custDataLst>
              <p:tags r:id="rId37"/>
            </p:custDataLst>
          </p:nvPr>
        </p:nvSpPr>
        <p:spPr>
          <a:xfrm>
            <a:off x="9462770" y="21012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椭圆 49"/>
          <p:cNvSpPr/>
          <p:nvPr>
            <p:custDataLst>
              <p:tags r:id="rId38"/>
            </p:custDataLst>
          </p:nvPr>
        </p:nvSpPr>
        <p:spPr>
          <a:xfrm>
            <a:off x="9615170" y="21012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椭圆 50"/>
          <p:cNvSpPr/>
          <p:nvPr>
            <p:custDataLst>
              <p:tags r:id="rId39"/>
            </p:custDataLst>
          </p:nvPr>
        </p:nvSpPr>
        <p:spPr>
          <a:xfrm>
            <a:off x="9767570" y="21012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椭圆 51"/>
          <p:cNvSpPr/>
          <p:nvPr>
            <p:custDataLst>
              <p:tags r:id="rId40"/>
            </p:custDataLst>
          </p:nvPr>
        </p:nvSpPr>
        <p:spPr>
          <a:xfrm>
            <a:off x="9919970" y="21012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椭圆 53"/>
          <p:cNvSpPr/>
          <p:nvPr>
            <p:custDataLst>
              <p:tags r:id="rId41"/>
            </p:custDataLst>
          </p:nvPr>
        </p:nvSpPr>
        <p:spPr>
          <a:xfrm>
            <a:off x="8395970" y="22536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5" name="椭圆 54"/>
          <p:cNvSpPr/>
          <p:nvPr>
            <p:custDataLst>
              <p:tags r:id="rId42"/>
            </p:custDataLst>
          </p:nvPr>
        </p:nvSpPr>
        <p:spPr>
          <a:xfrm>
            <a:off x="8548370" y="22536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椭圆 55"/>
          <p:cNvSpPr/>
          <p:nvPr>
            <p:custDataLst>
              <p:tags r:id="rId43"/>
            </p:custDataLst>
          </p:nvPr>
        </p:nvSpPr>
        <p:spPr>
          <a:xfrm>
            <a:off x="8700770" y="22536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7" name="椭圆 56"/>
          <p:cNvSpPr/>
          <p:nvPr>
            <p:custDataLst>
              <p:tags r:id="rId44"/>
            </p:custDataLst>
          </p:nvPr>
        </p:nvSpPr>
        <p:spPr>
          <a:xfrm>
            <a:off x="8853170" y="22536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8" name="椭圆 57"/>
          <p:cNvSpPr/>
          <p:nvPr>
            <p:custDataLst>
              <p:tags r:id="rId45"/>
            </p:custDataLst>
          </p:nvPr>
        </p:nvSpPr>
        <p:spPr>
          <a:xfrm>
            <a:off x="9005570" y="22536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椭圆 58"/>
          <p:cNvSpPr/>
          <p:nvPr>
            <p:custDataLst>
              <p:tags r:id="rId46"/>
            </p:custDataLst>
          </p:nvPr>
        </p:nvSpPr>
        <p:spPr>
          <a:xfrm>
            <a:off x="9157970" y="22536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椭圆 59"/>
          <p:cNvSpPr/>
          <p:nvPr>
            <p:custDataLst>
              <p:tags r:id="rId47"/>
            </p:custDataLst>
          </p:nvPr>
        </p:nvSpPr>
        <p:spPr>
          <a:xfrm>
            <a:off x="9310370" y="22536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椭圆 60"/>
          <p:cNvSpPr/>
          <p:nvPr>
            <p:custDataLst>
              <p:tags r:id="rId48"/>
            </p:custDataLst>
          </p:nvPr>
        </p:nvSpPr>
        <p:spPr>
          <a:xfrm>
            <a:off x="9462770" y="22536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椭圆 61"/>
          <p:cNvSpPr/>
          <p:nvPr>
            <p:custDataLst>
              <p:tags r:id="rId49"/>
            </p:custDataLst>
          </p:nvPr>
        </p:nvSpPr>
        <p:spPr>
          <a:xfrm>
            <a:off x="9615170" y="22536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3" name="椭圆 62"/>
          <p:cNvSpPr/>
          <p:nvPr>
            <p:custDataLst>
              <p:tags r:id="rId50"/>
            </p:custDataLst>
          </p:nvPr>
        </p:nvSpPr>
        <p:spPr>
          <a:xfrm>
            <a:off x="9767570" y="22536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4" name="椭圆 63"/>
          <p:cNvSpPr/>
          <p:nvPr>
            <p:custDataLst>
              <p:tags r:id="rId51"/>
            </p:custDataLst>
          </p:nvPr>
        </p:nvSpPr>
        <p:spPr>
          <a:xfrm>
            <a:off x="9919970" y="22536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6" name="椭圆 65"/>
          <p:cNvSpPr/>
          <p:nvPr>
            <p:custDataLst>
              <p:tags r:id="rId52"/>
            </p:custDataLst>
          </p:nvPr>
        </p:nvSpPr>
        <p:spPr>
          <a:xfrm>
            <a:off x="8395970" y="24060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7" name="椭圆 66"/>
          <p:cNvSpPr/>
          <p:nvPr>
            <p:custDataLst>
              <p:tags r:id="rId53"/>
            </p:custDataLst>
          </p:nvPr>
        </p:nvSpPr>
        <p:spPr>
          <a:xfrm>
            <a:off x="8548370" y="24060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8" name="椭圆 67"/>
          <p:cNvSpPr/>
          <p:nvPr>
            <p:custDataLst>
              <p:tags r:id="rId54"/>
            </p:custDataLst>
          </p:nvPr>
        </p:nvSpPr>
        <p:spPr>
          <a:xfrm>
            <a:off x="8700770" y="24060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9" name="椭圆 68"/>
          <p:cNvSpPr/>
          <p:nvPr>
            <p:custDataLst>
              <p:tags r:id="rId55"/>
            </p:custDataLst>
          </p:nvPr>
        </p:nvSpPr>
        <p:spPr>
          <a:xfrm>
            <a:off x="8853170" y="24060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0" name="椭圆 69"/>
          <p:cNvSpPr/>
          <p:nvPr>
            <p:custDataLst>
              <p:tags r:id="rId56"/>
            </p:custDataLst>
          </p:nvPr>
        </p:nvSpPr>
        <p:spPr>
          <a:xfrm>
            <a:off x="9005570" y="24060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1" name="椭圆 70"/>
          <p:cNvSpPr/>
          <p:nvPr>
            <p:custDataLst>
              <p:tags r:id="rId57"/>
            </p:custDataLst>
          </p:nvPr>
        </p:nvSpPr>
        <p:spPr>
          <a:xfrm>
            <a:off x="9157970" y="24060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2" name="椭圆 71"/>
          <p:cNvSpPr/>
          <p:nvPr>
            <p:custDataLst>
              <p:tags r:id="rId58"/>
            </p:custDataLst>
          </p:nvPr>
        </p:nvSpPr>
        <p:spPr>
          <a:xfrm>
            <a:off x="9310370" y="24060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3" name="椭圆 72"/>
          <p:cNvSpPr/>
          <p:nvPr>
            <p:custDataLst>
              <p:tags r:id="rId59"/>
            </p:custDataLst>
          </p:nvPr>
        </p:nvSpPr>
        <p:spPr>
          <a:xfrm>
            <a:off x="9462770" y="24060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4" name="椭圆 73"/>
          <p:cNvSpPr/>
          <p:nvPr>
            <p:custDataLst>
              <p:tags r:id="rId60"/>
            </p:custDataLst>
          </p:nvPr>
        </p:nvSpPr>
        <p:spPr>
          <a:xfrm>
            <a:off x="9615170" y="24060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5" name="椭圆 74"/>
          <p:cNvSpPr/>
          <p:nvPr>
            <p:custDataLst>
              <p:tags r:id="rId61"/>
            </p:custDataLst>
          </p:nvPr>
        </p:nvSpPr>
        <p:spPr>
          <a:xfrm>
            <a:off x="9767570" y="24060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椭圆 75"/>
          <p:cNvSpPr/>
          <p:nvPr>
            <p:custDataLst>
              <p:tags r:id="rId62"/>
            </p:custDataLst>
          </p:nvPr>
        </p:nvSpPr>
        <p:spPr>
          <a:xfrm>
            <a:off x="9919970" y="24060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8" name="椭圆 77"/>
          <p:cNvSpPr/>
          <p:nvPr>
            <p:custDataLst>
              <p:tags r:id="rId63"/>
            </p:custDataLst>
          </p:nvPr>
        </p:nvSpPr>
        <p:spPr>
          <a:xfrm>
            <a:off x="8395970" y="2558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9" name="椭圆 78"/>
          <p:cNvSpPr/>
          <p:nvPr>
            <p:custDataLst>
              <p:tags r:id="rId64"/>
            </p:custDataLst>
          </p:nvPr>
        </p:nvSpPr>
        <p:spPr>
          <a:xfrm>
            <a:off x="8548370" y="2558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0" name="椭圆 79"/>
          <p:cNvSpPr/>
          <p:nvPr>
            <p:custDataLst>
              <p:tags r:id="rId65"/>
            </p:custDataLst>
          </p:nvPr>
        </p:nvSpPr>
        <p:spPr>
          <a:xfrm>
            <a:off x="8700770" y="2558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1" name="椭圆 80"/>
          <p:cNvSpPr/>
          <p:nvPr>
            <p:custDataLst>
              <p:tags r:id="rId66"/>
            </p:custDataLst>
          </p:nvPr>
        </p:nvSpPr>
        <p:spPr>
          <a:xfrm>
            <a:off x="8853170" y="2558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2" name="椭圆 81"/>
          <p:cNvSpPr/>
          <p:nvPr>
            <p:custDataLst>
              <p:tags r:id="rId67"/>
            </p:custDataLst>
          </p:nvPr>
        </p:nvSpPr>
        <p:spPr>
          <a:xfrm>
            <a:off x="9005570" y="2558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3" name="椭圆 82"/>
          <p:cNvSpPr/>
          <p:nvPr>
            <p:custDataLst>
              <p:tags r:id="rId68"/>
            </p:custDataLst>
          </p:nvPr>
        </p:nvSpPr>
        <p:spPr>
          <a:xfrm>
            <a:off x="9157970" y="2558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4" name="椭圆 83"/>
          <p:cNvSpPr/>
          <p:nvPr>
            <p:custDataLst>
              <p:tags r:id="rId69"/>
            </p:custDataLst>
          </p:nvPr>
        </p:nvSpPr>
        <p:spPr>
          <a:xfrm>
            <a:off x="9310370" y="2558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5" name="椭圆 84"/>
          <p:cNvSpPr/>
          <p:nvPr>
            <p:custDataLst>
              <p:tags r:id="rId70"/>
            </p:custDataLst>
          </p:nvPr>
        </p:nvSpPr>
        <p:spPr>
          <a:xfrm>
            <a:off x="9462770" y="2558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6" name="椭圆 85"/>
          <p:cNvSpPr/>
          <p:nvPr>
            <p:custDataLst>
              <p:tags r:id="rId71"/>
            </p:custDataLst>
          </p:nvPr>
        </p:nvSpPr>
        <p:spPr>
          <a:xfrm>
            <a:off x="9615170" y="2558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7" name="椭圆 86"/>
          <p:cNvSpPr/>
          <p:nvPr>
            <p:custDataLst>
              <p:tags r:id="rId72"/>
            </p:custDataLst>
          </p:nvPr>
        </p:nvSpPr>
        <p:spPr>
          <a:xfrm>
            <a:off x="9767570" y="2558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8" name="椭圆 87"/>
          <p:cNvSpPr/>
          <p:nvPr>
            <p:custDataLst>
              <p:tags r:id="rId73"/>
            </p:custDataLst>
          </p:nvPr>
        </p:nvSpPr>
        <p:spPr>
          <a:xfrm>
            <a:off x="9919970" y="2558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ustDataLst>
      <p:tags r:id="rId74"/>
    </p:custData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任意多边形: 形状 89"/>
          <p:cNvSpPr/>
          <p:nvPr>
            <p:custDataLst>
              <p:tags r:id="rId1"/>
            </p:custDataLst>
          </p:nvPr>
        </p:nvSpPr>
        <p:spPr>
          <a:xfrm>
            <a:off x="1736806" y="1452674"/>
            <a:ext cx="9101599" cy="4499877"/>
          </a:xfrm>
          <a:custGeom>
            <a:avLst/>
            <a:gdLst>
              <a:gd name="connsiteX0" fmla="*/ 8838074 w 9101599"/>
              <a:gd name="connsiteY0" fmla="*/ 0 h 4499877"/>
              <a:gd name="connsiteX1" fmla="*/ 9101599 w 9101599"/>
              <a:gd name="connsiteY1" fmla="*/ 0 h 4499877"/>
              <a:gd name="connsiteX2" fmla="*/ 9101599 w 9101599"/>
              <a:gd name="connsiteY2" fmla="*/ 4499877 h 4499877"/>
              <a:gd name="connsiteX3" fmla="*/ 0 w 9101599"/>
              <a:gd name="connsiteY3" fmla="*/ 4499877 h 4499877"/>
              <a:gd name="connsiteX4" fmla="*/ 0 w 9101599"/>
              <a:gd name="connsiteY4" fmla="*/ 4281627 h 4499877"/>
              <a:gd name="connsiteX5" fmla="*/ 8838074 w 9101599"/>
              <a:gd name="connsiteY5" fmla="*/ 4281627 h 4499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01599" h="4499877">
                <a:moveTo>
                  <a:pt x="8838074" y="0"/>
                </a:moveTo>
                <a:lnTo>
                  <a:pt x="9101599" y="0"/>
                </a:lnTo>
                <a:lnTo>
                  <a:pt x="9101599" y="4499877"/>
                </a:lnTo>
                <a:lnTo>
                  <a:pt x="0" y="4499877"/>
                </a:lnTo>
                <a:lnTo>
                  <a:pt x="0" y="4281627"/>
                </a:lnTo>
                <a:lnTo>
                  <a:pt x="8838074" y="4281627"/>
                </a:ln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sz="1600" b="1" dirty="0">
              <a:solidFill>
                <a:schemeClr val="bg1"/>
              </a:solidFill>
              <a:latin typeface="+mn-ea"/>
            </a:endParaRPr>
          </a:p>
        </p:txBody>
      </p:sp>
      <p:sp>
        <p:nvSpPr>
          <p:cNvPr id="91" name="矩形 90"/>
          <p:cNvSpPr/>
          <p:nvPr>
            <p:custDataLst>
              <p:tags r:id="rId2"/>
            </p:custDataLst>
          </p:nvPr>
        </p:nvSpPr>
        <p:spPr>
          <a:xfrm>
            <a:off x="1473281" y="1123698"/>
            <a:ext cx="9101599" cy="4610603"/>
          </a:xfrm>
          <a:prstGeom prst="rect">
            <a:avLst/>
          </a:prstGeom>
          <a:solidFill>
            <a:schemeClr val="bg1"/>
          </a:solidFill>
          <a:ln w="508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600" b="1" dirty="0">
              <a:solidFill>
                <a:schemeClr val="bg1"/>
              </a:solidFill>
              <a:latin typeface="+mn-ea"/>
            </a:endParaRPr>
          </a:p>
        </p:txBody>
      </p:sp>
      <p:sp>
        <p:nvSpPr>
          <p:cNvPr id="2" name="文本框 1"/>
          <p:cNvSpPr txBox="1"/>
          <p:nvPr>
            <p:custDataLst>
              <p:tags r:id="rId3"/>
            </p:custDataLst>
          </p:nvPr>
        </p:nvSpPr>
        <p:spPr>
          <a:xfrm>
            <a:off x="1806575" y="1731010"/>
            <a:ext cx="8185150" cy="4300220"/>
          </a:xfrm>
          <a:prstGeom prst="rect">
            <a:avLst/>
          </a:prstGeom>
          <a:noFill/>
        </p:spPr>
        <p:txBody>
          <a:bodyPr wrap="square" lIns="101600" tIns="0" rIns="82550" bIns="0" rtlCol="0">
            <a:noAutofit/>
          </a:bodyPr>
          <a:lstStyle>
            <a:defPPr>
              <a:defRPr lang="zh-CN"/>
            </a:defPPr>
            <a:lvl1pPr fontAlgn="auto">
              <a:lnSpc>
                <a:spcPct val="130000"/>
              </a:lnSpc>
              <a:spcAft>
                <a:spcPts val="1000"/>
              </a:spcAft>
              <a:defRPr sz="1600" spc="150"/>
            </a:lvl1pPr>
          </a:lstStyle>
          <a:p>
            <a:pPr indent="0" fontAlgn="ctr">
              <a:spcBef>
                <a:spcPts val="1000"/>
              </a:spcBef>
              <a:spcAft>
                <a:spcPts val="0"/>
              </a:spcAft>
              <a:buSzPct val="100000"/>
              <a:buFont typeface="WPS-Bullets" pitchFamily="2" charset="0"/>
              <a:buNone/>
            </a:pPr>
            <a:r>
              <a:rPr lang="en-US" altLang="zh-CN" sz="1600"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3.</a:t>
            </a:r>
            <a:r>
              <a:rPr lang="zh-CN" altLang="en-US" sz="1600"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由于要将表现和内容混杂在一起，内联样式会损失掉样式表的许多优势。请慎用这种方法，例如当样式仅需要在一个元素上应用一次时。</a:t>
            </a:r>
            <a:endParaRPr lang="zh-CN" altLang="en-US" sz="1600"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SzPct val="100000"/>
              <a:buFont typeface="WPS-Bullets" pitchFamily="2" charset="0"/>
              <a:buNone/>
            </a:pPr>
            <a:endParaRPr lang="zh-CN" altLang="en-US" sz="1600"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SzPct val="100000"/>
              <a:buFont typeface="WPS-Bullets" pitchFamily="2" charset="0"/>
              <a:buNone/>
            </a:pPr>
            <a:r>
              <a:rPr lang="zh-CN" altLang="en-US" sz="1600"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要使用内联样式，你需要在相关的标签内使用样式（style）属性。Style 属性可以包含任何 CSS 属性。本例展示如何改变段落的颜色和左外边距：</a:t>
            </a:r>
            <a:endParaRPr lang="zh-CN" altLang="en-US" sz="1600"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SzPct val="100000"/>
              <a:buFont typeface="WPS-Bullets" pitchFamily="2" charset="0"/>
              <a:buNone/>
            </a:pPr>
            <a:endParaRPr lang="zh-CN" altLang="en-US" sz="1600"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SzPct val="100000"/>
              <a:buFont typeface="WPS-Bullets" pitchFamily="2" charset="0"/>
              <a:buNone/>
            </a:pPr>
            <a:r>
              <a:rPr lang="zh-CN" altLang="en-US" sz="1600"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lt;p style="color: sienna; margin-left: 20px"&gt;</a:t>
            </a:r>
            <a:endParaRPr lang="zh-CN" altLang="en-US" sz="1600"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SzPct val="100000"/>
              <a:buFont typeface="WPS-Bullets" pitchFamily="2" charset="0"/>
              <a:buNone/>
            </a:pPr>
            <a:r>
              <a:rPr lang="zh-CN" altLang="en-US" sz="1600"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This is a paragraph</a:t>
            </a:r>
            <a:endParaRPr lang="zh-CN" altLang="en-US" sz="1600"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SzPct val="100000"/>
              <a:buFont typeface="WPS-Bullets" pitchFamily="2" charset="0"/>
              <a:buNone/>
            </a:pPr>
            <a:r>
              <a:rPr lang="zh-CN" altLang="en-US" sz="1600"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lt;/p&gt;</a:t>
            </a:r>
            <a:endParaRPr lang="zh-CN" altLang="en-US" sz="1600"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p:txBody>
      </p:sp>
      <p:sp>
        <p:nvSpPr>
          <p:cNvPr id="11" name="文本框 10"/>
          <p:cNvSpPr txBox="1"/>
          <p:nvPr>
            <p:custDataLst>
              <p:tags r:id="rId4"/>
            </p:custDataLst>
          </p:nvPr>
        </p:nvSpPr>
        <p:spPr>
          <a:xfrm>
            <a:off x="1736869" y="1171416"/>
            <a:ext cx="3632200" cy="624840"/>
          </a:xfrm>
          <a:prstGeom prst="rect">
            <a:avLst/>
          </a:prstGeom>
          <a:noFill/>
        </p:spPr>
        <p:txBody>
          <a:bodyPr wrap="none" lIns="101600" tIns="38100" rIns="63500" bIns="38100" rtlCol="0">
            <a:noAutofit/>
          </a:bodyPr>
          <a:lstStyle/>
          <a:p>
            <a:pPr algn="l"/>
            <a:r>
              <a:rPr lang="zh-CN" altLang="en-US" sz="3600" b="1" spc="300" dirty="0">
                <a:solidFill>
                  <a:schemeClr val="tx1">
                    <a:lumMod val="75000"/>
                    <a:lumOff val="25000"/>
                  </a:schemeClr>
                </a:solidFill>
                <a:uFillTx/>
                <a:latin typeface="Arial" panose="020B0604020202020204" pitchFamily="34" charset="0"/>
                <a:ea typeface="微软雅黑" panose="020B0503020204020204" charset="-122"/>
              </a:rPr>
              <a:t>内联样式</a:t>
            </a:r>
            <a:endParaRPr lang="zh-CN" altLang="en-US" sz="3600" b="1" spc="300" dirty="0">
              <a:solidFill>
                <a:schemeClr val="tx1">
                  <a:lumMod val="75000"/>
                  <a:lumOff val="25000"/>
                </a:schemeClr>
              </a:solidFill>
              <a:uFillTx/>
              <a:latin typeface="Arial" panose="020B0604020202020204" pitchFamily="34" charset="0"/>
              <a:ea typeface="微软雅黑" panose="020B0503020204020204" charset="-122"/>
            </a:endParaRPr>
          </a:p>
        </p:txBody>
      </p:sp>
      <p:sp>
        <p:nvSpPr>
          <p:cNvPr id="13" name="矩形 12"/>
          <p:cNvSpPr/>
          <p:nvPr>
            <p:custDataLst>
              <p:tags r:id="rId5"/>
            </p:custDataLst>
          </p:nvPr>
        </p:nvSpPr>
        <p:spPr>
          <a:xfrm>
            <a:off x="2069465" y="1092200"/>
            <a:ext cx="511810" cy="615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600" b="1" dirty="0">
              <a:solidFill>
                <a:schemeClr val="bg1"/>
              </a:solidFill>
              <a:latin typeface="+mn-ea"/>
            </a:endParaRPr>
          </a:p>
        </p:txBody>
      </p:sp>
      <p:sp>
        <p:nvSpPr>
          <p:cNvPr id="14" name="矩形 13"/>
          <p:cNvSpPr/>
          <p:nvPr>
            <p:custDataLst>
              <p:tags r:id="rId6"/>
            </p:custDataLst>
          </p:nvPr>
        </p:nvSpPr>
        <p:spPr>
          <a:xfrm>
            <a:off x="2199005" y="1092835"/>
            <a:ext cx="60960" cy="6159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600" b="1" dirty="0">
              <a:solidFill>
                <a:schemeClr val="bg1"/>
              </a:solidFill>
              <a:latin typeface="+mn-ea"/>
            </a:endParaRPr>
          </a:p>
        </p:txBody>
      </p:sp>
      <p:sp>
        <p:nvSpPr>
          <p:cNvPr id="15" name="矩形 14"/>
          <p:cNvSpPr/>
          <p:nvPr>
            <p:custDataLst>
              <p:tags r:id="rId7"/>
            </p:custDataLst>
          </p:nvPr>
        </p:nvSpPr>
        <p:spPr>
          <a:xfrm>
            <a:off x="2400300" y="1092835"/>
            <a:ext cx="60960" cy="6159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600" b="1" dirty="0">
              <a:solidFill>
                <a:schemeClr val="bg1"/>
              </a:solidFill>
              <a:latin typeface="+mn-ea"/>
            </a:endParaRPr>
          </a:p>
        </p:txBody>
      </p:sp>
      <p:sp>
        <p:nvSpPr>
          <p:cNvPr id="18" name="椭圆 17"/>
          <p:cNvSpPr/>
          <p:nvPr>
            <p:custDataLst>
              <p:tags r:id="rId8"/>
            </p:custDataLst>
          </p:nvPr>
        </p:nvSpPr>
        <p:spPr>
          <a:xfrm>
            <a:off x="8395970" y="1796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椭圆 18"/>
          <p:cNvSpPr/>
          <p:nvPr>
            <p:custDataLst>
              <p:tags r:id="rId9"/>
            </p:custDataLst>
          </p:nvPr>
        </p:nvSpPr>
        <p:spPr>
          <a:xfrm>
            <a:off x="8548370" y="1796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椭圆 19"/>
          <p:cNvSpPr/>
          <p:nvPr>
            <p:custDataLst>
              <p:tags r:id="rId10"/>
            </p:custDataLst>
          </p:nvPr>
        </p:nvSpPr>
        <p:spPr>
          <a:xfrm>
            <a:off x="8700770" y="1796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椭圆 20"/>
          <p:cNvSpPr/>
          <p:nvPr>
            <p:custDataLst>
              <p:tags r:id="rId11"/>
            </p:custDataLst>
          </p:nvPr>
        </p:nvSpPr>
        <p:spPr>
          <a:xfrm>
            <a:off x="8853170" y="1796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椭圆 21"/>
          <p:cNvSpPr/>
          <p:nvPr>
            <p:custDataLst>
              <p:tags r:id="rId12"/>
            </p:custDataLst>
          </p:nvPr>
        </p:nvSpPr>
        <p:spPr>
          <a:xfrm>
            <a:off x="9005570" y="1796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椭圆 22"/>
          <p:cNvSpPr/>
          <p:nvPr>
            <p:custDataLst>
              <p:tags r:id="rId13"/>
            </p:custDataLst>
          </p:nvPr>
        </p:nvSpPr>
        <p:spPr>
          <a:xfrm>
            <a:off x="9157970" y="1796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椭圆 23"/>
          <p:cNvSpPr/>
          <p:nvPr>
            <p:custDataLst>
              <p:tags r:id="rId14"/>
            </p:custDataLst>
          </p:nvPr>
        </p:nvSpPr>
        <p:spPr>
          <a:xfrm>
            <a:off x="9310370" y="1796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椭圆 24"/>
          <p:cNvSpPr/>
          <p:nvPr>
            <p:custDataLst>
              <p:tags r:id="rId15"/>
            </p:custDataLst>
          </p:nvPr>
        </p:nvSpPr>
        <p:spPr>
          <a:xfrm>
            <a:off x="9462770" y="1796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椭圆 25"/>
          <p:cNvSpPr/>
          <p:nvPr>
            <p:custDataLst>
              <p:tags r:id="rId16"/>
            </p:custDataLst>
          </p:nvPr>
        </p:nvSpPr>
        <p:spPr>
          <a:xfrm>
            <a:off x="9615170" y="1796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椭圆 26"/>
          <p:cNvSpPr/>
          <p:nvPr>
            <p:custDataLst>
              <p:tags r:id="rId17"/>
            </p:custDataLst>
          </p:nvPr>
        </p:nvSpPr>
        <p:spPr>
          <a:xfrm>
            <a:off x="9767570" y="1796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椭圆 27"/>
          <p:cNvSpPr/>
          <p:nvPr>
            <p:custDataLst>
              <p:tags r:id="rId18"/>
            </p:custDataLst>
          </p:nvPr>
        </p:nvSpPr>
        <p:spPr>
          <a:xfrm>
            <a:off x="9919970" y="1796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椭圆 29"/>
          <p:cNvSpPr/>
          <p:nvPr>
            <p:custDataLst>
              <p:tags r:id="rId19"/>
            </p:custDataLst>
          </p:nvPr>
        </p:nvSpPr>
        <p:spPr>
          <a:xfrm>
            <a:off x="8395970" y="19488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椭圆 30"/>
          <p:cNvSpPr/>
          <p:nvPr>
            <p:custDataLst>
              <p:tags r:id="rId20"/>
            </p:custDataLst>
          </p:nvPr>
        </p:nvSpPr>
        <p:spPr>
          <a:xfrm>
            <a:off x="8548370" y="19488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椭圆 31"/>
          <p:cNvSpPr/>
          <p:nvPr>
            <p:custDataLst>
              <p:tags r:id="rId21"/>
            </p:custDataLst>
          </p:nvPr>
        </p:nvSpPr>
        <p:spPr>
          <a:xfrm>
            <a:off x="8700770" y="19488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椭圆 32"/>
          <p:cNvSpPr/>
          <p:nvPr>
            <p:custDataLst>
              <p:tags r:id="rId22"/>
            </p:custDataLst>
          </p:nvPr>
        </p:nvSpPr>
        <p:spPr>
          <a:xfrm>
            <a:off x="8853170" y="19488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椭圆 33"/>
          <p:cNvSpPr/>
          <p:nvPr>
            <p:custDataLst>
              <p:tags r:id="rId23"/>
            </p:custDataLst>
          </p:nvPr>
        </p:nvSpPr>
        <p:spPr>
          <a:xfrm>
            <a:off x="9005570" y="19488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椭圆 34"/>
          <p:cNvSpPr/>
          <p:nvPr>
            <p:custDataLst>
              <p:tags r:id="rId24"/>
            </p:custDataLst>
          </p:nvPr>
        </p:nvSpPr>
        <p:spPr>
          <a:xfrm>
            <a:off x="9157970" y="19488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椭圆 35"/>
          <p:cNvSpPr/>
          <p:nvPr>
            <p:custDataLst>
              <p:tags r:id="rId25"/>
            </p:custDataLst>
          </p:nvPr>
        </p:nvSpPr>
        <p:spPr>
          <a:xfrm>
            <a:off x="9310370" y="19488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椭圆 36"/>
          <p:cNvSpPr/>
          <p:nvPr>
            <p:custDataLst>
              <p:tags r:id="rId26"/>
            </p:custDataLst>
          </p:nvPr>
        </p:nvSpPr>
        <p:spPr>
          <a:xfrm>
            <a:off x="9462770" y="19488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椭圆 37"/>
          <p:cNvSpPr/>
          <p:nvPr>
            <p:custDataLst>
              <p:tags r:id="rId27"/>
            </p:custDataLst>
          </p:nvPr>
        </p:nvSpPr>
        <p:spPr>
          <a:xfrm>
            <a:off x="9615170" y="19488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椭圆 38"/>
          <p:cNvSpPr/>
          <p:nvPr>
            <p:custDataLst>
              <p:tags r:id="rId28"/>
            </p:custDataLst>
          </p:nvPr>
        </p:nvSpPr>
        <p:spPr>
          <a:xfrm>
            <a:off x="9767570" y="19488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椭圆 39"/>
          <p:cNvSpPr/>
          <p:nvPr>
            <p:custDataLst>
              <p:tags r:id="rId29"/>
            </p:custDataLst>
          </p:nvPr>
        </p:nvSpPr>
        <p:spPr>
          <a:xfrm>
            <a:off x="9919970" y="19488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椭圆 41"/>
          <p:cNvSpPr/>
          <p:nvPr>
            <p:custDataLst>
              <p:tags r:id="rId30"/>
            </p:custDataLst>
          </p:nvPr>
        </p:nvSpPr>
        <p:spPr>
          <a:xfrm>
            <a:off x="8395970" y="21012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椭圆 42"/>
          <p:cNvSpPr/>
          <p:nvPr>
            <p:custDataLst>
              <p:tags r:id="rId31"/>
            </p:custDataLst>
          </p:nvPr>
        </p:nvSpPr>
        <p:spPr>
          <a:xfrm>
            <a:off x="8548370" y="21012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椭圆 43"/>
          <p:cNvSpPr/>
          <p:nvPr>
            <p:custDataLst>
              <p:tags r:id="rId32"/>
            </p:custDataLst>
          </p:nvPr>
        </p:nvSpPr>
        <p:spPr>
          <a:xfrm>
            <a:off x="8700770" y="21012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椭圆 44"/>
          <p:cNvSpPr/>
          <p:nvPr>
            <p:custDataLst>
              <p:tags r:id="rId33"/>
            </p:custDataLst>
          </p:nvPr>
        </p:nvSpPr>
        <p:spPr>
          <a:xfrm>
            <a:off x="8853170" y="21012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椭圆 45"/>
          <p:cNvSpPr/>
          <p:nvPr>
            <p:custDataLst>
              <p:tags r:id="rId34"/>
            </p:custDataLst>
          </p:nvPr>
        </p:nvSpPr>
        <p:spPr>
          <a:xfrm>
            <a:off x="9005570" y="21012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椭圆 46"/>
          <p:cNvSpPr/>
          <p:nvPr>
            <p:custDataLst>
              <p:tags r:id="rId35"/>
            </p:custDataLst>
          </p:nvPr>
        </p:nvSpPr>
        <p:spPr>
          <a:xfrm>
            <a:off x="9157970" y="21012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椭圆 47"/>
          <p:cNvSpPr/>
          <p:nvPr>
            <p:custDataLst>
              <p:tags r:id="rId36"/>
            </p:custDataLst>
          </p:nvPr>
        </p:nvSpPr>
        <p:spPr>
          <a:xfrm>
            <a:off x="9310370" y="21012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椭圆 48"/>
          <p:cNvSpPr/>
          <p:nvPr>
            <p:custDataLst>
              <p:tags r:id="rId37"/>
            </p:custDataLst>
          </p:nvPr>
        </p:nvSpPr>
        <p:spPr>
          <a:xfrm>
            <a:off x="9462770" y="21012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椭圆 49"/>
          <p:cNvSpPr/>
          <p:nvPr>
            <p:custDataLst>
              <p:tags r:id="rId38"/>
            </p:custDataLst>
          </p:nvPr>
        </p:nvSpPr>
        <p:spPr>
          <a:xfrm>
            <a:off x="9615170" y="21012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椭圆 50"/>
          <p:cNvSpPr/>
          <p:nvPr>
            <p:custDataLst>
              <p:tags r:id="rId39"/>
            </p:custDataLst>
          </p:nvPr>
        </p:nvSpPr>
        <p:spPr>
          <a:xfrm>
            <a:off x="9767570" y="21012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椭圆 51"/>
          <p:cNvSpPr/>
          <p:nvPr>
            <p:custDataLst>
              <p:tags r:id="rId40"/>
            </p:custDataLst>
          </p:nvPr>
        </p:nvSpPr>
        <p:spPr>
          <a:xfrm>
            <a:off x="9919970" y="21012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椭圆 53"/>
          <p:cNvSpPr/>
          <p:nvPr>
            <p:custDataLst>
              <p:tags r:id="rId41"/>
            </p:custDataLst>
          </p:nvPr>
        </p:nvSpPr>
        <p:spPr>
          <a:xfrm>
            <a:off x="8395970" y="22536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5" name="椭圆 54"/>
          <p:cNvSpPr/>
          <p:nvPr>
            <p:custDataLst>
              <p:tags r:id="rId42"/>
            </p:custDataLst>
          </p:nvPr>
        </p:nvSpPr>
        <p:spPr>
          <a:xfrm>
            <a:off x="8548370" y="22536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椭圆 55"/>
          <p:cNvSpPr/>
          <p:nvPr>
            <p:custDataLst>
              <p:tags r:id="rId43"/>
            </p:custDataLst>
          </p:nvPr>
        </p:nvSpPr>
        <p:spPr>
          <a:xfrm>
            <a:off x="8700770" y="22536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7" name="椭圆 56"/>
          <p:cNvSpPr/>
          <p:nvPr>
            <p:custDataLst>
              <p:tags r:id="rId44"/>
            </p:custDataLst>
          </p:nvPr>
        </p:nvSpPr>
        <p:spPr>
          <a:xfrm>
            <a:off x="8853170" y="22536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8" name="椭圆 57"/>
          <p:cNvSpPr/>
          <p:nvPr>
            <p:custDataLst>
              <p:tags r:id="rId45"/>
            </p:custDataLst>
          </p:nvPr>
        </p:nvSpPr>
        <p:spPr>
          <a:xfrm>
            <a:off x="9005570" y="22536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椭圆 58"/>
          <p:cNvSpPr/>
          <p:nvPr>
            <p:custDataLst>
              <p:tags r:id="rId46"/>
            </p:custDataLst>
          </p:nvPr>
        </p:nvSpPr>
        <p:spPr>
          <a:xfrm>
            <a:off x="9157970" y="22536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椭圆 59"/>
          <p:cNvSpPr/>
          <p:nvPr>
            <p:custDataLst>
              <p:tags r:id="rId47"/>
            </p:custDataLst>
          </p:nvPr>
        </p:nvSpPr>
        <p:spPr>
          <a:xfrm>
            <a:off x="9310370" y="22536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椭圆 60"/>
          <p:cNvSpPr/>
          <p:nvPr>
            <p:custDataLst>
              <p:tags r:id="rId48"/>
            </p:custDataLst>
          </p:nvPr>
        </p:nvSpPr>
        <p:spPr>
          <a:xfrm>
            <a:off x="9462770" y="22536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椭圆 61"/>
          <p:cNvSpPr/>
          <p:nvPr>
            <p:custDataLst>
              <p:tags r:id="rId49"/>
            </p:custDataLst>
          </p:nvPr>
        </p:nvSpPr>
        <p:spPr>
          <a:xfrm>
            <a:off x="9615170" y="22536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3" name="椭圆 62"/>
          <p:cNvSpPr/>
          <p:nvPr>
            <p:custDataLst>
              <p:tags r:id="rId50"/>
            </p:custDataLst>
          </p:nvPr>
        </p:nvSpPr>
        <p:spPr>
          <a:xfrm>
            <a:off x="9767570" y="22536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4" name="椭圆 63"/>
          <p:cNvSpPr/>
          <p:nvPr>
            <p:custDataLst>
              <p:tags r:id="rId51"/>
            </p:custDataLst>
          </p:nvPr>
        </p:nvSpPr>
        <p:spPr>
          <a:xfrm>
            <a:off x="9919970" y="22536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6" name="椭圆 65"/>
          <p:cNvSpPr/>
          <p:nvPr>
            <p:custDataLst>
              <p:tags r:id="rId52"/>
            </p:custDataLst>
          </p:nvPr>
        </p:nvSpPr>
        <p:spPr>
          <a:xfrm>
            <a:off x="8395970" y="24060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7" name="椭圆 66"/>
          <p:cNvSpPr/>
          <p:nvPr>
            <p:custDataLst>
              <p:tags r:id="rId53"/>
            </p:custDataLst>
          </p:nvPr>
        </p:nvSpPr>
        <p:spPr>
          <a:xfrm>
            <a:off x="8548370" y="24060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8" name="椭圆 67"/>
          <p:cNvSpPr/>
          <p:nvPr>
            <p:custDataLst>
              <p:tags r:id="rId54"/>
            </p:custDataLst>
          </p:nvPr>
        </p:nvSpPr>
        <p:spPr>
          <a:xfrm>
            <a:off x="8700770" y="24060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9" name="椭圆 68"/>
          <p:cNvSpPr/>
          <p:nvPr>
            <p:custDataLst>
              <p:tags r:id="rId55"/>
            </p:custDataLst>
          </p:nvPr>
        </p:nvSpPr>
        <p:spPr>
          <a:xfrm>
            <a:off x="8853170" y="24060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0" name="椭圆 69"/>
          <p:cNvSpPr/>
          <p:nvPr>
            <p:custDataLst>
              <p:tags r:id="rId56"/>
            </p:custDataLst>
          </p:nvPr>
        </p:nvSpPr>
        <p:spPr>
          <a:xfrm>
            <a:off x="9005570" y="24060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1" name="椭圆 70"/>
          <p:cNvSpPr/>
          <p:nvPr>
            <p:custDataLst>
              <p:tags r:id="rId57"/>
            </p:custDataLst>
          </p:nvPr>
        </p:nvSpPr>
        <p:spPr>
          <a:xfrm>
            <a:off x="9157970" y="24060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2" name="椭圆 71"/>
          <p:cNvSpPr/>
          <p:nvPr>
            <p:custDataLst>
              <p:tags r:id="rId58"/>
            </p:custDataLst>
          </p:nvPr>
        </p:nvSpPr>
        <p:spPr>
          <a:xfrm>
            <a:off x="9310370" y="24060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3" name="椭圆 72"/>
          <p:cNvSpPr/>
          <p:nvPr>
            <p:custDataLst>
              <p:tags r:id="rId59"/>
            </p:custDataLst>
          </p:nvPr>
        </p:nvSpPr>
        <p:spPr>
          <a:xfrm>
            <a:off x="9462770" y="24060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4" name="椭圆 73"/>
          <p:cNvSpPr/>
          <p:nvPr>
            <p:custDataLst>
              <p:tags r:id="rId60"/>
            </p:custDataLst>
          </p:nvPr>
        </p:nvSpPr>
        <p:spPr>
          <a:xfrm>
            <a:off x="9615170" y="24060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5" name="椭圆 74"/>
          <p:cNvSpPr/>
          <p:nvPr>
            <p:custDataLst>
              <p:tags r:id="rId61"/>
            </p:custDataLst>
          </p:nvPr>
        </p:nvSpPr>
        <p:spPr>
          <a:xfrm>
            <a:off x="9767570" y="24060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椭圆 75"/>
          <p:cNvSpPr/>
          <p:nvPr>
            <p:custDataLst>
              <p:tags r:id="rId62"/>
            </p:custDataLst>
          </p:nvPr>
        </p:nvSpPr>
        <p:spPr>
          <a:xfrm>
            <a:off x="9919970" y="24060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8" name="椭圆 77"/>
          <p:cNvSpPr/>
          <p:nvPr>
            <p:custDataLst>
              <p:tags r:id="rId63"/>
            </p:custDataLst>
          </p:nvPr>
        </p:nvSpPr>
        <p:spPr>
          <a:xfrm>
            <a:off x="8395970" y="2558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9" name="椭圆 78"/>
          <p:cNvSpPr/>
          <p:nvPr>
            <p:custDataLst>
              <p:tags r:id="rId64"/>
            </p:custDataLst>
          </p:nvPr>
        </p:nvSpPr>
        <p:spPr>
          <a:xfrm>
            <a:off x="8548370" y="2558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0" name="椭圆 79"/>
          <p:cNvSpPr/>
          <p:nvPr>
            <p:custDataLst>
              <p:tags r:id="rId65"/>
            </p:custDataLst>
          </p:nvPr>
        </p:nvSpPr>
        <p:spPr>
          <a:xfrm>
            <a:off x="8700770" y="2558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1" name="椭圆 80"/>
          <p:cNvSpPr/>
          <p:nvPr>
            <p:custDataLst>
              <p:tags r:id="rId66"/>
            </p:custDataLst>
          </p:nvPr>
        </p:nvSpPr>
        <p:spPr>
          <a:xfrm>
            <a:off x="8853170" y="2558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2" name="椭圆 81"/>
          <p:cNvSpPr/>
          <p:nvPr>
            <p:custDataLst>
              <p:tags r:id="rId67"/>
            </p:custDataLst>
          </p:nvPr>
        </p:nvSpPr>
        <p:spPr>
          <a:xfrm>
            <a:off x="9005570" y="2558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3" name="椭圆 82"/>
          <p:cNvSpPr/>
          <p:nvPr>
            <p:custDataLst>
              <p:tags r:id="rId68"/>
            </p:custDataLst>
          </p:nvPr>
        </p:nvSpPr>
        <p:spPr>
          <a:xfrm>
            <a:off x="9157970" y="2558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4" name="椭圆 83"/>
          <p:cNvSpPr/>
          <p:nvPr>
            <p:custDataLst>
              <p:tags r:id="rId69"/>
            </p:custDataLst>
          </p:nvPr>
        </p:nvSpPr>
        <p:spPr>
          <a:xfrm>
            <a:off x="9310370" y="2558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5" name="椭圆 84"/>
          <p:cNvSpPr/>
          <p:nvPr>
            <p:custDataLst>
              <p:tags r:id="rId70"/>
            </p:custDataLst>
          </p:nvPr>
        </p:nvSpPr>
        <p:spPr>
          <a:xfrm>
            <a:off x="9462770" y="2558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6" name="椭圆 85"/>
          <p:cNvSpPr/>
          <p:nvPr>
            <p:custDataLst>
              <p:tags r:id="rId71"/>
            </p:custDataLst>
          </p:nvPr>
        </p:nvSpPr>
        <p:spPr>
          <a:xfrm>
            <a:off x="9615170" y="2558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7" name="椭圆 86"/>
          <p:cNvSpPr/>
          <p:nvPr>
            <p:custDataLst>
              <p:tags r:id="rId72"/>
            </p:custDataLst>
          </p:nvPr>
        </p:nvSpPr>
        <p:spPr>
          <a:xfrm>
            <a:off x="9767570" y="2558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8" name="椭圆 87"/>
          <p:cNvSpPr/>
          <p:nvPr>
            <p:custDataLst>
              <p:tags r:id="rId73"/>
            </p:custDataLst>
          </p:nvPr>
        </p:nvSpPr>
        <p:spPr>
          <a:xfrm>
            <a:off x="9919970" y="2558415"/>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ustDataLst>
      <p:tags r:id="rId74"/>
    </p:custData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9" name="矩形 8"/>
          <p:cNvSpPr/>
          <p:nvPr>
            <p:custDataLst>
              <p:tags r:id="rId1"/>
            </p:custDataLst>
          </p:nvPr>
        </p:nvSpPr>
        <p:spPr>
          <a:xfrm>
            <a:off x="765810" y="519113"/>
            <a:ext cx="1627188" cy="1773238"/>
          </a:xfrm>
          <a:prstGeom prst="rect">
            <a:avLst/>
          </a:prstGeom>
          <a:gradFill>
            <a:gsLst>
              <a:gs pos="0">
                <a:srgbClr val="FF4D75"/>
              </a:gs>
              <a:gs pos="100000">
                <a:srgbClr val="9443E2">
                  <a:alpha val="58000"/>
                </a:srgb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dirty="0">
              <a:solidFill>
                <a:schemeClr val="bg1"/>
              </a:solidFill>
              <a:latin typeface="+mn-ea"/>
            </a:endParaRPr>
          </a:p>
        </p:txBody>
      </p:sp>
      <p:sp>
        <p:nvSpPr>
          <p:cNvPr id="17" name="任意多边形: 形状 16"/>
          <p:cNvSpPr/>
          <p:nvPr>
            <p:custDataLst>
              <p:tags r:id="rId2"/>
            </p:custDataLst>
          </p:nvPr>
        </p:nvSpPr>
        <p:spPr>
          <a:xfrm>
            <a:off x="3008313" y="1960563"/>
            <a:ext cx="7326313" cy="3790950"/>
          </a:xfrm>
          <a:custGeom>
            <a:avLst/>
            <a:gdLst>
              <a:gd name="connsiteX0" fmla="*/ 9384198 w 9768470"/>
              <a:gd name="connsiteY0" fmla="*/ 0 h 5054599"/>
              <a:gd name="connsiteX1" fmla="*/ 9768470 w 9768470"/>
              <a:gd name="connsiteY1" fmla="*/ 0 h 5054599"/>
              <a:gd name="connsiteX2" fmla="*/ 9768470 w 9768470"/>
              <a:gd name="connsiteY2" fmla="*/ 5054599 h 5054599"/>
              <a:gd name="connsiteX3" fmla="*/ 0 w 9768470"/>
              <a:gd name="connsiteY3" fmla="*/ 5054599 h 5054599"/>
              <a:gd name="connsiteX4" fmla="*/ 0 w 9768470"/>
              <a:gd name="connsiteY4" fmla="*/ 4695371 h 5054599"/>
              <a:gd name="connsiteX5" fmla="*/ 9384198 w 9768470"/>
              <a:gd name="connsiteY5" fmla="*/ 4695371 h 5054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68470" h="5054599">
                <a:moveTo>
                  <a:pt x="9384198" y="0"/>
                </a:moveTo>
                <a:lnTo>
                  <a:pt x="9768470" y="0"/>
                </a:lnTo>
                <a:lnTo>
                  <a:pt x="9768470" y="5054599"/>
                </a:lnTo>
                <a:lnTo>
                  <a:pt x="0" y="5054599"/>
                </a:lnTo>
                <a:lnTo>
                  <a:pt x="0" y="4695371"/>
                </a:lnTo>
                <a:lnTo>
                  <a:pt x="9384198" y="4695371"/>
                </a:lnTo>
                <a:close/>
              </a:path>
            </a:pathLst>
          </a:custGeom>
          <a:gradFill>
            <a:gsLst>
              <a:gs pos="0">
                <a:srgbClr val="7B32B2"/>
              </a:gs>
              <a:gs pos="100000">
                <a:srgbClr val="401A5D"/>
              </a:gs>
            </a:gsLst>
            <a:lin ang="8100000" scaled="0"/>
          </a:gra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mn-ea"/>
            </a:endParaRPr>
          </a:p>
        </p:txBody>
      </p:sp>
      <p:sp>
        <p:nvSpPr>
          <p:cNvPr id="5" name="文本框 4"/>
          <p:cNvSpPr txBox="1"/>
          <p:nvPr>
            <p:custDataLst>
              <p:tags r:id="rId3"/>
            </p:custDataLst>
          </p:nvPr>
        </p:nvSpPr>
        <p:spPr>
          <a:xfrm>
            <a:off x="2077085" y="1573530"/>
            <a:ext cx="7834630" cy="3778250"/>
          </a:xfrm>
          <a:prstGeom prst="rect">
            <a:avLst/>
          </a:prstGeom>
          <a:noFill/>
        </p:spPr>
        <p:txBody>
          <a:bodyPr wrap="square" lIns="76200" tIns="0" rIns="61912" bIns="0" rtlCol="0">
            <a:noAutofit/>
          </a:bodyPr>
          <a:lstStyle>
            <a:defPPr>
              <a:defRPr lang="zh-CN"/>
            </a:defPPr>
            <a:lvl1pPr fontAlgn="auto">
              <a:lnSpc>
                <a:spcPct val="130000"/>
              </a:lnSpc>
              <a:spcAft>
                <a:spcPts val="1000"/>
              </a:spcAft>
              <a:defRPr sz="1600" spc="150"/>
            </a:lvl1pPr>
          </a:lstStyle>
          <a:p>
            <a:pPr fontAlgn="ctr">
              <a:spcBef>
                <a:spcPts val="1000"/>
              </a:spcBef>
              <a:spcAft>
                <a:spcPts val="0"/>
              </a:spcAft>
              <a:buSzPct val="130000"/>
              <a:buFont typeface="WPS-Numbers" pitchFamily="2" charset="0"/>
            </a:pPr>
            <a:r>
              <a:rPr lang="en-US" altLang="zh-CN" strike="noStrike" noProof="1" dirty="0">
                <a:ln/>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Font——字体</a:t>
            </a:r>
            <a:endParaRPr lang="en-US" altLang="zh-CN" strike="noStrike" noProof="1" dirty="0">
              <a:ln/>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fontAlgn="ctr">
              <a:spcBef>
                <a:spcPts val="1000"/>
              </a:spcBef>
              <a:spcAft>
                <a:spcPts val="0"/>
              </a:spcAft>
              <a:buSzPct val="130000"/>
              <a:buFont typeface="WPS-Numbers" pitchFamily="2" charset="0"/>
            </a:pPr>
            <a:r>
              <a:rPr lang="en-US" altLang="zh-CN" strike="noStrike" noProof="1" dirty="0">
                <a:ln/>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font-size──字体大小     font-family──字体名称     font-weight──字体粗细</a:t>
            </a:r>
            <a:endParaRPr lang="en-US" altLang="zh-CN" strike="noStrike" noProof="1" dirty="0">
              <a:ln/>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fontAlgn="ctr">
              <a:spcBef>
                <a:spcPts val="1000"/>
              </a:spcBef>
              <a:spcAft>
                <a:spcPts val="0"/>
              </a:spcAft>
              <a:buSzPct val="130000"/>
              <a:buFont typeface="WPS-Numbers" pitchFamily="2" charset="0"/>
            </a:pPr>
            <a:r>
              <a:rPr lang="en-US" altLang="zh-CN" strike="noStrike" noProof="1" dirty="0">
                <a:ln/>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text-align──文字对齐方向       text-decoration──文本修饰,是否有下划线   </a:t>
            </a:r>
            <a:endParaRPr lang="en-US" altLang="zh-CN" strike="noStrike" noProof="1" dirty="0">
              <a:ln/>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fontAlgn="ctr">
              <a:spcBef>
                <a:spcPts val="1000"/>
              </a:spcBef>
              <a:spcAft>
                <a:spcPts val="0"/>
              </a:spcAft>
              <a:buSzPct val="130000"/>
              <a:buFont typeface="WPS-Numbers" pitchFamily="2" charset="0"/>
            </a:pPr>
            <a:r>
              <a:rPr lang="en-US" altLang="zh-CN" strike="noStrike" noProof="1" dirty="0">
                <a:ln/>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underline——下划线     line-through——中划线      over-line顶划线         </a:t>
            </a:r>
            <a:endParaRPr lang="en-US" altLang="zh-CN" strike="noStrike" noProof="1" dirty="0">
              <a:ln/>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fontAlgn="ctr">
              <a:spcBef>
                <a:spcPts val="1000"/>
              </a:spcBef>
              <a:spcAft>
                <a:spcPts val="0"/>
              </a:spcAft>
              <a:buSzPct val="130000"/>
              <a:buFont typeface="WPS-Numbers" pitchFamily="2" charset="0"/>
            </a:pPr>
            <a:r>
              <a:rPr lang="en-US" altLang="zh-CN" strike="noStrike" noProof="1" dirty="0">
                <a:ln/>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 background——背景  background-repeat——背景重复方式     background-position   背景定位方式</a:t>
            </a:r>
            <a:endParaRPr lang="en-US" altLang="zh-CN" strike="noStrike" noProof="1" dirty="0">
              <a:ln/>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fontAlgn="ctr">
              <a:spcBef>
                <a:spcPts val="1000"/>
              </a:spcBef>
              <a:spcAft>
                <a:spcPts val="0"/>
              </a:spcAft>
              <a:buSzPct val="130000"/>
              <a:buFont typeface="WPS-Numbers" pitchFamily="2" charset="0"/>
            </a:pPr>
            <a:r>
              <a:rPr lang="en-US" altLang="zh-CN" strike="noStrike" noProof="1" dirty="0">
                <a:ln/>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background-attachment——背景依附方式   border 边框      dotted——点线        dashed——虚线       solid──(边框样式)实线  Transparent——透明</a:t>
            </a:r>
            <a:r>
              <a:rPr lang="zh-CN" altLang="en-US" strike="noStrike" noProof="1" dirty="0">
                <a:ln/>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色</a:t>
            </a:r>
            <a:r>
              <a:rPr lang="en-US" altLang="zh-CN" strike="noStrike" noProof="1" dirty="0">
                <a:ln/>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       opacity——不透明度   </a:t>
            </a:r>
            <a:endParaRPr lang="en-US" altLang="zh-CN" strike="noStrike" noProof="1" dirty="0">
              <a:ln/>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p:txBody>
      </p:sp>
      <p:sp>
        <p:nvSpPr>
          <p:cNvPr id="6" name="文本框 5"/>
          <p:cNvSpPr txBox="1"/>
          <p:nvPr>
            <p:custDataLst>
              <p:tags r:id="rId4"/>
            </p:custDataLst>
          </p:nvPr>
        </p:nvSpPr>
        <p:spPr>
          <a:xfrm>
            <a:off x="2077085" y="1021715"/>
            <a:ext cx="2995930" cy="551815"/>
          </a:xfrm>
          <a:prstGeom prst="rect">
            <a:avLst/>
          </a:prstGeom>
          <a:noFill/>
        </p:spPr>
        <p:txBody>
          <a:bodyPr wrap="none" lIns="76200" tIns="28575" rIns="47625" bIns="28575" rtlCol="0">
            <a:noAutofit/>
          </a:bodyPr>
          <a:lstStyle/>
          <a:p>
            <a:pPr algn="l"/>
            <a:r>
              <a:rPr lang="zh-CN" altLang="en-US" sz="2700" b="1" spc="300" noProof="1" dirty="0">
                <a:solidFill>
                  <a:schemeClr val="tx1">
                    <a:lumMod val="75000"/>
                    <a:lumOff val="25000"/>
                  </a:schemeClr>
                </a:solidFill>
                <a:latin typeface="Arial" panose="020B0604020202020204" pitchFamily="34" charset="0"/>
                <a:ea typeface="微软雅黑" panose="020B0503020204020204" charset="-122"/>
              </a:rPr>
              <a:t>样式表常用属性</a:t>
            </a:r>
            <a:endParaRPr lang="zh-CN" altLang="en-US" sz="2700" b="1" spc="300" noProof="1" dirty="0">
              <a:solidFill>
                <a:schemeClr val="tx1">
                  <a:lumMod val="75000"/>
                  <a:lumOff val="25000"/>
                </a:schemeClr>
              </a:solidFill>
              <a:latin typeface="Arial" panose="020B0604020202020204" pitchFamily="34" charset="0"/>
              <a:ea typeface="微软雅黑" panose="020B0503020204020204" charset="-122"/>
            </a:endParaRPr>
          </a:p>
        </p:txBody>
      </p:sp>
      <p:sp>
        <p:nvSpPr>
          <p:cNvPr id="7" name="矩形 6"/>
          <p:cNvSpPr/>
          <p:nvPr>
            <p:custDataLst>
              <p:tags r:id="rId5"/>
            </p:custDataLst>
          </p:nvPr>
        </p:nvSpPr>
        <p:spPr>
          <a:xfrm>
            <a:off x="1706880" y="944880"/>
            <a:ext cx="8351520" cy="4530725"/>
          </a:xfrm>
          <a:prstGeom prst="rect">
            <a:avLst/>
          </a:prstGeom>
          <a:no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fontAlgn="base"/>
            <a:endParaRPr lang="zh-CN" altLang="en-US" sz="1200" b="1" spc="300" noProof="1" dirty="0">
              <a:solidFill>
                <a:schemeClr val="tx1">
                  <a:lumMod val="75000"/>
                  <a:lumOff val="25000"/>
                </a:schemeClr>
              </a:solidFill>
              <a:latin typeface="Arial" panose="020B0604020202020204" pitchFamily="34" charset="0"/>
              <a:ea typeface="微软雅黑" panose="020B0503020204020204" charset="-122"/>
            </a:endParaRPr>
          </a:p>
          <a:p>
            <a:pPr algn="ctr" fontAlgn="base"/>
            <a:endParaRPr kumimoji="1" lang="zh-CN" altLang="en-US" sz="1200" b="1" strike="noStrike" spc="300" noProof="1" dirty="0">
              <a:solidFill>
                <a:schemeClr val="tx1">
                  <a:lumMod val="75000"/>
                  <a:lumOff val="25000"/>
                </a:schemeClr>
              </a:solidFill>
              <a:latin typeface="Arial" panose="020B0604020202020204" pitchFamily="34" charset="0"/>
              <a:ea typeface="微软雅黑" panose="020B0503020204020204" charset="-122"/>
            </a:endParaRPr>
          </a:p>
        </p:txBody>
      </p:sp>
    </p:spTree>
    <p:custDataLst>
      <p:tags r:id="rId6"/>
    </p:custData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任意多边形: 形状 2"/>
          <p:cNvSpPr/>
          <p:nvPr>
            <p:custDataLst>
              <p:tags r:id="rId1"/>
            </p:custDataLst>
          </p:nvPr>
        </p:nvSpPr>
        <p:spPr>
          <a:xfrm rot="10800000">
            <a:off x="9719312" y="5052530"/>
            <a:ext cx="948688" cy="948220"/>
          </a:xfrm>
          <a:custGeom>
            <a:avLst/>
            <a:gdLst>
              <a:gd name="connsiteX0" fmla="*/ 518887 w 1037771"/>
              <a:gd name="connsiteY0" fmla="*/ 0 h 1037770"/>
              <a:gd name="connsiteX1" fmla="*/ 1037771 w 1037771"/>
              <a:gd name="connsiteY1" fmla="*/ 0 h 1037770"/>
              <a:gd name="connsiteX2" fmla="*/ 1016687 w 1037771"/>
              <a:gd name="connsiteY2" fmla="*/ 209146 h 1037770"/>
              <a:gd name="connsiteX3" fmla="*/ 0 w 1037771"/>
              <a:gd name="connsiteY3" fmla="*/ 1037770 h 1037770"/>
              <a:gd name="connsiteX4" fmla="*/ 0 w 1037771"/>
              <a:gd name="connsiteY4" fmla="*/ 518885 h 1037770"/>
              <a:gd name="connsiteX5" fmla="*/ 1 w 1037771"/>
              <a:gd name="connsiteY5" fmla="*/ 518885 h 1037770"/>
              <a:gd name="connsiteX6" fmla="*/ 508345 w 1037771"/>
              <a:gd name="connsiteY6" fmla="*/ 104573 h 1037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7771" h="1037770">
                <a:moveTo>
                  <a:pt x="518887" y="0"/>
                </a:moveTo>
                <a:lnTo>
                  <a:pt x="1037771" y="0"/>
                </a:lnTo>
                <a:lnTo>
                  <a:pt x="1016687" y="209146"/>
                </a:lnTo>
                <a:cubicBezTo>
                  <a:pt x="919919" y="682041"/>
                  <a:pt x="501502" y="1037770"/>
                  <a:pt x="0" y="1037770"/>
                </a:cubicBezTo>
                <a:lnTo>
                  <a:pt x="0" y="518885"/>
                </a:lnTo>
                <a:lnTo>
                  <a:pt x="1" y="518885"/>
                </a:lnTo>
                <a:cubicBezTo>
                  <a:pt x="250753" y="518885"/>
                  <a:pt x="459961" y="341020"/>
                  <a:pt x="508345" y="104573"/>
                </a:cubicBezTo>
                <a:close/>
              </a:path>
            </a:pathLst>
          </a:custGeom>
          <a:solidFill>
            <a:schemeClr val="accent2">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200" b="1">
              <a:solidFill>
                <a:schemeClr val="bg1"/>
              </a:solidFill>
              <a:latin typeface="+mn-ea"/>
            </a:endParaRPr>
          </a:p>
        </p:txBody>
      </p:sp>
      <p:sp>
        <p:nvSpPr>
          <p:cNvPr id="4" name="任意多边形: 形状 3"/>
          <p:cNvSpPr/>
          <p:nvPr>
            <p:custDataLst>
              <p:tags r:id="rId2"/>
            </p:custDataLst>
          </p:nvPr>
        </p:nvSpPr>
        <p:spPr>
          <a:xfrm flipH="1">
            <a:off x="1524000" y="857250"/>
            <a:ext cx="2571749" cy="5143500"/>
          </a:xfrm>
          <a:custGeom>
            <a:avLst/>
            <a:gdLst>
              <a:gd name="connsiteX0" fmla="*/ 2813221 w 2813241"/>
              <a:gd name="connsiteY0" fmla="*/ 0 h 5626481"/>
              <a:gd name="connsiteX1" fmla="*/ 2813241 w 2813241"/>
              <a:gd name="connsiteY1" fmla="*/ 0 h 5626481"/>
              <a:gd name="connsiteX2" fmla="*/ 2813241 w 2813241"/>
              <a:gd name="connsiteY2" fmla="*/ 1406620 h 5626481"/>
              <a:gd name="connsiteX3" fmla="*/ 2813240 w 2813241"/>
              <a:gd name="connsiteY3" fmla="*/ 1406620 h 5626481"/>
              <a:gd name="connsiteX4" fmla="*/ 1406620 w 2813241"/>
              <a:gd name="connsiteY4" fmla="*/ 2813240 h 5626481"/>
              <a:gd name="connsiteX5" fmla="*/ 2813240 w 2813241"/>
              <a:gd name="connsiteY5" fmla="*/ 4219860 h 5626481"/>
              <a:gd name="connsiteX6" fmla="*/ 2813241 w 2813241"/>
              <a:gd name="connsiteY6" fmla="*/ 4219860 h 5626481"/>
              <a:gd name="connsiteX7" fmla="*/ 2813241 w 2813241"/>
              <a:gd name="connsiteY7" fmla="*/ 5626481 h 5626481"/>
              <a:gd name="connsiteX8" fmla="*/ 0 w 2813241"/>
              <a:gd name="connsiteY8" fmla="*/ 2813240 h 5626481"/>
              <a:gd name="connsiteX9" fmla="*/ 2525603 w 2813241"/>
              <a:gd name="connsiteY9" fmla="*/ 14524 h 5626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13241" h="5626481">
                <a:moveTo>
                  <a:pt x="2813221" y="0"/>
                </a:moveTo>
                <a:lnTo>
                  <a:pt x="2813241" y="0"/>
                </a:lnTo>
                <a:lnTo>
                  <a:pt x="2813241" y="1406620"/>
                </a:lnTo>
                <a:lnTo>
                  <a:pt x="2813240" y="1406620"/>
                </a:lnTo>
                <a:cubicBezTo>
                  <a:pt x="2036385" y="1406620"/>
                  <a:pt x="1406620" y="2036385"/>
                  <a:pt x="1406620" y="2813240"/>
                </a:cubicBezTo>
                <a:cubicBezTo>
                  <a:pt x="1406620" y="3590095"/>
                  <a:pt x="2036385" y="4219860"/>
                  <a:pt x="2813240" y="4219860"/>
                </a:cubicBezTo>
                <a:lnTo>
                  <a:pt x="2813241" y="4219860"/>
                </a:lnTo>
                <a:lnTo>
                  <a:pt x="2813241" y="5626481"/>
                </a:lnTo>
                <a:cubicBezTo>
                  <a:pt x="1259531" y="5626481"/>
                  <a:pt x="0" y="4366950"/>
                  <a:pt x="0" y="2813240"/>
                </a:cubicBezTo>
                <a:cubicBezTo>
                  <a:pt x="0" y="1356637"/>
                  <a:pt x="1107010" y="158590"/>
                  <a:pt x="2525603" y="14524"/>
                </a:cubicBezTo>
                <a:close/>
              </a:path>
            </a:pathLst>
          </a:custGeom>
          <a:solidFill>
            <a:schemeClr val="accent2">
              <a:lumMod val="60000"/>
              <a:lumOff val="40000"/>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200" b="1" dirty="0">
              <a:solidFill>
                <a:schemeClr val="bg1"/>
              </a:solidFill>
              <a:latin typeface="+mn-ea"/>
            </a:endParaRPr>
          </a:p>
        </p:txBody>
      </p:sp>
      <p:sp>
        <p:nvSpPr>
          <p:cNvPr id="7" name="矩形 6"/>
          <p:cNvSpPr/>
          <p:nvPr>
            <p:custDataLst>
              <p:tags r:id="rId3"/>
            </p:custDataLst>
          </p:nvPr>
        </p:nvSpPr>
        <p:spPr>
          <a:xfrm>
            <a:off x="1257300" y="611505"/>
            <a:ext cx="9676765" cy="5389245"/>
          </a:xfrm>
          <a:prstGeom prst="rect">
            <a:avLst/>
          </a:prstGeom>
          <a:no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fontAlgn="base"/>
            <a:endParaRPr lang="zh-CN" altLang="en-US" sz="1200" b="1" spc="300" noProof="1" dirty="0">
              <a:solidFill>
                <a:schemeClr val="tx1">
                  <a:lumMod val="75000"/>
                  <a:lumOff val="25000"/>
                </a:schemeClr>
              </a:solidFill>
              <a:latin typeface="Arial" panose="020B0604020202020204" pitchFamily="34" charset="0"/>
              <a:ea typeface="微软雅黑" panose="020B0503020204020204" charset="-122"/>
            </a:endParaRPr>
          </a:p>
          <a:p>
            <a:pPr algn="ctr" fontAlgn="base"/>
            <a:endParaRPr kumimoji="1" lang="zh-CN" altLang="en-US" sz="1200" b="1" strike="noStrike" spc="300" noProof="1" dirty="0">
              <a:solidFill>
                <a:schemeClr val="tx1">
                  <a:lumMod val="75000"/>
                  <a:lumOff val="25000"/>
                </a:schemeClr>
              </a:solidFill>
              <a:latin typeface="Arial" panose="020B0604020202020204" pitchFamily="34" charset="0"/>
              <a:ea typeface="微软雅黑" panose="020B0503020204020204" charset="-122"/>
            </a:endParaRPr>
          </a:p>
        </p:txBody>
      </p:sp>
      <p:sp>
        <p:nvSpPr>
          <p:cNvPr id="13" name="文本框 12"/>
          <p:cNvSpPr txBox="1"/>
          <p:nvPr>
            <p:custDataLst>
              <p:tags r:id="rId4"/>
            </p:custDataLst>
          </p:nvPr>
        </p:nvSpPr>
        <p:spPr>
          <a:xfrm>
            <a:off x="1257300" y="706755"/>
            <a:ext cx="9549765" cy="5191125"/>
          </a:xfrm>
          <a:prstGeom prst="rect">
            <a:avLst/>
          </a:prstGeom>
          <a:noFill/>
        </p:spPr>
        <p:txBody>
          <a:bodyPr wrap="square" lIns="76200" tIns="0" rIns="61912" bIns="0" rtlCol="0">
            <a:noAutofit/>
          </a:bodyPr>
          <a:lstStyle>
            <a:defPPr>
              <a:defRPr lang="zh-CN"/>
            </a:defPPr>
            <a:lvl1pPr fontAlgn="auto">
              <a:lnSpc>
                <a:spcPct val="130000"/>
              </a:lnSpc>
              <a:spcAft>
                <a:spcPts val="1000"/>
              </a:spcAft>
              <a:defRPr sz="1600" spc="150"/>
            </a:lvl1pPr>
          </a:lstStyle>
          <a:p>
            <a:pPr fontAlgn="ctr">
              <a:spcBef>
                <a:spcPts val="1000"/>
              </a:spcBef>
              <a:spcAft>
                <a:spcPts val="0"/>
              </a:spcAft>
              <a:buClr>
                <a:schemeClr val="accent2"/>
              </a:buClr>
              <a:buSzPct val="80000"/>
              <a:buFont typeface="WPS-Bullets" pitchFamily="2" charset="0"/>
            </a:pPr>
            <a:r>
              <a:rPr sz="1800" dirty="0">
                <a:solidFill>
                  <a:schemeClr val="tx1">
                    <a:lumMod val="75000"/>
                    <a:lumOff val="25000"/>
                  </a:schemeClr>
                </a:solidFill>
                <a:uFillTx/>
                <a:latin typeface="Arial" panose="020B0604020202020204" pitchFamily="34" charset="0"/>
                <a:ea typeface="微软雅黑" panose="020B0503020204020204" charset="-122"/>
                <a:sym typeface="+mn-ea"/>
              </a:rPr>
              <a:t>类选择器</a:t>
            </a:r>
            <a:endParaRPr sz="1800" strike="noStrike" spc="150" noProof="1" dirty="0">
              <a:solidFill>
                <a:schemeClr val="tx1">
                  <a:lumMod val="75000"/>
                  <a:lumOff val="25000"/>
                </a:schemeClr>
              </a:solidFill>
              <a:uFillTx/>
              <a:latin typeface="Arial" panose="020B0604020202020204" pitchFamily="34" charset="0"/>
              <a:ea typeface="微软雅黑" panose="020B0503020204020204" charset="-122"/>
              <a:cs typeface="+mn-cs"/>
            </a:endParaRPr>
          </a:p>
          <a:p>
            <a:pPr fontAlgn="ctr">
              <a:spcBef>
                <a:spcPts val="1000"/>
              </a:spcBef>
              <a:spcAft>
                <a:spcPts val="0"/>
              </a:spcAft>
              <a:buClr>
                <a:schemeClr val="accent2"/>
              </a:buClr>
              <a:buSzPct val="80000"/>
              <a:buFont typeface="WPS-Bullets" pitchFamily="2" charset="0"/>
            </a:pPr>
            <a:r>
              <a:rPr sz="1800" strike="noStrike" spc="150" noProof="1" dirty="0">
                <a:solidFill>
                  <a:schemeClr val="tx1">
                    <a:lumMod val="75000"/>
                    <a:lumOff val="25000"/>
                  </a:schemeClr>
                </a:solidFill>
                <a:uFillTx/>
                <a:latin typeface="Arial" panose="020B0604020202020204" pitchFamily="34" charset="0"/>
                <a:ea typeface="微软雅黑" panose="020B0503020204020204" charset="-122"/>
                <a:cs typeface="+mn-cs"/>
              </a:rPr>
              <a:t>在 CSS 中，类选择器以一个点号显示：  .center {text-align: center}</a:t>
            </a:r>
            <a:endParaRPr sz="1800" strike="noStrike" spc="150" noProof="1" dirty="0">
              <a:solidFill>
                <a:schemeClr val="tx1">
                  <a:lumMod val="75000"/>
                  <a:lumOff val="25000"/>
                </a:schemeClr>
              </a:solidFill>
              <a:uFillTx/>
              <a:latin typeface="Arial" panose="020B0604020202020204" pitchFamily="34" charset="0"/>
              <a:ea typeface="微软雅黑" panose="020B0503020204020204" charset="-122"/>
              <a:cs typeface="+mn-cs"/>
            </a:endParaRPr>
          </a:p>
          <a:p>
            <a:pPr fontAlgn="ctr">
              <a:spcBef>
                <a:spcPts val="1000"/>
              </a:spcBef>
              <a:spcAft>
                <a:spcPts val="0"/>
              </a:spcAft>
              <a:buClr>
                <a:schemeClr val="accent2"/>
              </a:buClr>
              <a:buSzPct val="80000"/>
              <a:buFont typeface="WPS-Bullets" pitchFamily="2" charset="0"/>
            </a:pPr>
            <a:r>
              <a:rPr sz="1800" strike="noStrike" spc="150" noProof="1" dirty="0">
                <a:solidFill>
                  <a:schemeClr val="tx1">
                    <a:lumMod val="75000"/>
                    <a:lumOff val="25000"/>
                  </a:schemeClr>
                </a:solidFill>
                <a:uFillTx/>
                <a:latin typeface="Arial" panose="020B0604020202020204" pitchFamily="34" charset="0"/>
                <a:ea typeface="微软雅黑" panose="020B0503020204020204" charset="-122"/>
                <a:cs typeface="+mn-cs"/>
              </a:rPr>
              <a:t>在上面的例子中，所有拥有 center 类的 HTML 元素均为居中。</a:t>
            </a:r>
            <a:endParaRPr sz="1800" strike="noStrike" spc="150" noProof="1" dirty="0">
              <a:solidFill>
                <a:schemeClr val="tx1">
                  <a:lumMod val="75000"/>
                  <a:lumOff val="25000"/>
                </a:schemeClr>
              </a:solidFill>
              <a:uFillTx/>
              <a:latin typeface="Arial" panose="020B0604020202020204" pitchFamily="34" charset="0"/>
              <a:ea typeface="微软雅黑" panose="020B0503020204020204" charset="-122"/>
              <a:cs typeface="+mn-cs"/>
            </a:endParaRPr>
          </a:p>
          <a:p>
            <a:pPr fontAlgn="ctr">
              <a:spcBef>
                <a:spcPts val="1000"/>
              </a:spcBef>
              <a:spcAft>
                <a:spcPts val="0"/>
              </a:spcAft>
              <a:buClr>
                <a:schemeClr val="accent2"/>
              </a:buClr>
              <a:buSzPct val="80000"/>
              <a:buFont typeface="WPS-Bullets" pitchFamily="2" charset="0"/>
            </a:pPr>
            <a:r>
              <a:rPr sz="1800" strike="noStrike" spc="150" noProof="1" dirty="0">
                <a:solidFill>
                  <a:schemeClr val="tx1">
                    <a:lumMod val="75000"/>
                    <a:lumOff val="25000"/>
                  </a:schemeClr>
                </a:solidFill>
                <a:uFillTx/>
                <a:latin typeface="Arial" panose="020B0604020202020204" pitchFamily="34" charset="0"/>
                <a:ea typeface="微软雅黑" panose="020B0503020204020204" charset="-122"/>
                <a:cs typeface="+mn-cs"/>
              </a:rPr>
              <a:t>在下面的 HTML 代码中，h1 和 p 元素都有 center 类。这意味着两者都将遵守 ".center" 选择器中的规则。</a:t>
            </a:r>
            <a:endParaRPr sz="1800" strike="noStrike" spc="150" noProof="1" dirty="0">
              <a:solidFill>
                <a:schemeClr val="tx1">
                  <a:lumMod val="75000"/>
                  <a:lumOff val="25000"/>
                </a:schemeClr>
              </a:solidFill>
              <a:uFillTx/>
              <a:latin typeface="Arial" panose="020B0604020202020204" pitchFamily="34" charset="0"/>
              <a:ea typeface="微软雅黑" panose="020B0503020204020204" charset="-122"/>
              <a:cs typeface="+mn-cs"/>
            </a:endParaRPr>
          </a:p>
          <a:p>
            <a:pPr fontAlgn="ctr">
              <a:spcBef>
                <a:spcPts val="1000"/>
              </a:spcBef>
              <a:spcAft>
                <a:spcPts val="0"/>
              </a:spcAft>
              <a:buClr>
                <a:schemeClr val="accent2"/>
              </a:buClr>
              <a:buSzPct val="80000"/>
              <a:buFont typeface="WPS-Bullets" pitchFamily="2" charset="0"/>
            </a:pPr>
            <a:r>
              <a:rPr sz="1800" strike="noStrike" spc="150" noProof="1" dirty="0">
                <a:solidFill>
                  <a:schemeClr val="tx1">
                    <a:lumMod val="75000"/>
                    <a:lumOff val="25000"/>
                  </a:schemeClr>
                </a:solidFill>
                <a:uFillTx/>
                <a:latin typeface="Arial" panose="020B0604020202020204" pitchFamily="34" charset="0"/>
                <a:ea typeface="微软雅黑" panose="020B0503020204020204" charset="-122"/>
                <a:cs typeface="+mn-cs"/>
              </a:rPr>
              <a:t>    &lt;h1 class="center"&gt;</a:t>
            </a:r>
            <a:endParaRPr sz="1800" strike="noStrike" spc="150" noProof="1" dirty="0">
              <a:solidFill>
                <a:schemeClr val="tx1">
                  <a:lumMod val="75000"/>
                  <a:lumOff val="25000"/>
                </a:schemeClr>
              </a:solidFill>
              <a:uFillTx/>
              <a:latin typeface="Arial" panose="020B0604020202020204" pitchFamily="34" charset="0"/>
              <a:ea typeface="微软雅黑" panose="020B0503020204020204" charset="-122"/>
              <a:cs typeface="+mn-cs"/>
            </a:endParaRPr>
          </a:p>
          <a:p>
            <a:pPr fontAlgn="ctr">
              <a:spcBef>
                <a:spcPts val="1000"/>
              </a:spcBef>
              <a:spcAft>
                <a:spcPts val="0"/>
              </a:spcAft>
              <a:buClr>
                <a:schemeClr val="accent2"/>
              </a:buClr>
              <a:buSzPct val="80000"/>
              <a:buFont typeface="WPS-Bullets" pitchFamily="2" charset="0"/>
            </a:pPr>
            <a:r>
              <a:rPr sz="1800" strike="noStrike" spc="150" noProof="1" dirty="0">
                <a:solidFill>
                  <a:schemeClr val="tx1">
                    <a:lumMod val="75000"/>
                    <a:lumOff val="25000"/>
                  </a:schemeClr>
                </a:solidFill>
                <a:uFillTx/>
                <a:latin typeface="Arial" panose="020B0604020202020204" pitchFamily="34" charset="0"/>
                <a:ea typeface="微软雅黑" panose="020B0503020204020204" charset="-122"/>
                <a:cs typeface="+mn-cs"/>
              </a:rPr>
              <a:t>                     This heading will be center-aligned</a:t>
            </a:r>
            <a:endParaRPr sz="1800" strike="noStrike" spc="150" noProof="1" dirty="0">
              <a:solidFill>
                <a:schemeClr val="tx1">
                  <a:lumMod val="75000"/>
                  <a:lumOff val="25000"/>
                </a:schemeClr>
              </a:solidFill>
              <a:uFillTx/>
              <a:latin typeface="Arial" panose="020B0604020202020204" pitchFamily="34" charset="0"/>
              <a:ea typeface="微软雅黑" panose="020B0503020204020204" charset="-122"/>
              <a:cs typeface="+mn-cs"/>
            </a:endParaRPr>
          </a:p>
          <a:p>
            <a:pPr fontAlgn="ctr">
              <a:spcBef>
                <a:spcPts val="1000"/>
              </a:spcBef>
              <a:spcAft>
                <a:spcPts val="0"/>
              </a:spcAft>
              <a:buClr>
                <a:schemeClr val="accent2"/>
              </a:buClr>
              <a:buSzPct val="80000"/>
              <a:buFont typeface="WPS-Bullets" pitchFamily="2" charset="0"/>
            </a:pPr>
            <a:r>
              <a:rPr sz="1800" strike="noStrike" spc="150" noProof="1" dirty="0">
                <a:solidFill>
                  <a:schemeClr val="tx1">
                    <a:lumMod val="75000"/>
                    <a:lumOff val="25000"/>
                  </a:schemeClr>
                </a:solidFill>
                <a:uFillTx/>
                <a:latin typeface="Arial" panose="020B0604020202020204" pitchFamily="34" charset="0"/>
                <a:ea typeface="微软雅黑" panose="020B0503020204020204" charset="-122"/>
                <a:cs typeface="+mn-cs"/>
              </a:rPr>
              <a:t>            &lt;/h1&gt;</a:t>
            </a:r>
            <a:endParaRPr sz="1800" strike="noStrike" spc="150" noProof="1" dirty="0">
              <a:solidFill>
                <a:schemeClr val="tx1">
                  <a:lumMod val="75000"/>
                  <a:lumOff val="25000"/>
                </a:schemeClr>
              </a:solidFill>
              <a:uFillTx/>
              <a:latin typeface="Arial" panose="020B0604020202020204" pitchFamily="34" charset="0"/>
              <a:ea typeface="微软雅黑" panose="020B0503020204020204" charset="-122"/>
              <a:cs typeface="+mn-cs"/>
            </a:endParaRPr>
          </a:p>
          <a:p>
            <a:pPr fontAlgn="ctr">
              <a:spcBef>
                <a:spcPts val="1000"/>
              </a:spcBef>
              <a:spcAft>
                <a:spcPts val="0"/>
              </a:spcAft>
              <a:buClr>
                <a:schemeClr val="accent2"/>
              </a:buClr>
              <a:buSzPct val="80000"/>
              <a:buFont typeface="WPS-Bullets" pitchFamily="2" charset="0"/>
            </a:pPr>
            <a:r>
              <a:rPr sz="1800" strike="noStrike" spc="150" noProof="1" dirty="0">
                <a:solidFill>
                  <a:schemeClr val="tx1">
                    <a:lumMod val="75000"/>
                    <a:lumOff val="25000"/>
                  </a:schemeClr>
                </a:solidFill>
                <a:uFillTx/>
                <a:latin typeface="Arial" panose="020B0604020202020204" pitchFamily="34" charset="0"/>
                <a:ea typeface="微软雅黑" panose="020B0503020204020204" charset="-122"/>
                <a:cs typeface="+mn-cs"/>
              </a:rPr>
              <a:t>   &lt;p class="center"&gt;</a:t>
            </a:r>
            <a:endParaRPr sz="1800" strike="noStrike" spc="150" noProof="1" dirty="0">
              <a:solidFill>
                <a:schemeClr val="tx1">
                  <a:lumMod val="75000"/>
                  <a:lumOff val="25000"/>
                </a:schemeClr>
              </a:solidFill>
              <a:uFillTx/>
              <a:latin typeface="Arial" panose="020B0604020202020204" pitchFamily="34" charset="0"/>
              <a:ea typeface="微软雅黑" panose="020B0503020204020204" charset="-122"/>
              <a:cs typeface="+mn-cs"/>
            </a:endParaRPr>
          </a:p>
          <a:p>
            <a:pPr fontAlgn="ctr">
              <a:spcBef>
                <a:spcPts val="1000"/>
              </a:spcBef>
              <a:spcAft>
                <a:spcPts val="0"/>
              </a:spcAft>
              <a:buClr>
                <a:schemeClr val="accent2"/>
              </a:buClr>
              <a:buSzPct val="80000"/>
              <a:buFont typeface="WPS-Bullets" pitchFamily="2" charset="0"/>
            </a:pPr>
            <a:r>
              <a:rPr sz="1800" strike="noStrike" spc="150" noProof="1" dirty="0">
                <a:solidFill>
                  <a:schemeClr val="tx1">
                    <a:lumMod val="75000"/>
                    <a:lumOff val="25000"/>
                  </a:schemeClr>
                </a:solidFill>
                <a:uFillTx/>
                <a:latin typeface="Arial" panose="020B0604020202020204" pitchFamily="34" charset="0"/>
                <a:ea typeface="微软雅黑" panose="020B0503020204020204" charset="-122"/>
                <a:cs typeface="+mn-cs"/>
              </a:rPr>
              <a:t>             This paragraph will also be center-aligned.</a:t>
            </a:r>
            <a:endParaRPr sz="1800" strike="noStrike" spc="150" noProof="1" dirty="0">
              <a:solidFill>
                <a:schemeClr val="tx1">
                  <a:lumMod val="75000"/>
                  <a:lumOff val="25000"/>
                </a:schemeClr>
              </a:solidFill>
              <a:uFillTx/>
              <a:latin typeface="Arial" panose="020B0604020202020204" pitchFamily="34" charset="0"/>
              <a:ea typeface="微软雅黑" panose="020B0503020204020204" charset="-122"/>
              <a:cs typeface="+mn-cs"/>
            </a:endParaRPr>
          </a:p>
          <a:p>
            <a:pPr fontAlgn="ctr">
              <a:spcBef>
                <a:spcPts val="1000"/>
              </a:spcBef>
              <a:spcAft>
                <a:spcPts val="0"/>
              </a:spcAft>
              <a:buClr>
                <a:schemeClr val="accent2"/>
              </a:buClr>
              <a:buSzPct val="80000"/>
              <a:buFont typeface="WPS-Bullets" pitchFamily="2" charset="0"/>
            </a:pPr>
            <a:r>
              <a:rPr sz="1800" strike="noStrike" spc="150" noProof="1" dirty="0">
                <a:solidFill>
                  <a:schemeClr val="tx1">
                    <a:lumMod val="75000"/>
                    <a:lumOff val="25000"/>
                  </a:schemeClr>
                </a:solidFill>
                <a:uFillTx/>
                <a:latin typeface="Arial" panose="020B0604020202020204" pitchFamily="34" charset="0"/>
                <a:ea typeface="微软雅黑" panose="020B0503020204020204" charset="-122"/>
                <a:cs typeface="+mn-cs"/>
              </a:rPr>
              <a:t>   &lt;/p&gt;</a:t>
            </a:r>
            <a:endParaRPr sz="1800" strike="noStrike" spc="150" noProof="1" dirty="0">
              <a:solidFill>
                <a:schemeClr val="tx1">
                  <a:lumMod val="75000"/>
                  <a:lumOff val="25000"/>
                </a:schemeClr>
              </a:solidFill>
              <a:uFillTx/>
              <a:latin typeface="Arial" panose="020B0604020202020204" pitchFamily="34" charset="0"/>
              <a:ea typeface="微软雅黑" panose="020B0503020204020204" charset="-122"/>
              <a:cs typeface="+mn-cs"/>
            </a:endParaRPr>
          </a:p>
        </p:txBody>
      </p:sp>
    </p:spTree>
    <p:custDataLst>
      <p:tags r:id="rId5"/>
    </p:custData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任意多边形: 形状 2"/>
          <p:cNvSpPr/>
          <p:nvPr>
            <p:custDataLst>
              <p:tags r:id="rId1"/>
            </p:custDataLst>
          </p:nvPr>
        </p:nvSpPr>
        <p:spPr>
          <a:xfrm rot="10800000">
            <a:off x="9719312" y="5052530"/>
            <a:ext cx="948688" cy="948220"/>
          </a:xfrm>
          <a:custGeom>
            <a:avLst/>
            <a:gdLst>
              <a:gd name="connsiteX0" fmla="*/ 518887 w 1037771"/>
              <a:gd name="connsiteY0" fmla="*/ 0 h 1037770"/>
              <a:gd name="connsiteX1" fmla="*/ 1037771 w 1037771"/>
              <a:gd name="connsiteY1" fmla="*/ 0 h 1037770"/>
              <a:gd name="connsiteX2" fmla="*/ 1016687 w 1037771"/>
              <a:gd name="connsiteY2" fmla="*/ 209146 h 1037770"/>
              <a:gd name="connsiteX3" fmla="*/ 0 w 1037771"/>
              <a:gd name="connsiteY3" fmla="*/ 1037770 h 1037770"/>
              <a:gd name="connsiteX4" fmla="*/ 0 w 1037771"/>
              <a:gd name="connsiteY4" fmla="*/ 518885 h 1037770"/>
              <a:gd name="connsiteX5" fmla="*/ 1 w 1037771"/>
              <a:gd name="connsiteY5" fmla="*/ 518885 h 1037770"/>
              <a:gd name="connsiteX6" fmla="*/ 508345 w 1037771"/>
              <a:gd name="connsiteY6" fmla="*/ 104573 h 1037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7771" h="1037770">
                <a:moveTo>
                  <a:pt x="518887" y="0"/>
                </a:moveTo>
                <a:lnTo>
                  <a:pt x="1037771" y="0"/>
                </a:lnTo>
                <a:lnTo>
                  <a:pt x="1016687" y="209146"/>
                </a:lnTo>
                <a:cubicBezTo>
                  <a:pt x="919919" y="682041"/>
                  <a:pt x="501502" y="1037770"/>
                  <a:pt x="0" y="1037770"/>
                </a:cubicBezTo>
                <a:lnTo>
                  <a:pt x="0" y="518885"/>
                </a:lnTo>
                <a:lnTo>
                  <a:pt x="1" y="518885"/>
                </a:lnTo>
                <a:cubicBezTo>
                  <a:pt x="250753" y="518885"/>
                  <a:pt x="459961" y="341020"/>
                  <a:pt x="508345" y="104573"/>
                </a:cubicBezTo>
                <a:close/>
              </a:path>
            </a:pathLst>
          </a:custGeom>
          <a:solidFill>
            <a:schemeClr val="accent2">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200" b="1">
              <a:solidFill>
                <a:schemeClr val="bg1"/>
              </a:solidFill>
              <a:latin typeface="+mn-ea"/>
            </a:endParaRPr>
          </a:p>
        </p:txBody>
      </p:sp>
      <p:sp>
        <p:nvSpPr>
          <p:cNvPr id="4" name="任意多边形: 形状 3"/>
          <p:cNvSpPr/>
          <p:nvPr>
            <p:custDataLst>
              <p:tags r:id="rId2"/>
            </p:custDataLst>
          </p:nvPr>
        </p:nvSpPr>
        <p:spPr>
          <a:xfrm flipH="1">
            <a:off x="1524000" y="857250"/>
            <a:ext cx="2571749" cy="5143500"/>
          </a:xfrm>
          <a:custGeom>
            <a:avLst/>
            <a:gdLst>
              <a:gd name="connsiteX0" fmla="*/ 2813221 w 2813241"/>
              <a:gd name="connsiteY0" fmla="*/ 0 h 5626481"/>
              <a:gd name="connsiteX1" fmla="*/ 2813241 w 2813241"/>
              <a:gd name="connsiteY1" fmla="*/ 0 h 5626481"/>
              <a:gd name="connsiteX2" fmla="*/ 2813241 w 2813241"/>
              <a:gd name="connsiteY2" fmla="*/ 1406620 h 5626481"/>
              <a:gd name="connsiteX3" fmla="*/ 2813240 w 2813241"/>
              <a:gd name="connsiteY3" fmla="*/ 1406620 h 5626481"/>
              <a:gd name="connsiteX4" fmla="*/ 1406620 w 2813241"/>
              <a:gd name="connsiteY4" fmla="*/ 2813240 h 5626481"/>
              <a:gd name="connsiteX5" fmla="*/ 2813240 w 2813241"/>
              <a:gd name="connsiteY5" fmla="*/ 4219860 h 5626481"/>
              <a:gd name="connsiteX6" fmla="*/ 2813241 w 2813241"/>
              <a:gd name="connsiteY6" fmla="*/ 4219860 h 5626481"/>
              <a:gd name="connsiteX7" fmla="*/ 2813241 w 2813241"/>
              <a:gd name="connsiteY7" fmla="*/ 5626481 h 5626481"/>
              <a:gd name="connsiteX8" fmla="*/ 0 w 2813241"/>
              <a:gd name="connsiteY8" fmla="*/ 2813240 h 5626481"/>
              <a:gd name="connsiteX9" fmla="*/ 2525603 w 2813241"/>
              <a:gd name="connsiteY9" fmla="*/ 14524 h 5626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13241" h="5626481">
                <a:moveTo>
                  <a:pt x="2813221" y="0"/>
                </a:moveTo>
                <a:lnTo>
                  <a:pt x="2813241" y="0"/>
                </a:lnTo>
                <a:lnTo>
                  <a:pt x="2813241" y="1406620"/>
                </a:lnTo>
                <a:lnTo>
                  <a:pt x="2813240" y="1406620"/>
                </a:lnTo>
                <a:cubicBezTo>
                  <a:pt x="2036385" y="1406620"/>
                  <a:pt x="1406620" y="2036385"/>
                  <a:pt x="1406620" y="2813240"/>
                </a:cubicBezTo>
                <a:cubicBezTo>
                  <a:pt x="1406620" y="3590095"/>
                  <a:pt x="2036385" y="4219860"/>
                  <a:pt x="2813240" y="4219860"/>
                </a:cubicBezTo>
                <a:lnTo>
                  <a:pt x="2813241" y="4219860"/>
                </a:lnTo>
                <a:lnTo>
                  <a:pt x="2813241" y="5626481"/>
                </a:lnTo>
                <a:cubicBezTo>
                  <a:pt x="1259531" y="5626481"/>
                  <a:pt x="0" y="4366950"/>
                  <a:pt x="0" y="2813240"/>
                </a:cubicBezTo>
                <a:cubicBezTo>
                  <a:pt x="0" y="1356637"/>
                  <a:pt x="1107010" y="158590"/>
                  <a:pt x="2525603" y="14524"/>
                </a:cubicBezTo>
                <a:close/>
              </a:path>
            </a:pathLst>
          </a:custGeom>
          <a:solidFill>
            <a:schemeClr val="accent2">
              <a:lumMod val="60000"/>
              <a:lumOff val="40000"/>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200" b="1" dirty="0">
              <a:solidFill>
                <a:schemeClr val="bg1"/>
              </a:solidFill>
              <a:latin typeface="+mn-ea"/>
            </a:endParaRPr>
          </a:p>
        </p:txBody>
      </p:sp>
      <p:sp>
        <p:nvSpPr>
          <p:cNvPr id="7" name="矩形 6"/>
          <p:cNvSpPr/>
          <p:nvPr>
            <p:custDataLst>
              <p:tags r:id="rId3"/>
            </p:custDataLst>
          </p:nvPr>
        </p:nvSpPr>
        <p:spPr>
          <a:xfrm>
            <a:off x="1257300" y="611505"/>
            <a:ext cx="9676765" cy="5389245"/>
          </a:xfrm>
          <a:prstGeom prst="rect">
            <a:avLst/>
          </a:prstGeom>
          <a:no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fontAlgn="base"/>
            <a:endParaRPr lang="zh-CN" altLang="en-US" sz="1200" b="1" spc="300" noProof="1" dirty="0">
              <a:solidFill>
                <a:schemeClr val="tx1">
                  <a:lumMod val="75000"/>
                  <a:lumOff val="25000"/>
                </a:schemeClr>
              </a:solidFill>
              <a:latin typeface="Arial" panose="020B0604020202020204" pitchFamily="34" charset="0"/>
              <a:ea typeface="微软雅黑" panose="020B0503020204020204" charset="-122"/>
            </a:endParaRPr>
          </a:p>
          <a:p>
            <a:pPr algn="ctr" fontAlgn="base"/>
            <a:endParaRPr kumimoji="1" lang="zh-CN" altLang="en-US" sz="1200" b="1" strike="noStrike" spc="300" noProof="1" dirty="0">
              <a:solidFill>
                <a:schemeClr val="tx1">
                  <a:lumMod val="75000"/>
                  <a:lumOff val="25000"/>
                </a:schemeClr>
              </a:solidFill>
              <a:latin typeface="Arial" panose="020B0604020202020204" pitchFamily="34" charset="0"/>
              <a:ea typeface="微软雅黑" panose="020B0503020204020204" charset="-122"/>
            </a:endParaRPr>
          </a:p>
        </p:txBody>
      </p:sp>
      <p:sp>
        <p:nvSpPr>
          <p:cNvPr id="13" name="文本框 12"/>
          <p:cNvSpPr txBox="1"/>
          <p:nvPr>
            <p:custDataLst>
              <p:tags r:id="rId4"/>
            </p:custDataLst>
          </p:nvPr>
        </p:nvSpPr>
        <p:spPr>
          <a:xfrm>
            <a:off x="1257300" y="706755"/>
            <a:ext cx="9549765" cy="5191125"/>
          </a:xfrm>
          <a:prstGeom prst="rect">
            <a:avLst/>
          </a:prstGeom>
          <a:noFill/>
        </p:spPr>
        <p:txBody>
          <a:bodyPr wrap="square" lIns="76200" tIns="0" rIns="61912" bIns="0" rtlCol="0">
            <a:noAutofit/>
          </a:bodyPr>
          <a:lstStyle>
            <a:defPPr>
              <a:defRPr lang="zh-CN"/>
            </a:defPPr>
            <a:lvl1pPr fontAlgn="auto">
              <a:lnSpc>
                <a:spcPct val="130000"/>
              </a:lnSpc>
              <a:spcAft>
                <a:spcPts val="1000"/>
              </a:spcAft>
              <a:defRPr sz="1600" spc="150"/>
            </a:lvl1pPr>
          </a:lstStyle>
          <a:p>
            <a:pPr fontAlgn="ctr">
              <a:spcBef>
                <a:spcPts val="1000"/>
              </a:spcBef>
              <a:spcAft>
                <a:spcPts val="0"/>
              </a:spcAft>
              <a:buClr>
                <a:schemeClr val="accent2"/>
              </a:buClr>
              <a:buSzPct val="80000"/>
              <a:buFont typeface="WPS-Bullets" pitchFamily="2" charset="0"/>
            </a:pPr>
            <a:r>
              <a:rPr sz="1800" strike="noStrike" spc="150" noProof="1" dirty="0">
                <a:solidFill>
                  <a:schemeClr val="tx1">
                    <a:lumMod val="75000"/>
                    <a:lumOff val="25000"/>
                  </a:schemeClr>
                </a:solidFill>
                <a:uFillTx/>
                <a:latin typeface="Arial" panose="020B0604020202020204" pitchFamily="34" charset="0"/>
                <a:ea typeface="微软雅黑" panose="020B0503020204020204" charset="-122"/>
                <a:cs typeface="+mn-cs"/>
              </a:rPr>
              <a:t>id 选择器</a:t>
            </a:r>
            <a:endParaRPr sz="1800" strike="noStrike" spc="150" noProof="1" dirty="0">
              <a:solidFill>
                <a:schemeClr val="tx1">
                  <a:lumMod val="75000"/>
                  <a:lumOff val="25000"/>
                </a:schemeClr>
              </a:solidFill>
              <a:uFillTx/>
              <a:latin typeface="Arial" panose="020B0604020202020204" pitchFamily="34" charset="0"/>
              <a:ea typeface="微软雅黑" panose="020B0503020204020204" charset="-122"/>
              <a:cs typeface="+mn-cs"/>
            </a:endParaRPr>
          </a:p>
          <a:p>
            <a:pPr fontAlgn="ctr">
              <a:spcBef>
                <a:spcPts val="1000"/>
              </a:spcBef>
              <a:spcAft>
                <a:spcPts val="0"/>
              </a:spcAft>
              <a:buClr>
                <a:schemeClr val="accent2"/>
              </a:buClr>
              <a:buSzPct val="80000"/>
              <a:buFont typeface="WPS-Bullets" pitchFamily="2" charset="0"/>
            </a:pPr>
            <a:r>
              <a:rPr sz="1800" strike="noStrike" spc="150" noProof="1" dirty="0">
                <a:solidFill>
                  <a:schemeClr val="tx1">
                    <a:lumMod val="75000"/>
                    <a:lumOff val="25000"/>
                  </a:schemeClr>
                </a:solidFill>
                <a:uFillTx/>
                <a:latin typeface="Arial" panose="020B0604020202020204" pitchFamily="34" charset="0"/>
                <a:ea typeface="微软雅黑" panose="020B0503020204020204" charset="-122"/>
                <a:cs typeface="+mn-cs"/>
              </a:rPr>
              <a:t>id 选择器可以为标有特定 id 的 HTML 元素指定特定的样式。</a:t>
            </a:r>
            <a:endParaRPr sz="1800" strike="noStrike" spc="150" noProof="1" dirty="0">
              <a:solidFill>
                <a:schemeClr val="tx1">
                  <a:lumMod val="75000"/>
                  <a:lumOff val="25000"/>
                </a:schemeClr>
              </a:solidFill>
              <a:uFillTx/>
              <a:latin typeface="Arial" panose="020B0604020202020204" pitchFamily="34" charset="0"/>
              <a:ea typeface="微软雅黑" panose="020B0503020204020204" charset="-122"/>
              <a:cs typeface="+mn-cs"/>
            </a:endParaRPr>
          </a:p>
          <a:p>
            <a:pPr fontAlgn="ctr">
              <a:spcBef>
                <a:spcPts val="1000"/>
              </a:spcBef>
              <a:spcAft>
                <a:spcPts val="0"/>
              </a:spcAft>
              <a:buClr>
                <a:schemeClr val="accent2"/>
              </a:buClr>
              <a:buSzPct val="80000"/>
              <a:buFont typeface="WPS-Bullets" pitchFamily="2" charset="0"/>
            </a:pPr>
            <a:r>
              <a:rPr sz="1800" strike="noStrike" spc="150" noProof="1" dirty="0">
                <a:solidFill>
                  <a:schemeClr val="tx1">
                    <a:lumMod val="75000"/>
                    <a:lumOff val="25000"/>
                  </a:schemeClr>
                </a:solidFill>
                <a:uFillTx/>
                <a:latin typeface="Arial" panose="020B0604020202020204" pitchFamily="34" charset="0"/>
                <a:ea typeface="微软雅黑" panose="020B0503020204020204" charset="-122"/>
                <a:cs typeface="+mn-cs"/>
              </a:rPr>
              <a:t>id 选择器以 "#" 来定义。下面的两个 id 选择器，第一个可以定义元素的颜色为红色，第二个定义元素的颜色为绿色：</a:t>
            </a:r>
            <a:endParaRPr sz="1800" strike="noStrike" spc="150" noProof="1" dirty="0">
              <a:solidFill>
                <a:schemeClr val="tx1">
                  <a:lumMod val="75000"/>
                  <a:lumOff val="25000"/>
                </a:schemeClr>
              </a:solidFill>
              <a:uFillTx/>
              <a:latin typeface="Arial" panose="020B0604020202020204" pitchFamily="34" charset="0"/>
              <a:ea typeface="微软雅黑" panose="020B0503020204020204" charset="-122"/>
              <a:cs typeface="+mn-cs"/>
            </a:endParaRPr>
          </a:p>
          <a:p>
            <a:pPr fontAlgn="ctr">
              <a:spcBef>
                <a:spcPts val="1000"/>
              </a:spcBef>
              <a:spcAft>
                <a:spcPts val="0"/>
              </a:spcAft>
              <a:buClr>
                <a:schemeClr val="accent2"/>
              </a:buClr>
              <a:buSzPct val="80000"/>
              <a:buFont typeface="WPS-Bullets" pitchFamily="2" charset="0"/>
            </a:pPr>
            <a:r>
              <a:rPr sz="1800" strike="noStrike" spc="150" noProof="1" dirty="0">
                <a:solidFill>
                  <a:schemeClr val="tx1">
                    <a:lumMod val="75000"/>
                    <a:lumOff val="25000"/>
                  </a:schemeClr>
                </a:solidFill>
                <a:uFillTx/>
                <a:latin typeface="Arial" panose="020B0604020202020204" pitchFamily="34" charset="0"/>
                <a:ea typeface="微软雅黑" panose="020B0503020204020204" charset="-122"/>
                <a:cs typeface="+mn-cs"/>
              </a:rPr>
              <a:t>#red {color:red;}</a:t>
            </a:r>
            <a:endParaRPr sz="1800" strike="noStrike" spc="150" noProof="1" dirty="0">
              <a:solidFill>
                <a:schemeClr val="tx1">
                  <a:lumMod val="75000"/>
                  <a:lumOff val="25000"/>
                </a:schemeClr>
              </a:solidFill>
              <a:uFillTx/>
              <a:latin typeface="Arial" panose="020B0604020202020204" pitchFamily="34" charset="0"/>
              <a:ea typeface="微软雅黑" panose="020B0503020204020204" charset="-122"/>
              <a:cs typeface="+mn-cs"/>
            </a:endParaRPr>
          </a:p>
          <a:p>
            <a:pPr fontAlgn="ctr">
              <a:spcBef>
                <a:spcPts val="1000"/>
              </a:spcBef>
              <a:spcAft>
                <a:spcPts val="0"/>
              </a:spcAft>
              <a:buClr>
                <a:schemeClr val="accent2"/>
              </a:buClr>
              <a:buSzPct val="80000"/>
              <a:buFont typeface="WPS-Bullets" pitchFamily="2" charset="0"/>
            </a:pPr>
            <a:r>
              <a:rPr sz="1800" strike="noStrike" spc="150" noProof="1" dirty="0">
                <a:solidFill>
                  <a:schemeClr val="tx1">
                    <a:lumMod val="75000"/>
                    <a:lumOff val="25000"/>
                  </a:schemeClr>
                </a:solidFill>
                <a:uFillTx/>
                <a:latin typeface="Arial" panose="020B0604020202020204" pitchFamily="34" charset="0"/>
                <a:ea typeface="微软雅黑" panose="020B0503020204020204" charset="-122"/>
                <a:cs typeface="+mn-cs"/>
              </a:rPr>
              <a:t>#green {color:green;}</a:t>
            </a:r>
            <a:endParaRPr sz="1800" strike="noStrike" spc="150" noProof="1" dirty="0">
              <a:solidFill>
                <a:schemeClr val="tx1">
                  <a:lumMod val="75000"/>
                  <a:lumOff val="25000"/>
                </a:schemeClr>
              </a:solidFill>
              <a:uFillTx/>
              <a:latin typeface="Arial" panose="020B0604020202020204" pitchFamily="34" charset="0"/>
              <a:ea typeface="微软雅黑" panose="020B0503020204020204" charset="-122"/>
              <a:cs typeface="+mn-cs"/>
            </a:endParaRPr>
          </a:p>
          <a:p>
            <a:pPr fontAlgn="ctr">
              <a:spcBef>
                <a:spcPts val="1000"/>
              </a:spcBef>
              <a:spcAft>
                <a:spcPts val="0"/>
              </a:spcAft>
              <a:buClr>
                <a:schemeClr val="accent2"/>
              </a:buClr>
              <a:buSzPct val="80000"/>
              <a:buFont typeface="WPS-Bullets" pitchFamily="2" charset="0"/>
            </a:pPr>
            <a:r>
              <a:rPr sz="1800" strike="noStrike" spc="150" noProof="1" dirty="0">
                <a:solidFill>
                  <a:schemeClr val="tx1">
                    <a:lumMod val="75000"/>
                    <a:lumOff val="25000"/>
                  </a:schemeClr>
                </a:solidFill>
                <a:uFillTx/>
                <a:latin typeface="Arial" panose="020B0604020202020204" pitchFamily="34" charset="0"/>
                <a:ea typeface="微软雅黑" panose="020B0503020204020204" charset="-122"/>
                <a:cs typeface="+mn-cs"/>
              </a:rPr>
              <a:t>下面的 HTML 代码中，id 属性为 red 的 p 元素显示为红色，而 id 属性为 green 的 p 元素显示为绿色。</a:t>
            </a:r>
            <a:endParaRPr sz="1800" strike="noStrike" spc="150" noProof="1" dirty="0">
              <a:solidFill>
                <a:schemeClr val="tx1">
                  <a:lumMod val="75000"/>
                  <a:lumOff val="25000"/>
                </a:schemeClr>
              </a:solidFill>
              <a:uFillTx/>
              <a:latin typeface="Arial" panose="020B0604020202020204" pitchFamily="34" charset="0"/>
              <a:ea typeface="微软雅黑" panose="020B0503020204020204" charset="-122"/>
              <a:cs typeface="+mn-cs"/>
            </a:endParaRPr>
          </a:p>
          <a:p>
            <a:pPr fontAlgn="ctr">
              <a:spcBef>
                <a:spcPts val="1000"/>
              </a:spcBef>
              <a:spcAft>
                <a:spcPts val="0"/>
              </a:spcAft>
              <a:buClr>
                <a:schemeClr val="accent2"/>
              </a:buClr>
              <a:buSzPct val="80000"/>
              <a:buFont typeface="WPS-Bullets" pitchFamily="2" charset="0"/>
            </a:pPr>
            <a:r>
              <a:rPr sz="1800" strike="noStrike" spc="150" noProof="1" dirty="0">
                <a:solidFill>
                  <a:schemeClr val="tx1">
                    <a:lumMod val="75000"/>
                    <a:lumOff val="25000"/>
                  </a:schemeClr>
                </a:solidFill>
                <a:uFillTx/>
                <a:latin typeface="Arial" panose="020B0604020202020204" pitchFamily="34" charset="0"/>
                <a:ea typeface="微软雅黑" panose="020B0503020204020204" charset="-122"/>
                <a:cs typeface="+mn-cs"/>
              </a:rPr>
              <a:t>&lt;p id="red"&gt;这个段落是红色。&lt;/p&gt;</a:t>
            </a:r>
            <a:endParaRPr sz="1800" strike="noStrike" spc="150" noProof="1" dirty="0">
              <a:solidFill>
                <a:schemeClr val="tx1">
                  <a:lumMod val="75000"/>
                  <a:lumOff val="25000"/>
                </a:schemeClr>
              </a:solidFill>
              <a:uFillTx/>
              <a:latin typeface="Arial" panose="020B0604020202020204" pitchFamily="34" charset="0"/>
              <a:ea typeface="微软雅黑" panose="020B0503020204020204" charset="-122"/>
              <a:cs typeface="+mn-cs"/>
            </a:endParaRPr>
          </a:p>
          <a:p>
            <a:pPr fontAlgn="ctr">
              <a:spcBef>
                <a:spcPts val="1000"/>
              </a:spcBef>
              <a:spcAft>
                <a:spcPts val="0"/>
              </a:spcAft>
              <a:buClr>
                <a:schemeClr val="accent2"/>
              </a:buClr>
              <a:buSzPct val="80000"/>
              <a:buFont typeface="WPS-Bullets" pitchFamily="2" charset="0"/>
            </a:pPr>
            <a:r>
              <a:rPr sz="1800" strike="noStrike" spc="150" noProof="1" dirty="0">
                <a:solidFill>
                  <a:schemeClr val="tx1">
                    <a:lumMod val="75000"/>
                    <a:lumOff val="25000"/>
                  </a:schemeClr>
                </a:solidFill>
                <a:uFillTx/>
                <a:latin typeface="Arial" panose="020B0604020202020204" pitchFamily="34" charset="0"/>
                <a:ea typeface="微软雅黑" panose="020B0503020204020204" charset="-122"/>
                <a:cs typeface="+mn-cs"/>
              </a:rPr>
              <a:t>&lt;p id="green"&gt;这个段落是绿色。&lt;/p&gt;</a:t>
            </a:r>
            <a:endParaRPr sz="1800" strike="noStrike" spc="150" noProof="1" dirty="0">
              <a:solidFill>
                <a:schemeClr val="tx1">
                  <a:lumMod val="75000"/>
                  <a:lumOff val="25000"/>
                </a:schemeClr>
              </a:solidFill>
              <a:uFillTx/>
              <a:latin typeface="Arial" panose="020B0604020202020204" pitchFamily="34" charset="0"/>
              <a:ea typeface="微软雅黑" panose="020B0503020204020204" charset="-122"/>
              <a:cs typeface="+mn-cs"/>
            </a:endParaRPr>
          </a:p>
          <a:p>
            <a:pPr fontAlgn="ctr">
              <a:spcBef>
                <a:spcPts val="1000"/>
              </a:spcBef>
              <a:spcAft>
                <a:spcPts val="0"/>
              </a:spcAft>
              <a:buClr>
                <a:schemeClr val="accent2"/>
              </a:buClr>
              <a:buSzPct val="80000"/>
              <a:buFont typeface="WPS-Bullets" pitchFamily="2" charset="0"/>
            </a:pPr>
            <a:r>
              <a:rPr sz="1800" strike="noStrike" spc="150" noProof="1" dirty="0">
                <a:solidFill>
                  <a:schemeClr val="tx1">
                    <a:lumMod val="75000"/>
                    <a:lumOff val="25000"/>
                  </a:schemeClr>
                </a:solidFill>
                <a:uFillTx/>
                <a:latin typeface="Arial" panose="020B0604020202020204" pitchFamily="34" charset="0"/>
                <a:ea typeface="微软雅黑" panose="020B0503020204020204" charset="-122"/>
                <a:cs typeface="+mn-cs"/>
              </a:rPr>
              <a:t>注意：id 属性只能在每个 HTML 文档中出现一次</a:t>
            </a:r>
            <a:endParaRPr sz="1800" strike="noStrike" spc="150" noProof="1" dirty="0">
              <a:solidFill>
                <a:schemeClr val="tx1">
                  <a:lumMod val="75000"/>
                  <a:lumOff val="25000"/>
                </a:schemeClr>
              </a:solidFill>
              <a:uFillTx/>
              <a:latin typeface="Arial" panose="020B0604020202020204" pitchFamily="34" charset="0"/>
              <a:ea typeface="微软雅黑" panose="020B0503020204020204" charset="-122"/>
              <a:cs typeface="+mn-cs"/>
            </a:endParaRPr>
          </a:p>
        </p:txBody>
      </p:sp>
    </p:spTree>
    <p:custDataLst>
      <p:tags r:id="rId5"/>
    </p:custData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4098" name="标题 1"/>
          <p:cNvSpPr>
            <a:spLocks noGrp="1"/>
          </p:cNvSpPr>
          <p:nvPr>
            <p:ph type="title"/>
          </p:nvPr>
        </p:nvSpPr>
        <p:spPr>
          <a:xfrm>
            <a:off x="1981200" y="914400"/>
            <a:ext cx="8229600" cy="1143000"/>
          </a:xfrm>
        </p:spPr>
        <p:txBody>
          <a:bodyPr vert="horz" anchor="ctr">
            <a:normAutofit/>
          </a:bodyPr>
          <a:p>
            <a:r>
              <a:rPr lang="en-US" altLang="zh-CN" sz="4400" kern="1200" dirty="0">
                <a:latin typeface="Calibri Light" panose="020F0302020204030204" charset="0"/>
                <a:ea typeface="宋体" panose="02010600030101010101" pitchFamily="2" charset="-122"/>
                <a:sym typeface="Calibri Light" panose="020F0302020204030204" charset="0"/>
              </a:rPr>
              <a:t>HTML</a:t>
            </a:r>
            <a:r>
              <a:rPr lang="zh-CN" altLang="en-US" sz="4400" kern="1200" dirty="0">
                <a:latin typeface="Calibri Light" panose="020F0302020204030204" charset="0"/>
                <a:ea typeface="宋体" panose="02010600030101010101" pitchFamily="2" charset="-122"/>
                <a:sym typeface="Calibri Light" panose="020F0302020204030204" charset="0"/>
              </a:rPr>
              <a:t>标签的改变</a:t>
            </a:r>
            <a:endParaRPr lang="zh-CN" altLang="en-US" sz="4400" kern="1200" dirty="0">
              <a:latin typeface="Calibri Light" panose="020F0302020204030204" charset="0"/>
              <a:ea typeface="宋体" panose="02010600030101010101" pitchFamily="2" charset="-122"/>
              <a:sym typeface="Calibri Light" panose="020F0302020204030204" charset="0"/>
            </a:endParaRPr>
          </a:p>
        </p:txBody>
      </p:sp>
      <p:sp>
        <p:nvSpPr>
          <p:cNvPr id="4099" name="内容占位符 2"/>
          <p:cNvSpPr>
            <a:spLocks noGrp="1"/>
          </p:cNvSpPr>
          <p:nvPr>
            <p:ph idx="1"/>
          </p:nvPr>
        </p:nvSpPr>
        <p:spPr>
          <a:xfrm>
            <a:off x="1981200" y="2362200"/>
            <a:ext cx="8229600" cy="3810000"/>
          </a:xfrm>
        </p:spPr>
        <p:txBody>
          <a:bodyPr vert="horz">
            <a:normAutofit/>
          </a:bodyPr>
          <a:p>
            <a:pPr marL="624205" indent="-513080" algn="l" defTabSz="914400">
              <a:buFont typeface="微软雅黑" panose="020B0503020204020204" charset="-122"/>
              <a:buAutoNum type="arabicPeriod"/>
            </a:pPr>
            <a:r>
              <a:rPr lang="zh-CN" altLang="en-US" sz="2800" kern="1200" dirty="0">
                <a:latin typeface="Calibri" panose="020F0502020204030204" charset="0"/>
                <a:ea typeface="宋体" panose="02010600030101010101" pitchFamily="2" charset="-122"/>
                <a:sym typeface="Calibri" panose="020F0502020204030204" charset="0"/>
              </a:rPr>
              <a:t>新的文档类型声明</a:t>
            </a:r>
            <a:r>
              <a:rPr lang="en-US" altLang="zh-CN" sz="2800" kern="1200" dirty="0">
                <a:latin typeface="Calibri" panose="020F0502020204030204" charset="0"/>
                <a:ea typeface="宋体" panose="02010600030101010101" pitchFamily="2" charset="-122"/>
                <a:sym typeface="Calibri" panose="020F0502020204030204" charset="0"/>
              </a:rPr>
              <a:t>(DTD)</a:t>
            </a:r>
            <a:endParaRPr lang="zh-CN" altLang="en-US" sz="2800" kern="1200" dirty="0">
              <a:latin typeface="Calibri" panose="020F0502020204030204" charset="0"/>
              <a:ea typeface="宋体" panose="02010600030101010101" pitchFamily="2" charset="-122"/>
              <a:sym typeface="Calibri" panose="020F0502020204030204" charset="0"/>
            </a:endParaRPr>
          </a:p>
          <a:p>
            <a:pPr marL="624205" indent="-513080" algn="l" defTabSz="914400">
              <a:buFont typeface="微软雅黑" panose="020B0503020204020204" charset="-122"/>
              <a:buAutoNum type="arabicPeriod"/>
            </a:pPr>
            <a:r>
              <a:rPr lang="zh-CN" altLang="en-US" sz="2800" kern="1200" dirty="0">
                <a:latin typeface="Calibri" panose="020F0502020204030204" charset="0"/>
                <a:ea typeface="宋体" panose="02010600030101010101" pitchFamily="2" charset="-122"/>
                <a:sym typeface="Calibri" panose="020F0502020204030204" charset="0"/>
              </a:rPr>
              <a:t>新增的</a:t>
            </a:r>
            <a:r>
              <a:rPr lang="en-US" altLang="zh-CN" sz="2800" kern="1200" dirty="0">
                <a:latin typeface="Calibri" panose="020F0502020204030204" charset="0"/>
                <a:ea typeface="宋体" panose="02010600030101010101" pitchFamily="2" charset="-122"/>
                <a:sym typeface="Calibri" panose="020F0502020204030204" charset="0"/>
              </a:rPr>
              <a:t>HTML5</a:t>
            </a:r>
            <a:r>
              <a:rPr lang="zh-CN" altLang="en-US" sz="2800" kern="1200" dirty="0">
                <a:latin typeface="Calibri" panose="020F0502020204030204" charset="0"/>
                <a:ea typeface="宋体" panose="02010600030101010101" pitchFamily="2" charset="-122"/>
                <a:sym typeface="Calibri" panose="020F0502020204030204" charset="0"/>
              </a:rPr>
              <a:t>标签</a:t>
            </a:r>
            <a:endParaRPr lang="en-US" altLang="zh-CN" sz="2800" kern="1200" dirty="0">
              <a:latin typeface="Calibri" panose="020F0502020204030204" charset="0"/>
              <a:ea typeface="宋体" panose="02010600030101010101" pitchFamily="2" charset="-122"/>
              <a:sym typeface="Calibri" panose="020F0502020204030204" charset="0"/>
            </a:endParaRPr>
          </a:p>
          <a:p>
            <a:pPr marL="624205" indent="-513080" algn="l" defTabSz="914400">
              <a:buFont typeface="微软雅黑" panose="020B0503020204020204" charset="-122"/>
              <a:buAutoNum type="arabicPeriod"/>
            </a:pPr>
            <a:r>
              <a:rPr lang="zh-CN" altLang="en-US" sz="2800" kern="1200" dirty="0">
                <a:latin typeface="Calibri" panose="020F0502020204030204" charset="0"/>
                <a:ea typeface="宋体" panose="02010600030101010101" pitchFamily="2" charset="-122"/>
                <a:sym typeface="Calibri" panose="020F0502020204030204" charset="0"/>
              </a:rPr>
              <a:t>删除的</a:t>
            </a:r>
            <a:r>
              <a:rPr lang="en-US" altLang="zh-CN" sz="2800" kern="1200" dirty="0">
                <a:latin typeface="Calibri" panose="020F0502020204030204" charset="0"/>
                <a:ea typeface="宋体" panose="02010600030101010101" pitchFamily="2" charset="-122"/>
                <a:sym typeface="Calibri" panose="020F0502020204030204" charset="0"/>
              </a:rPr>
              <a:t>HTML</a:t>
            </a:r>
            <a:r>
              <a:rPr lang="zh-CN" altLang="en-US" sz="2800" kern="1200" dirty="0">
                <a:latin typeface="Calibri" panose="020F0502020204030204" charset="0"/>
                <a:ea typeface="宋体" panose="02010600030101010101" pitchFamily="2" charset="-122"/>
                <a:sym typeface="Calibri" panose="020F0502020204030204" charset="0"/>
              </a:rPr>
              <a:t>标签</a:t>
            </a:r>
            <a:endParaRPr lang="en-US" altLang="zh-CN" sz="2800" kern="1200" dirty="0">
              <a:latin typeface="Calibri" panose="020F0502020204030204" charset="0"/>
              <a:ea typeface="宋体" panose="02010600030101010101" pitchFamily="2" charset="-122"/>
              <a:sym typeface="Calibri" panose="020F0502020204030204" charset="0"/>
            </a:endParaRPr>
          </a:p>
          <a:p>
            <a:pPr marL="624205" indent="-513080" algn="l" defTabSz="914400">
              <a:buFont typeface="微软雅黑" panose="020B0503020204020204" charset="-122"/>
              <a:buAutoNum type="arabicPeriod"/>
            </a:pPr>
            <a:r>
              <a:rPr lang="zh-CN" altLang="en-US" sz="2800" kern="1200" dirty="0">
                <a:latin typeface="Calibri" panose="020F0502020204030204" charset="0"/>
                <a:ea typeface="宋体" panose="02010600030101010101" pitchFamily="2" charset="-122"/>
                <a:sym typeface="Calibri" panose="020F0502020204030204" charset="0"/>
              </a:rPr>
              <a:t>重新定义的</a:t>
            </a:r>
            <a:r>
              <a:rPr lang="en-US" altLang="zh-CN" sz="2800" kern="1200" dirty="0">
                <a:latin typeface="Calibri" panose="020F0502020204030204" charset="0"/>
                <a:ea typeface="宋体" panose="02010600030101010101" pitchFamily="2" charset="-122"/>
                <a:sym typeface="Calibri" panose="020F0502020204030204" charset="0"/>
              </a:rPr>
              <a:t>HTML</a:t>
            </a:r>
            <a:r>
              <a:rPr lang="zh-CN" altLang="en-US" sz="2800" kern="1200" dirty="0">
                <a:latin typeface="Calibri" panose="020F0502020204030204" charset="0"/>
                <a:ea typeface="宋体" panose="02010600030101010101" pitchFamily="2" charset="-122"/>
                <a:sym typeface="Calibri" panose="020F0502020204030204" charset="0"/>
              </a:rPr>
              <a:t>标签</a:t>
            </a:r>
            <a:endParaRPr lang="en-US" altLang="zh-CN" sz="2800" kern="1200" dirty="0">
              <a:latin typeface="Calibri" panose="020F0502020204030204" charset="0"/>
              <a:ea typeface="宋体" panose="02010600030101010101" pitchFamily="2" charset="-122"/>
              <a:sym typeface="Calibri" panose="020F0502020204030204" charset="0"/>
            </a:endParaRPr>
          </a:p>
          <a:p>
            <a:pPr marL="624205" indent="-513080" algn="l" defTabSz="914400">
              <a:buFont typeface="微软雅黑" panose="020B0503020204020204" charset="-122"/>
              <a:buAutoNum type="arabicPeriod"/>
            </a:pPr>
            <a:r>
              <a:rPr lang="zh-CN" altLang="en-US" sz="2800" kern="1200" dirty="0">
                <a:latin typeface="Calibri" panose="020F0502020204030204" charset="0"/>
                <a:ea typeface="宋体" panose="02010600030101010101" pitchFamily="2" charset="-122"/>
                <a:sym typeface="Calibri" panose="020F0502020204030204" charset="0"/>
              </a:rPr>
              <a:t>崭新新的页面布局</a:t>
            </a:r>
            <a:endParaRPr lang="en-US" altLang="zh-CN" sz="2800" kern="1200" dirty="0">
              <a:latin typeface="Calibri" panose="020F0502020204030204" charset="0"/>
              <a:ea typeface="宋体" panose="02010600030101010101" pitchFamily="2" charset="-122"/>
              <a:sym typeface="Calibri" panose="020F0502020204030204" charset="0"/>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122" name="标题 3"/>
          <p:cNvSpPr>
            <a:spLocks noGrp="1"/>
          </p:cNvSpPr>
          <p:nvPr>
            <p:ph type="title"/>
          </p:nvPr>
        </p:nvSpPr>
        <p:spPr>
          <a:xfrm>
            <a:off x="2206625" y="2565400"/>
            <a:ext cx="7772400" cy="1362075"/>
          </a:xfrm>
        </p:spPr>
        <p:txBody>
          <a:bodyPr vert="horz" anchor="t">
            <a:normAutofit/>
          </a:bodyPr>
          <a:p>
            <a:r>
              <a:rPr lang="en-US" altLang="zh-CN" sz="4000" b="1" kern="1200" dirty="0">
                <a:solidFill>
                  <a:srgbClr val="FF0000"/>
                </a:solidFill>
                <a:latin typeface="Calibri Light" panose="020F0302020204030204" charset="0"/>
                <a:ea typeface="宋体" panose="02010600030101010101" pitchFamily="2" charset="-122"/>
                <a:sym typeface="Calibri Light" panose="020F0302020204030204" charset="0"/>
              </a:rPr>
              <a:t>1</a:t>
            </a:r>
            <a:r>
              <a:rPr lang="zh-CN" altLang="en-US" sz="4000" b="1" kern="1200" dirty="0">
                <a:solidFill>
                  <a:srgbClr val="FF0000"/>
                </a:solidFill>
                <a:latin typeface="Calibri Light" panose="020F0302020204030204" charset="0"/>
                <a:ea typeface="宋体" panose="02010600030101010101" pitchFamily="2" charset="-122"/>
                <a:sym typeface="Calibri Light" panose="020F0302020204030204" charset="0"/>
              </a:rPr>
              <a:t>、新的文档类型声明</a:t>
            </a:r>
            <a:r>
              <a:rPr lang="en-US" altLang="zh-CN" sz="4000" b="1" kern="1200" dirty="0">
                <a:solidFill>
                  <a:srgbClr val="FF0000"/>
                </a:solidFill>
                <a:latin typeface="Calibri Light" panose="020F0302020204030204" charset="0"/>
                <a:ea typeface="宋体" panose="02010600030101010101" pitchFamily="2" charset="-122"/>
                <a:sym typeface="Calibri Light" panose="020F0302020204030204" charset="0"/>
              </a:rPr>
              <a:t>(DTD)</a:t>
            </a:r>
            <a:endParaRPr lang="zh-CN" altLang="en-US" sz="4000" b="1" kern="1200" dirty="0">
              <a:solidFill>
                <a:srgbClr val="FF0000"/>
              </a:solidFill>
              <a:latin typeface="Calibri Light" panose="020F0302020204030204" charset="0"/>
              <a:ea typeface="宋体" panose="02010600030101010101" pitchFamily="2" charset="-122"/>
              <a:sym typeface="Calibri Light" panose="020F0302020204030204" charset="0"/>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146" name="标题 1"/>
          <p:cNvSpPr>
            <a:spLocks noGrp="1"/>
          </p:cNvSpPr>
          <p:nvPr>
            <p:ph type="title"/>
          </p:nvPr>
        </p:nvSpPr>
        <p:spPr>
          <a:xfrm>
            <a:off x="1981200" y="914400"/>
            <a:ext cx="8229600" cy="1143000"/>
          </a:xfrm>
        </p:spPr>
        <p:txBody>
          <a:bodyPr vert="horz" anchor="ctr">
            <a:normAutofit/>
          </a:bodyPr>
          <a:p>
            <a:pPr marL="624205" indent="-513080"/>
            <a:r>
              <a:rPr lang="zh-CN" altLang="en-US" sz="4400" kern="1200" dirty="0">
                <a:latin typeface="Calibri Light" panose="020F0302020204030204" charset="0"/>
                <a:ea typeface="宋体" panose="02010600030101010101" pitchFamily="2" charset="-122"/>
                <a:sym typeface="Calibri Light" panose="020F0302020204030204" charset="0"/>
              </a:rPr>
              <a:t>新的文档类型声明</a:t>
            </a:r>
            <a:r>
              <a:rPr lang="en-US" altLang="zh-CN" sz="4400" kern="1200" dirty="0">
                <a:latin typeface="Calibri Light" panose="020F0302020204030204" charset="0"/>
                <a:ea typeface="宋体" panose="02010600030101010101" pitchFamily="2" charset="-122"/>
                <a:sym typeface="Calibri Light" panose="020F0302020204030204" charset="0"/>
              </a:rPr>
              <a:t>(DTD)</a:t>
            </a:r>
            <a:endParaRPr lang="zh-CN" altLang="en-US" sz="4400" kern="1200" dirty="0">
              <a:latin typeface="Calibri Light" panose="020F0302020204030204" charset="0"/>
              <a:ea typeface="宋体" panose="02010600030101010101" pitchFamily="2" charset="-122"/>
              <a:sym typeface="Calibri Light" panose="020F0302020204030204" charset="0"/>
            </a:endParaRPr>
          </a:p>
        </p:txBody>
      </p:sp>
      <p:sp>
        <p:nvSpPr>
          <p:cNvPr id="6147" name="内容占位符 2"/>
          <p:cNvSpPr>
            <a:spLocks noGrp="1"/>
          </p:cNvSpPr>
          <p:nvPr>
            <p:ph idx="1"/>
          </p:nvPr>
        </p:nvSpPr>
        <p:spPr>
          <a:xfrm>
            <a:off x="1981200" y="2133600"/>
            <a:ext cx="8229600" cy="4038600"/>
          </a:xfrm>
        </p:spPr>
        <p:txBody>
          <a:bodyPr vert="horz">
            <a:normAutofit lnSpcReduction="10000"/>
          </a:bodyPr>
          <a:p>
            <a:pPr marL="109855" algn="l" defTabSz="914400"/>
            <a:r>
              <a:rPr lang="zh-CN" altLang="en-US" sz="2800" kern="1200" dirty="0">
                <a:latin typeface="Calibri" panose="020F0502020204030204" charset="0"/>
                <a:ea typeface="宋体" panose="02010600030101010101" pitchFamily="2" charset="-122"/>
                <a:sym typeface="Calibri" panose="020F0502020204030204" charset="0"/>
              </a:rPr>
              <a:t>文档类型声明</a:t>
            </a:r>
            <a:endParaRPr lang="en-US" altLang="zh-CN" sz="2800" kern="1200" dirty="0">
              <a:latin typeface="Calibri" panose="020F0502020204030204" charset="0"/>
              <a:ea typeface="宋体" panose="02010600030101010101" pitchFamily="2" charset="-122"/>
              <a:sym typeface="Calibri" panose="020F0502020204030204" charset="0"/>
            </a:endParaRPr>
          </a:p>
          <a:p>
            <a:pPr marL="109855" algn="l" defTabSz="914400"/>
            <a:r>
              <a:rPr lang="en-US" altLang="zh-CN" sz="2800" kern="1200" dirty="0">
                <a:latin typeface="Calibri" panose="020F0502020204030204" charset="0"/>
                <a:ea typeface="宋体" panose="02010600030101010101" pitchFamily="2" charset="-122"/>
                <a:sym typeface="Calibri" panose="020F0502020204030204" charset="0"/>
              </a:rPr>
              <a:t>HTML 5</a:t>
            </a:r>
            <a:r>
              <a:rPr lang="zh-CN" altLang="en-US" sz="2800" kern="1200" dirty="0">
                <a:latin typeface="Calibri" panose="020F0502020204030204" charset="0"/>
                <a:ea typeface="宋体" panose="02010600030101010101" pitchFamily="2" charset="-122"/>
                <a:sym typeface="Calibri" panose="020F0502020204030204" charset="0"/>
              </a:rPr>
              <a:t>的</a:t>
            </a:r>
            <a:r>
              <a:rPr lang="en-US" altLang="zh-CN" sz="2800" kern="1200" dirty="0">
                <a:latin typeface="Calibri" panose="020F0502020204030204" charset="0"/>
                <a:ea typeface="宋体" panose="02010600030101010101" pitchFamily="2" charset="-122"/>
                <a:sym typeface="Calibri" panose="020F0502020204030204" charset="0"/>
              </a:rPr>
              <a:t>DTD</a:t>
            </a:r>
            <a:r>
              <a:rPr lang="zh-CN" altLang="en-US" sz="2800" kern="1200" dirty="0">
                <a:latin typeface="Calibri" panose="020F0502020204030204" charset="0"/>
                <a:ea typeface="宋体" panose="02010600030101010101" pitchFamily="2" charset="-122"/>
                <a:sym typeface="Calibri" panose="020F0502020204030204" charset="0"/>
              </a:rPr>
              <a:t>声明为</a:t>
            </a:r>
            <a:r>
              <a:rPr lang="en-US" altLang="zh-CN" sz="2800" kern="1200" dirty="0">
                <a:latin typeface="Calibri" panose="020F0502020204030204" charset="0"/>
                <a:ea typeface="宋体" panose="02010600030101010101" pitchFamily="2" charset="-122"/>
                <a:sym typeface="Calibri" panose="020F0502020204030204" charset="0"/>
              </a:rPr>
              <a:t>:</a:t>
            </a:r>
            <a:endParaRPr lang="zh-CN" altLang="en-US" sz="2800" kern="1200" dirty="0">
              <a:latin typeface="Calibri" panose="020F0502020204030204" charset="0"/>
              <a:ea typeface="宋体" panose="02010600030101010101" pitchFamily="2" charset="-122"/>
              <a:sym typeface="Calibri" panose="020F0502020204030204" charset="0"/>
            </a:endParaRPr>
          </a:p>
          <a:p>
            <a:pPr marL="109855" algn="l" defTabSz="914400"/>
            <a:endParaRPr lang="zh-CN" altLang="en-US" sz="2800" kern="1200" dirty="0">
              <a:latin typeface="Calibri" panose="020F0502020204030204" charset="0"/>
              <a:ea typeface="宋体" panose="02010600030101010101" pitchFamily="2" charset="-122"/>
              <a:sym typeface="Calibri" panose="020F0502020204030204" charset="0"/>
            </a:endParaRPr>
          </a:p>
          <a:p>
            <a:pPr marL="109855" algn="l" defTabSz="914400"/>
            <a:r>
              <a:rPr lang="en-US" altLang="zh-CN" sz="2800" kern="1200" dirty="0">
                <a:latin typeface="Calibri" panose="020F0502020204030204" charset="0"/>
                <a:ea typeface="宋体" panose="02010600030101010101" pitchFamily="2" charset="-122"/>
                <a:sym typeface="Calibri" panose="020F0502020204030204" charset="0"/>
              </a:rPr>
              <a:t>    &lt;!doctype html&gt;</a:t>
            </a:r>
            <a:endParaRPr lang="zh-CN" altLang="en-US" sz="2800" kern="1200" dirty="0">
              <a:latin typeface="Calibri" panose="020F0502020204030204" charset="0"/>
              <a:ea typeface="宋体" panose="02010600030101010101" pitchFamily="2" charset="-122"/>
              <a:sym typeface="Calibri" panose="020F0502020204030204" charset="0"/>
            </a:endParaRPr>
          </a:p>
          <a:p>
            <a:pPr marL="109855" algn="l" defTabSz="914400"/>
            <a:r>
              <a:rPr lang="en-US" altLang="zh-CN" sz="2800" kern="1200" dirty="0">
                <a:latin typeface="Calibri" panose="020F0502020204030204" charset="0"/>
                <a:ea typeface="宋体" panose="02010600030101010101" pitchFamily="2" charset="-122"/>
                <a:sym typeface="Calibri" panose="020F0502020204030204" charset="0"/>
              </a:rPr>
              <a:t>    </a:t>
            </a:r>
            <a:r>
              <a:rPr lang="en-US" altLang="zh-CN" kern="1200" dirty="0">
                <a:latin typeface="Calibri" panose="020F0502020204030204" charset="0"/>
                <a:ea typeface="宋体" panose="02010600030101010101" pitchFamily="2" charset="-122"/>
                <a:sym typeface="Calibri" panose="020F0502020204030204" charset="0"/>
              </a:rPr>
              <a:t>&lt;!DOCTYPE html &gt;</a:t>
            </a:r>
            <a:r>
              <a:rPr lang="zh-CN" altLang="en-US" kern="1200" dirty="0">
                <a:latin typeface="Calibri" panose="020F0502020204030204" charset="0"/>
                <a:ea typeface="宋体" panose="02010600030101010101" pitchFamily="2" charset="-122"/>
                <a:sym typeface="Calibri" panose="020F0502020204030204" charset="0"/>
              </a:rPr>
              <a:t>等也是正确的，因为</a:t>
            </a:r>
            <a:r>
              <a:rPr lang="en-US" altLang="zh-CN" kern="1200" dirty="0">
                <a:latin typeface="Calibri" panose="020F0502020204030204" charset="0"/>
                <a:ea typeface="宋体" panose="02010600030101010101" pitchFamily="2" charset="-122"/>
                <a:sym typeface="Calibri" panose="020F0502020204030204" charset="0"/>
              </a:rPr>
              <a:t>HTML</a:t>
            </a:r>
            <a:r>
              <a:rPr lang="zh-CN" altLang="en-US" kern="1200" dirty="0">
                <a:latin typeface="Calibri" panose="020F0502020204030204" charset="0"/>
                <a:ea typeface="宋体" panose="02010600030101010101" pitchFamily="2" charset="-122"/>
                <a:sym typeface="Calibri" panose="020F0502020204030204" charset="0"/>
              </a:rPr>
              <a:t>语法是不区分大小写的。</a:t>
            </a:r>
            <a:endParaRPr lang="en-US" altLang="zh-CN" kern="1200" dirty="0">
              <a:latin typeface="Calibri" panose="020F0502020204030204" charset="0"/>
              <a:ea typeface="宋体" panose="02010600030101010101" pitchFamily="2" charset="-122"/>
              <a:sym typeface="Calibri" panose="020F0502020204030204" charset="0"/>
            </a:endParaRPr>
          </a:p>
          <a:p>
            <a:pPr marL="109855" algn="l" defTabSz="914400"/>
            <a:endParaRPr lang="zh-CN" altLang="en-US" kern="1200" dirty="0">
              <a:latin typeface="Calibri" panose="020F0502020204030204" charset="0"/>
              <a:ea typeface="宋体" panose="02010600030101010101" pitchFamily="2" charset="-122"/>
              <a:sym typeface="Calibri" panose="020F0502020204030204" charset="0"/>
            </a:endParaRPr>
          </a:p>
          <a:p>
            <a:pPr marL="109855" algn="l" defTabSz="914400"/>
            <a:r>
              <a:rPr lang="zh-CN" altLang="en-US" kern="1200" dirty="0">
                <a:solidFill>
                  <a:srgbClr val="00B050"/>
                </a:solidFill>
                <a:latin typeface="Calibri" panose="020F0502020204030204" charset="0"/>
                <a:ea typeface="宋体" panose="02010600030101010101" pitchFamily="2" charset="-122"/>
                <a:sym typeface="Calibri" panose="020F0502020204030204" charset="0"/>
              </a:rPr>
              <a:t>在编写</a:t>
            </a:r>
            <a:r>
              <a:rPr lang="en-US" altLang="zh-CN" kern="1200" dirty="0">
                <a:solidFill>
                  <a:srgbClr val="00B050"/>
                </a:solidFill>
                <a:latin typeface="Calibri" panose="020F0502020204030204" charset="0"/>
                <a:ea typeface="宋体" panose="02010600030101010101" pitchFamily="2" charset="-122"/>
                <a:sym typeface="Calibri" panose="020F0502020204030204" charset="0"/>
              </a:rPr>
              <a:t>HTML5</a:t>
            </a:r>
            <a:r>
              <a:rPr lang="zh-CN" altLang="en-US" kern="1200" dirty="0">
                <a:solidFill>
                  <a:srgbClr val="00B050"/>
                </a:solidFill>
                <a:latin typeface="Calibri" panose="020F0502020204030204" charset="0"/>
                <a:ea typeface="宋体" panose="02010600030101010101" pitchFamily="2" charset="-122"/>
                <a:sym typeface="Calibri" panose="020F0502020204030204" charset="0"/>
              </a:rPr>
              <a:t>文档时，要求指定文档类型，以确保浏览器能在</a:t>
            </a:r>
            <a:r>
              <a:rPr lang="en-US" altLang="zh-CN" kern="1200" dirty="0">
                <a:solidFill>
                  <a:srgbClr val="00B050"/>
                </a:solidFill>
                <a:latin typeface="Calibri" panose="020F0502020204030204" charset="0"/>
                <a:ea typeface="宋体" panose="02010600030101010101" pitchFamily="2" charset="-122"/>
                <a:sym typeface="Calibri" panose="020F0502020204030204" charset="0"/>
              </a:rPr>
              <a:t>HTML5</a:t>
            </a:r>
            <a:r>
              <a:rPr lang="zh-CN" altLang="en-US" kern="1200" dirty="0">
                <a:solidFill>
                  <a:srgbClr val="00B050"/>
                </a:solidFill>
                <a:latin typeface="Calibri" panose="020F0502020204030204" charset="0"/>
                <a:ea typeface="宋体" panose="02010600030101010101" pitchFamily="2" charset="-122"/>
                <a:sym typeface="Calibri" panose="020F0502020204030204" charset="0"/>
              </a:rPr>
              <a:t>的标准模式下进行渲染。</a:t>
            </a:r>
            <a:endParaRPr lang="zh-CN" altLang="en-US" kern="1200" dirty="0">
              <a:solidFill>
                <a:srgbClr val="00B050"/>
              </a:solidFill>
              <a:latin typeface="Calibri" panose="020F0502020204030204" charset="0"/>
              <a:ea typeface="宋体" panose="02010600030101010101" pitchFamily="2" charset="-122"/>
              <a:sym typeface="Calibri" panose="020F0502020204030204"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
          <p:cNvSpPr txBox="1"/>
          <p:nvPr/>
        </p:nvSpPr>
        <p:spPr>
          <a:xfrm>
            <a:off x="4602605" y="763488"/>
            <a:ext cx="5755562" cy="895544"/>
          </a:xfrm>
          <a:prstGeom prst="rect">
            <a:avLst/>
          </a:prstGeom>
        </p:spPr>
        <p:txBody>
          <a:bodyPr vert="horz" lIns="91440" tIns="45720" rIns="91440" bIns="45720" rtlCol="0" anchor="ctr">
            <a:normAutofit/>
          </a:bodyPr>
          <a:lstStyle>
            <a:lvl1pPr>
              <a:lnSpc>
                <a:spcPct val="90000"/>
              </a:lnSpc>
              <a:spcBef>
                <a:spcPct val="0"/>
              </a:spcBef>
              <a:buNone/>
              <a:defRPr sz="3600">
                <a:solidFill>
                  <a:schemeClr val="tx1">
                    <a:lumMod val="65000"/>
                    <a:lumOff val="35000"/>
                  </a:schemeClr>
                </a:solidFill>
                <a:latin typeface="微软雅黑" panose="020B0503020204020204" charset="-122"/>
                <a:ea typeface="微软雅黑" panose="020B0503020204020204" charset="-122"/>
                <a:cs typeface="+mj-cs"/>
              </a:defRPr>
            </a:lvl1pPr>
          </a:lstStyle>
          <a:p>
            <a:r>
              <a:rPr lang="en-US" dirty="0" smtClean="0">
                <a:latin typeface="Microsoft YaHei UI" panose="020B0503020204020204" charset="-122"/>
                <a:ea typeface="Microsoft YaHei UI" panose="020B0503020204020204" charset="-122"/>
                <a:cs typeface="Microsoft YaHei UI" panose="020B0503020204020204" charset="-122"/>
                <a:sym typeface="+mn-ea"/>
              </a:rPr>
              <a:t>html</a:t>
            </a:r>
            <a:r>
              <a:rPr lang="zh-CN" altLang="en-US" dirty="0" smtClean="0">
                <a:latin typeface="Microsoft YaHei UI" panose="020B0503020204020204" charset="-122"/>
                <a:ea typeface="Microsoft YaHei UI" panose="020B0503020204020204" charset="-122"/>
                <a:cs typeface="Microsoft YaHei UI" panose="020B0503020204020204" charset="-122"/>
                <a:sym typeface="+mn-ea"/>
              </a:rPr>
              <a:t>基础</a:t>
            </a:r>
            <a:endParaRPr lang="zh-CN" altLang="en-US" dirty="0"/>
          </a:p>
        </p:txBody>
      </p:sp>
      <p:sp>
        <p:nvSpPr>
          <p:cNvPr id="14" name="标题 1"/>
          <p:cNvSpPr txBox="1"/>
          <p:nvPr/>
        </p:nvSpPr>
        <p:spPr>
          <a:xfrm>
            <a:off x="4736465" y="2968012"/>
            <a:ext cx="5755562" cy="895544"/>
          </a:xfrm>
          <a:prstGeom prst="rect">
            <a:avLst/>
          </a:prstGeom>
        </p:spPr>
        <p:txBody>
          <a:bodyPr vert="horz" lIns="91440" tIns="45720" rIns="91440" bIns="45720" rtlCol="0" anchor="ctr">
            <a:normAutofit/>
          </a:bodyPr>
          <a:lstStyle>
            <a:defPPr>
              <a:defRPr lang="zh-CN"/>
            </a:defPPr>
            <a:lvl1pPr>
              <a:lnSpc>
                <a:spcPct val="90000"/>
              </a:lnSpc>
              <a:spcBef>
                <a:spcPct val="0"/>
              </a:spcBef>
              <a:buNone/>
              <a:defRPr sz="3600">
                <a:solidFill>
                  <a:schemeClr val="tx1">
                    <a:lumMod val="65000"/>
                    <a:lumOff val="35000"/>
                  </a:schemeClr>
                </a:solidFill>
                <a:latin typeface="微软雅黑" panose="020B0503020204020204" charset="-122"/>
                <a:ea typeface="微软雅黑" panose="020B0503020204020204" charset="-122"/>
                <a:cs typeface="+mj-cs"/>
              </a:defRPr>
            </a:lvl1pPr>
          </a:lstStyle>
          <a:p>
            <a:r>
              <a:rPr dirty="0" smtClean="0">
                <a:latin typeface="Microsoft YaHei UI" panose="020B0503020204020204" charset="-122"/>
                <a:ea typeface="Microsoft YaHei UI" panose="020B0503020204020204" charset="-122"/>
                <a:cs typeface="Microsoft YaHei UI" panose="020B0503020204020204" charset="-122"/>
                <a:sym typeface="+mn-ea"/>
              </a:rPr>
              <a:t>响应式</a:t>
            </a:r>
            <a:r>
              <a:rPr lang="zh-CN" dirty="0" smtClean="0">
                <a:latin typeface="Microsoft YaHei UI" panose="020B0503020204020204" charset="-122"/>
                <a:ea typeface="Microsoft YaHei UI" panose="020B0503020204020204" charset="-122"/>
                <a:cs typeface="Microsoft YaHei UI" panose="020B0503020204020204" charset="-122"/>
                <a:sym typeface="+mn-ea"/>
              </a:rPr>
              <a:t>介绍</a:t>
            </a:r>
            <a:endParaRPr lang="zh-CN" altLang="en-US" dirty="0"/>
          </a:p>
        </p:txBody>
      </p:sp>
      <p:sp>
        <p:nvSpPr>
          <p:cNvPr id="6" name="椭圆 5"/>
          <p:cNvSpPr/>
          <p:nvPr/>
        </p:nvSpPr>
        <p:spPr>
          <a:xfrm>
            <a:off x="3655689" y="839031"/>
            <a:ext cx="789822" cy="789822"/>
          </a:xfrm>
          <a:prstGeom prst="ellipse">
            <a:avLst/>
          </a:prstGeom>
          <a:solidFill>
            <a:srgbClr val="EC5B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dirty="0">
                <a:latin typeface="Adobe 黑体 Std R" panose="020B0400000000000000" pitchFamily="34" charset="-122"/>
                <a:ea typeface="Adobe 黑体 Std R" panose="020B0400000000000000" pitchFamily="34" charset="-122"/>
                <a:cs typeface="Arial" panose="020B0604020202020204" pitchFamily="34" charset="0"/>
              </a:rPr>
              <a:t>1</a:t>
            </a:r>
            <a:endParaRPr lang="zh-CN" altLang="en-US" sz="3600" dirty="0">
              <a:latin typeface="Adobe 黑体 Std R" panose="020B0400000000000000" pitchFamily="34" charset="-122"/>
              <a:ea typeface="Adobe 黑体 Std R" panose="020B0400000000000000" pitchFamily="34" charset="-122"/>
              <a:cs typeface="Arial" panose="020B0604020202020204" pitchFamily="34" charset="0"/>
            </a:endParaRPr>
          </a:p>
        </p:txBody>
      </p:sp>
      <p:sp>
        <p:nvSpPr>
          <p:cNvPr id="7" name="椭圆 6"/>
          <p:cNvSpPr/>
          <p:nvPr/>
        </p:nvSpPr>
        <p:spPr>
          <a:xfrm>
            <a:off x="3946643" y="2986399"/>
            <a:ext cx="789822" cy="789822"/>
          </a:xfrm>
          <a:prstGeom prst="ellipse">
            <a:avLst/>
          </a:prstGeom>
          <a:solidFill>
            <a:srgbClr val="329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dirty="0">
                <a:latin typeface="Adobe 黑体 Std R" panose="020B0400000000000000" pitchFamily="34" charset="-122"/>
                <a:ea typeface="Adobe 黑体 Std R" panose="020B0400000000000000" pitchFamily="34" charset="-122"/>
                <a:cs typeface="Arial" panose="020B0604020202020204" pitchFamily="34" charset="0"/>
              </a:rPr>
              <a:t>2</a:t>
            </a:r>
            <a:endParaRPr lang="zh-CN" altLang="en-US" sz="3600" dirty="0">
              <a:latin typeface="Adobe 黑体 Std R" panose="020B0400000000000000" pitchFamily="34" charset="-122"/>
              <a:ea typeface="Adobe 黑体 Std R" panose="020B0400000000000000" pitchFamily="34" charset="-122"/>
              <a:cs typeface="Arial" panose="020B0604020202020204" pitchFamily="34" charset="0"/>
            </a:endParaRPr>
          </a:p>
        </p:txBody>
      </p:sp>
      <p:sp>
        <p:nvSpPr>
          <p:cNvPr id="8" name="矩形 7"/>
          <p:cNvSpPr/>
          <p:nvPr/>
        </p:nvSpPr>
        <p:spPr>
          <a:xfrm>
            <a:off x="952218" y="2954119"/>
            <a:ext cx="1569660" cy="923330"/>
          </a:xfrm>
          <a:prstGeom prst="rect">
            <a:avLst/>
          </a:prstGeom>
        </p:spPr>
        <p:txBody>
          <a:bodyPr wrap="none">
            <a:spAutoFit/>
          </a:bodyPr>
          <a:lstStyle/>
          <a:p>
            <a:pPr algn="ctr"/>
            <a:r>
              <a:rPr lang="zh-CN" altLang="en-US" sz="5400" b="0" dirty="0">
                <a:solidFill>
                  <a:schemeClr val="tx1">
                    <a:lumMod val="65000"/>
                    <a:lumOff val="35000"/>
                  </a:schemeClr>
                </a:solidFill>
                <a:latin typeface="微软雅黑" panose="020B0503020204020204" charset="-122"/>
                <a:ea typeface="微软雅黑" panose="020B0503020204020204" charset="-122"/>
              </a:rPr>
              <a:t>目录</a:t>
            </a:r>
            <a:endParaRPr lang="en-US" altLang="zh-CN" sz="5400" b="0" dirty="0">
              <a:solidFill>
                <a:schemeClr val="tx1">
                  <a:lumMod val="65000"/>
                  <a:lumOff val="35000"/>
                </a:schemeClr>
              </a:solidFill>
              <a:latin typeface="微软雅黑" panose="020B0503020204020204" charset="-122"/>
              <a:ea typeface="微软雅黑" panose="020B0503020204020204" charset="-122"/>
            </a:endParaRPr>
          </a:p>
        </p:txBody>
      </p:sp>
      <p:sp>
        <p:nvSpPr>
          <p:cNvPr id="9" name="标题 1"/>
          <p:cNvSpPr txBox="1"/>
          <p:nvPr/>
        </p:nvSpPr>
        <p:spPr>
          <a:xfrm>
            <a:off x="4736465" y="5076829"/>
            <a:ext cx="5755562" cy="895544"/>
          </a:xfrm>
          <a:prstGeom prst="rect">
            <a:avLst/>
          </a:prstGeom>
        </p:spPr>
        <p:txBody>
          <a:bodyPr vert="horz" lIns="91440" tIns="45720" rIns="91440" bIns="45720" rtlCol="0" anchor="ctr">
            <a:normAutofit/>
          </a:bodyPr>
          <a:lstStyle>
            <a:defPPr>
              <a:defRPr lang="zh-CN"/>
            </a:defPPr>
            <a:lvl1pPr>
              <a:lnSpc>
                <a:spcPct val="90000"/>
              </a:lnSpc>
              <a:spcBef>
                <a:spcPct val="0"/>
              </a:spcBef>
              <a:buNone/>
              <a:defRPr sz="3600">
                <a:solidFill>
                  <a:schemeClr val="tx1">
                    <a:lumMod val="65000"/>
                    <a:lumOff val="35000"/>
                  </a:schemeClr>
                </a:solidFill>
                <a:latin typeface="微软雅黑" panose="020B0503020204020204" charset="-122"/>
                <a:ea typeface="微软雅黑" panose="020B0503020204020204" charset="-122"/>
                <a:cs typeface="+mj-cs"/>
              </a:defRPr>
            </a:lvl1pPr>
          </a:lstStyle>
          <a:p>
            <a:r>
              <a:rPr lang="zh-CN" altLang="en-US" dirty="0"/>
              <a:t>响应式布局常用解决方法</a:t>
            </a:r>
            <a:endParaRPr lang="zh-CN" altLang="en-US" dirty="0"/>
          </a:p>
        </p:txBody>
      </p:sp>
      <p:sp>
        <p:nvSpPr>
          <p:cNvPr id="10" name="椭圆 9"/>
          <p:cNvSpPr/>
          <p:nvPr/>
        </p:nvSpPr>
        <p:spPr>
          <a:xfrm>
            <a:off x="3655689" y="5103588"/>
            <a:ext cx="789822" cy="789822"/>
          </a:xfrm>
          <a:prstGeom prst="ellipse">
            <a:avLst/>
          </a:prstGeom>
          <a:solidFill>
            <a:srgbClr val="1DCF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dirty="0">
                <a:latin typeface="Adobe 黑体 Std R" panose="020B0400000000000000" pitchFamily="34" charset="-122"/>
                <a:ea typeface="Adobe 黑体 Std R" panose="020B0400000000000000" pitchFamily="34" charset="-122"/>
                <a:cs typeface="Arial" panose="020B0604020202020204" pitchFamily="34" charset="0"/>
              </a:rPr>
              <a:t>3</a:t>
            </a:r>
            <a:endParaRPr lang="zh-CN" altLang="en-US" sz="3600" dirty="0">
              <a:latin typeface="Adobe 黑体 Std R" panose="020B0400000000000000" pitchFamily="34" charset="-122"/>
              <a:ea typeface="Adobe 黑体 Std R" panose="020B0400000000000000" pitchFamily="34" charset="-122"/>
              <a:cs typeface="Arial" panose="020B0604020202020204" pitchFamily="34" charset="0"/>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170" name="标题 5"/>
          <p:cNvSpPr>
            <a:spLocks noGrp="1"/>
          </p:cNvSpPr>
          <p:nvPr>
            <p:ph type="title"/>
          </p:nvPr>
        </p:nvSpPr>
        <p:spPr>
          <a:xfrm>
            <a:off x="2063750" y="2708275"/>
            <a:ext cx="7772400" cy="1362075"/>
          </a:xfrm>
        </p:spPr>
        <p:txBody>
          <a:bodyPr vert="horz" anchor="t">
            <a:normAutofit/>
          </a:bodyPr>
          <a:p>
            <a:r>
              <a:rPr lang="en-US" altLang="zh-CN" sz="4000" b="1" kern="1200" dirty="0">
                <a:solidFill>
                  <a:srgbClr val="FF0000"/>
                </a:solidFill>
                <a:latin typeface="Calibri Light" panose="020F0302020204030204" charset="0"/>
                <a:ea typeface="宋体" panose="02010600030101010101" pitchFamily="2" charset="-122"/>
                <a:sym typeface="Calibri Light" panose="020F0302020204030204" charset="0"/>
              </a:rPr>
              <a:t>2</a:t>
            </a:r>
            <a:r>
              <a:rPr lang="zh-CN" altLang="en-US" sz="4000" b="1" kern="1200" dirty="0">
                <a:solidFill>
                  <a:srgbClr val="FF0000"/>
                </a:solidFill>
                <a:latin typeface="Calibri Light" panose="020F0302020204030204" charset="0"/>
                <a:ea typeface="宋体" panose="02010600030101010101" pitchFamily="2" charset="-122"/>
                <a:sym typeface="Calibri Light" panose="020F0302020204030204" charset="0"/>
              </a:rPr>
              <a:t>、新增的</a:t>
            </a:r>
            <a:r>
              <a:rPr lang="en-US" altLang="zh-CN" sz="4000" b="1" kern="1200" dirty="0">
                <a:solidFill>
                  <a:srgbClr val="FF0000"/>
                </a:solidFill>
                <a:latin typeface="Calibri Light" panose="020F0302020204030204" charset="0"/>
                <a:ea typeface="宋体" panose="02010600030101010101" pitchFamily="2" charset="-122"/>
                <a:sym typeface="Calibri Light" panose="020F0302020204030204" charset="0"/>
              </a:rPr>
              <a:t>HTML5</a:t>
            </a:r>
            <a:r>
              <a:rPr lang="zh-CN" altLang="en-US" sz="4000" b="1" kern="1200" dirty="0">
                <a:solidFill>
                  <a:srgbClr val="FF0000"/>
                </a:solidFill>
                <a:latin typeface="Calibri Light" panose="020F0302020204030204" charset="0"/>
                <a:ea typeface="宋体" panose="02010600030101010101" pitchFamily="2" charset="-122"/>
                <a:sym typeface="Calibri Light" panose="020F0302020204030204" charset="0"/>
              </a:rPr>
              <a:t>标签</a:t>
            </a:r>
            <a:endParaRPr lang="zh-CN" altLang="en-US" sz="4400" kern="1200" dirty="0">
              <a:latin typeface="Calibri Light" panose="020F0302020204030204" charset="0"/>
              <a:ea typeface="宋体" panose="02010600030101010101" pitchFamily="2" charset="-122"/>
              <a:sym typeface="Calibri Light" panose="020F0302020204030204" charset="0"/>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8194" name="标题 1"/>
          <p:cNvSpPr>
            <a:spLocks noGrp="1"/>
          </p:cNvSpPr>
          <p:nvPr>
            <p:ph type="title" idx="4294967295"/>
          </p:nvPr>
        </p:nvSpPr>
        <p:spPr>
          <a:xfrm>
            <a:off x="0" y="914400"/>
            <a:ext cx="8229600" cy="1143000"/>
          </a:xfrm>
        </p:spPr>
        <p:txBody>
          <a:bodyPr vert="horz" anchor="ctr">
            <a:normAutofit/>
          </a:bodyPr>
          <a:p>
            <a:pPr marL="624205" indent="-513080"/>
            <a:r>
              <a:rPr lang="zh-CN" altLang="en-US" sz="4400" kern="1200" dirty="0">
                <a:latin typeface="Calibri Light" panose="020F0302020204030204" charset="0"/>
                <a:ea typeface="宋体" panose="02010600030101010101" pitchFamily="2" charset="-122"/>
                <a:sym typeface="Calibri Light" panose="020F0302020204030204" charset="0"/>
              </a:rPr>
              <a:t>新增的</a:t>
            </a:r>
            <a:r>
              <a:rPr lang="en-US" altLang="zh-CN" sz="4400" kern="1200" dirty="0">
                <a:latin typeface="Calibri Light" panose="020F0302020204030204" charset="0"/>
                <a:ea typeface="宋体" panose="02010600030101010101" pitchFamily="2" charset="-122"/>
                <a:sym typeface="Calibri Light" panose="020F0302020204030204" charset="0"/>
              </a:rPr>
              <a:t>HTML5</a:t>
            </a:r>
            <a:r>
              <a:rPr lang="zh-CN" altLang="en-US" sz="4400" kern="1200" dirty="0">
                <a:latin typeface="Calibri Light" panose="020F0302020204030204" charset="0"/>
                <a:ea typeface="宋体" panose="02010600030101010101" pitchFamily="2" charset="-122"/>
                <a:sym typeface="Calibri Light" panose="020F0302020204030204" charset="0"/>
              </a:rPr>
              <a:t>标签</a:t>
            </a:r>
            <a:r>
              <a:rPr lang="en-US" altLang="zh-CN" sz="4400" kern="1200" dirty="0">
                <a:latin typeface="Calibri Light" panose="020F0302020204030204" charset="0"/>
                <a:ea typeface="宋体" panose="02010600030101010101" pitchFamily="2" charset="-122"/>
                <a:sym typeface="Calibri Light" panose="020F0302020204030204" charset="0"/>
              </a:rPr>
              <a:t>-</a:t>
            </a:r>
            <a:r>
              <a:rPr lang="zh-CN" altLang="en-US" sz="4400" kern="1200" dirty="0">
                <a:solidFill>
                  <a:srgbClr val="FF0000"/>
                </a:solidFill>
                <a:latin typeface="Calibri Light" panose="020F0302020204030204" charset="0"/>
                <a:ea typeface="宋体" panose="02010600030101010101" pitchFamily="2" charset="-122"/>
                <a:sym typeface="Calibri Light" panose="020F0302020204030204" charset="0"/>
              </a:rPr>
              <a:t>结构标签</a:t>
            </a:r>
            <a:endParaRPr lang="en-US" altLang="zh-CN" sz="4400" kern="1200" dirty="0">
              <a:solidFill>
                <a:srgbClr val="FF0000"/>
              </a:solidFill>
              <a:latin typeface="Calibri Light" panose="020F0302020204030204" charset="0"/>
              <a:ea typeface="宋体" panose="02010600030101010101" pitchFamily="2" charset="-122"/>
              <a:sym typeface="Calibri Light" panose="020F0302020204030204" charset="0"/>
            </a:endParaRPr>
          </a:p>
        </p:txBody>
      </p:sp>
      <p:sp>
        <p:nvSpPr>
          <p:cNvPr id="8195" name="内容占位符 2"/>
          <p:cNvSpPr>
            <a:spLocks noGrp="1"/>
          </p:cNvSpPr>
          <p:nvPr>
            <p:ph idx="4294967295"/>
          </p:nvPr>
        </p:nvSpPr>
        <p:spPr>
          <a:xfrm>
            <a:off x="1858645" y="2125345"/>
            <a:ext cx="8229600" cy="4632960"/>
          </a:xfrm>
        </p:spPr>
        <p:txBody>
          <a:bodyPr vert="horz">
            <a:noAutofit/>
          </a:bodyPr>
          <a:p>
            <a:pPr marL="109855" algn="l" defTabSz="914400"/>
            <a:r>
              <a:rPr lang="zh-CN" altLang="en-US" sz="1600" b="1" kern="1200" dirty="0">
                <a:latin typeface="Calibri" panose="020F0502020204030204" charset="0"/>
                <a:ea typeface="宋体" panose="02010600030101010101" pitchFamily="2" charset="-122"/>
                <a:sym typeface="Calibri" panose="020F0502020204030204" charset="0"/>
              </a:rPr>
              <a:t>结构标签：</a:t>
            </a:r>
            <a:r>
              <a:rPr lang="en-US" altLang="zh-CN" sz="1600" b="1" kern="1200" dirty="0">
                <a:latin typeface="Calibri" panose="020F0502020204030204" charset="0"/>
                <a:ea typeface="宋体" panose="02010600030101010101" pitchFamily="2" charset="-122"/>
                <a:sym typeface="Calibri" panose="020F0502020204030204" charset="0"/>
              </a:rPr>
              <a:t>(</a:t>
            </a:r>
            <a:r>
              <a:rPr lang="zh-CN" altLang="en-US" sz="1600" b="1" kern="1200" dirty="0">
                <a:latin typeface="Calibri" panose="020F0502020204030204" charset="0"/>
                <a:ea typeface="宋体" panose="02010600030101010101" pitchFamily="2" charset="-122"/>
                <a:sym typeface="Calibri" panose="020F0502020204030204" charset="0"/>
              </a:rPr>
              <a:t>块状元素</a:t>
            </a:r>
            <a:r>
              <a:rPr lang="en-US" altLang="zh-CN" sz="1600" b="1" kern="1200" dirty="0">
                <a:latin typeface="Calibri" panose="020F0502020204030204" charset="0"/>
                <a:ea typeface="宋体" panose="02010600030101010101" pitchFamily="2" charset="-122"/>
                <a:sym typeface="Calibri" panose="020F0502020204030204" charset="0"/>
              </a:rPr>
              <a:t>) </a:t>
            </a:r>
            <a:r>
              <a:rPr lang="zh-CN" altLang="en-US" sz="1600" b="1" kern="1200" dirty="0">
                <a:latin typeface="Calibri" panose="020F0502020204030204" charset="0"/>
                <a:ea typeface="宋体" panose="02010600030101010101" pitchFamily="2" charset="-122"/>
                <a:sym typeface="Calibri" panose="020F0502020204030204" charset="0"/>
              </a:rPr>
              <a:t>有意义的</a:t>
            </a:r>
            <a:r>
              <a:rPr lang="en-US" altLang="zh-CN" sz="1600" b="1" kern="1200" dirty="0">
                <a:latin typeface="Calibri" panose="020F0502020204030204" charset="0"/>
                <a:ea typeface="宋体" panose="02010600030101010101" pitchFamily="2" charset="-122"/>
                <a:sym typeface="Calibri" panose="020F0502020204030204" charset="0"/>
              </a:rPr>
              <a:t>div</a:t>
            </a:r>
            <a:endParaRPr lang="en-US" altLang="zh-CN" sz="1600" kern="1200" dirty="0">
              <a:latin typeface="Calibri" panose="020F0502020204030204" charset="0"/>
              <a:ea typeface="宋体" panose="02010600030101010101" pitchFamily="2" charset="-122"/>
              <a:sym typeface="Calibri" panose="020F0502020204030204" charset="0"/>
            </a:endParaRPr>
          </a:p>
          <a:p>
            <a:pPr marL="109855" algn="l" defTabSz="914400"/>
            <a:r>
              <a:rPr lang="en-US" altLang="zh-CN" sz="1600" kern="1200" dirty="0">
                <a:latin typeface="Calibri" panose="020F0502020204030204" charset="0"/>
                <a:ea typeface="宋体" panose="02010600030101010101" pitchFamily="2" charset="-122"/>
                <a:sym typeface="Calibri" panose="020F0502020204030204" charset="0"/>
              </a:rPr>
              <a:t>	&lt;article&gt;	 </a:t>
            </a:r>
            <a:r>
              <a:rPr lang="zh-CN" altLang="en-US" sz="1600" kern="1200" dirty="0">
                <a:latin typeface="Calibri" panose="020F0502020204030204" charset="0"/>
                <a:ea typeface="宋体" panose="02010600030101010101" pitchFamily="2" charset="-122"/>
                <a:sym typeface="Calibri" panose="020F0502020204030204" charset="0"/>
              </a:rPr>
              <a:t>标记定义一篇文章</a:t>
            </a:r>
            <a:endParaRPr lang="zh-CN" altLang="en-US" sz="1600" kern="1200" dirty="0">
              <a:latin typeface="Calibri" panose="020F0502020204030204" charset="0"/>
              <a:ea typeface="宋体" panose="02010600030101010101" pitchFamily="2" charset="-122"/>
              <a:sym typeface="Calibri" panose="020F0502020204030204" charset="0"/>
            </a:endParaRPr>
          </a:p>
          <a:p>
            <a:pPr marL="109855" algn="l" defTabSz="914400"/>
            <a:r>
              <a:rPr lang="zh-CN" altLang="en-US" sz="1600" kern="1200" dirty="0">
                <a:latin typeface="Calibri" panose="020F0502020204030204" charset="0"/>
                <a:ea typeface="宋体" panose="02010600030101010101" pitchFamily="2" charset="-122"/>
                <a:sym typeface="Calibri" panose="020F0502020204030204" charset="0"/>
              </a:rPr>
              <a:t>	</a:t>
            </a:r>
            <a:r>
              <a:rPr lang="en-US" altLang="zh-CN" sz="1600" kern="1200" dirty="0">
                <a:latin typeface="Calibri" panose="020F0502020204030204" charset="0"/>
                <a:ea typeface="宋体" panose="02010600030101010101" pitchFamily="2" charset="-122"/>
                <a:sym typeface="Calibri" panose="020F0502020204030204" charset="0"/>
              </a:rPr>
              <a:t>&lt;header&gt;	 </a:t>
            </a:r>
            <a:r>
              <a:rPr lang="zh-CN" altLang="en-US" sz="1600" kern="1200" dirty="0">
                <a:latin typeface="Calibri" panose="020F0502020204030204" charset="0"/>
                <a:ea typeface="宋体" panose="02010600030101010101" pitchFamily="2" charset="-122"/>
                <a:sym typeface="Calibri" panose="020F0502020204030204" charset="0"/>
              </a:rPr>
              <a:t>标记定义一个页面或一个区域的头部</a:t>
            </a:r>
            <a:endParaRPr lang="zh-CN" altLang="en-US" sz="1600" kern="1200" dirty="0">
              <a:latin typeface="Calibri" panose="020F0502020204030204" charset="0"/>
              <a:ea typeface="宋体" panose="02010600030101010101" pitchFamily="2" charset="-122"/>
              <a:sym typeface="Calibri" panose="020F0502020204030204" charset="0"/>
            </a:endParaRPr>
          </a:p>
          <a:p>
            <a:pPr marL="109855" algn="l" defTabSz="914400"/>
            <a:r>
              <a:rPr lang="zh-CN" altLang="en-US" sz="1600" kern="1200" dirty="0">
                <a:latin typeface="Calibri" panose="020F0502020204030204" charset="0"/>
                <a:ea typeface="宋体" panose="02010600030101010101" pitchFamily="2" charset="-122"/>
                <a:sym typeface="Calibri" panose="020F0502020204030204" charset="0"/>
              </a:rPr>
              <a:t> 	</a:t>
            </a:r>
            <a:r>
              <a:rPr lang="en-US" altLang="zh-CN" sz="1600" kern="1200" dirty="0">
                <a:latin typeface="Calibri" panose="020F0502020204030204" charset="0"/>
                <a:ea typeface="宋体" panose="02010600030101010101" pitchFamily="2" charset="-122"/>
                <a:sym typeface="Calibri" panose="020F0502020204030204" charset="0"/>
              </a:rPr>
              <a:t>&lt;nav&gt; 		</a:t>
            </a:r>
            <a:r>
              <a:rPr lang="zh-CN" altLang="en-US" sz="1600" kern="1200" dirty="0">
                <a:latin typeface="Calibri" panose="020F0502020204030204" charset="0"/>
                <a:ea typeface="宋体" panose="02010600030101010101" pitchFamily="2" charset="-122"/>
                <a:sym typeface="Calibri" panose="020F0502020204030204" charset="0"/>
              </a:rPr>
              <a:t>标记定义导航链接</a:t>
            </a:r>
            <a:endParaRPr lang="zh-CN" altLang="en-US" sz="1600" kern="1200" dirty="0">
              <a:latin typeface="Calibri" panose="020F0502020204030204" charset="0"/>
              <a:ea typeface="宋体" panose="02010600030101010101" pitchFamily="2" charset="-122"/>
              <a:sym typeface="Calibri" panose="020F0502020204030204" charset="0"/>
            </a:endParaRPr>
          </a:p>
          <a:p>
            <a:pPr marL="109855" algn="l" defTabSz="914400"/>
            <a:r>
              <a:rPr lang="zh-CN" altLang="en-US" sz="1600" kern="1200" dirty="0">
                <a:latin typeface="Calibri" panose="020F0502020204030204" charset="0"/>
                <a:ea typeface="宋体" panose="02010600030101010101" pitchFamily="2" charset="-122"/>
                <a:sym typeface="Calibri" panose="020F0502020204030204" charset="0"/>
              </a:rPr>
              <a:t>	</a:t>
            </a:r>
            <a:r>
              <a:rPr lang="en-US" altLang="zh-CN" sz="1600" kern="1200" dirty="0">
                <a:latin typeface="Calibri" panose="020F0502020204030204" charset="0"/>
                <a:ea typeface="宋体" panose="02010600030101010101" pitchFamily="2" charset="-122"/>
                <a:sym typeface="Calibri" panose="020F0502020204030204" charset="0"/>
              </a:rPr>
              <a:t>&lt;section&gt;	 </a:t>
            </a:r>
            <a:r>
              <a:rPr lang="zh-CN" altLang="en-US" sz="1600" kern="1200" dirty="0">
                <a:latin typeface="Calibri" panose="020F0502020204030204" charset="0"/>
                <a:ea typeface="宋体" panose="02010600030101010101" pitchFamily="2" charset="-122"/>
                <a:sym typeface="Calibri" panose="020F0502020204030204" charset="0"/>
              </a:rPr>
              <a:t>标记定义一个区域</a:t>
            </a:r>
            <a:endParaRPr lang="en-US" altLang="zh-CN" sz="1600" kern="1200" dirty="0">
              <a:latin typeface="Calibri" panose="020F0502020204030204" charset="0"/>
              <a:ea typeface="宋体" panose="02010600030101010101" pitchFamily="2" charset="-122"/>
              <a:sym typeface="Calibri" panose="020F0502020204030204" charset="0"/>
            </a:endParaRPr>
          </a:p>
          <a:p>
            <a:pPr marL="109855" algn="l" defTabSz="914400"/>
            <a:r>
              <a:rPr lang="zh-CN" altLang="en-US" sz="1600" kern="1200" dirty="0">
                <a:latin typeface="Calibri" panose="020F0502020204030204" charset="0"/>
                <a:ea typeface="宋体" panose="02010600030101010101" pitchFamily="2" charset="-122"/>
                <a:sym typeface="Calibri" panose="020F0502020204030204" charset="0"/>
              </a:rPr>
              <a:t>	</a:t>
            </a:r>
            <a:r>
              <a:rPr lang="en-US" altLang="zh-CN" sz="1600" kern="1200" dirty="0">
                <a:latin typeface="Calibri" panose="020F0502020204030204" charset="0"/>
                <a:ea typeface="宋体" panose="02010600030101010101" pitchFamily="2" charset="-122"/>
                <a:sym typeface="Calibri" panose="020F0502020204030204" charset="0"/>
              </a:rPr>
              <a:t>&lt;aside&gt; 	</a:t>
            </a:r>
            <a:r>
              <a:rPr lang="zh-CN" altLang="en-US" sz="1600" kern="1200" dirty="0">
                <a:latin typeface="Calibri" panose="020F0502020204030204" charset="0"/>
                <a:ea typeface="宋体" panose="02010600030101010101" pitchFamily="2" charset="-122"/>
                <a:sym typeface="Calibri" panose="020F0502020204030204" charset="0"/>
              </a:rPr>
              <a:t>标记定义页面内容部分的侧边栏</a:t>
            </a:r>
            <a:endParaRPr lang="zh-CN" altLang="en-US" sz="1600" kern="1200" dirty="0">
              <a:latin typeface="Calibri" panose="020F0502020204030204" charset="0"/>
              <a:ea typeface="宋体" panose="02010600030101010101" pitchFamily="2" charset="-122"/>
              <a:sym typeface="Calibri" panose="020F0502020204030204" charset="0"/>
            </a:endParaRPr>
          </a:p>
          <a:p>
            <a:pPr marL="109855" algn="l" defTabSz="914400"/>
            <a:r>
              <a:rPr lang="zh-CN" altLang="en-US" sz="1600" kern="1200" dirty="0">
                <a:latin typeface="Calibri" panose="020F0502020204030204" charset="0"/>
                <a:ea typeface="宋体" panose="02010600030101010101" pitchFamily="2" charset="-122"/>
                <a:sym typeface="Calibri" panose="020F0502020204030204" charset="0"/>
              </a:rPr>
              <a:t>	</a:t>
            </a:r>
            <a:r>
              <a:rPr lang="en-US" altLang="zh-CN" sz="1600" kern="1200" dirty="0">
                <a:latin typeface="Calibri" panose="020F0502020204030204" charset="0"/>
                <a:ea typeface="宋体" panose="02010600030101010101" pitchFamily="2" charset="-122"/>
                <a:sym typeface="Calibri" panose="020F0502020204030204" charset="0"/>
              </a:rPr>
              <a:t>&lt;hgroup&gt;	 </a:t>
            </a:r>
            <a:r>
              <a:rPr lang="zh-CN" altLang="en-US" sz="1600" kern="1200" dirty="0">
                <a:latin typeface="Calibri" panose="020F0502020204030204" charset="0"/>
                <a:ea typeface="宋体" panose="02010600030101010101" pitchFamily="2" charset="-122"/>
                <a:sym typeface="Calibri" panose="020F0502020204030204" charset="0"/>
              </a:rPr>
              <a:t>标记定义文件中一个区块的相关信息</a:t>
            </a:r>
            <a:endParaRPr lang="zh-CN" altLang="en-US" sz="1600" kern="1200" dirty="0">
              <a:latin typeface="Calibri" panose="020F0502020204030204" charset="0"/>
              <a:ea typeface="宋体" panose="02010600030101010101" pitchFamily="2" charset="-122"/>
              <a:sym typeface="Calibri" panose="020F0502020204030204" charset="0"/>
            </a:endParaRPr>
          </a:p>
          <a:p>
            <a:pPr marL="109855" algn="l" defTabSz="914400"/>
            <a:r>
              <a:rPr lang="zh-CN" altLang="en-US" sz="1600" kern="1200" dirty="0">
                <a:latin typeface="Calibri" panose="020F0502020204030204" charset="0"/>
                <a:ea typeface="宋体" panose="02010600030101010101" pitchFamily="2" charset="-122"/>
                <a:sym typeface="Calibri" panose="020F0502020204030204" charset="0"/>
              </a:rPr>
              <a:t>	</a:t>
            </a:r>
            <a:r>
              <a:rPr lang="en-US" altLang="zh-CN" sz="1600" kern="1200" dirty="0">
                <a:latin typeface="Calibri" panose="020F0502020204030204" charset="0"/>
                <a:ea typeface="宋体" panose="02010600030101010101" pitchFamily="2" charset="-122"/>
                <a:sym typeface="Calibri" panose="020F0502020204030204" charset="0"/>
              </a:rPr>
              <a:t>&lt;figure&gt; 	</a:t>
            </a:r>
            <a:r>
              <a:rPr lang="zh-CN" altLang="en-US" sz="1600" kern="1200" dirty="0">
                <a:latin typeface="Calibri" panose="020F0502020204030204" charset="0"/>
                <a:ea typeface="宋体" panose="02010600030101010101" pitchFamily="2" charset="-122"/>
                <a:sym typeface="Calibri" panose="020F0502020204030204" charset="0"/>
              </a:rPr>
              <a:t>标记定义一组媒体内容以及它们的标题</a:t>
            </a:r>
            <a:r>
              <a:rPr lang="en-US" altLang="zh-CN" sz="1600" kern="1200" dirty="0">
                <a:latin typeface="Calibri" panose="020F0502020204030204" charset="0"/>
                <a:ea typeface="宋体" panose="02010600030101010101" pitchFamily="2" charset="-122"/>
                <a:sym typeface="Calibri" panose="020F0502020204030204" charset="0"/>
              </a:rPr>
              <a:t>	</a:t>
            </a:r>
            <a:endParaRPr lang="zh-CN" altLang="en-US" sz="1600" kern="1200" dirty="0">
              <a:latin typeface="Calibri" panose="020F0502020204030204" charset="0"/>
              <a:ea typeface="宋体" panose="02010600030101010101" pitchFamily="2" charset="-122"/>
              <a:sym typeface="Calibri" panose="020F0502020204030204" charset="0"/>
            </a:endParaRPr>
          </a:p>
          <a:p>
            <a:pPr marL="109855" algn="l" defTabSz="914400"/>
            <a:r>
              <a:rPr lang="en-US" altLang="zh-CN" sz="1600" kern="1200" dirty="0">
                <a:latin typeface="Calibri" panose="020F0502020204030204" charset="0"/>
                <a:ea typeface="宋体" panose="02010600030101010101" pitchFamily="2" charset="-122"/>
                <a:sym typeface="Calibri" panose="020F0502020204030204" charset="0"/>
              </a:rPr>
              <a:t>	&lt;figcaption&gt;	 </a:t>
            </a:r>
            <a:r>
              <a:rPr lang="zh-CN" altLang="en-US" sz="1600" kern="1200" dirty="0">
                <a:latin typeface="Calibri" panose="020F0502020204030204" charset="0"/>
                <a:ea typeface="宋体" panose="02010600030101010101" pitchFamily="2" charset="-122"/>
                <a:sym typeface="Calibri" panose="020F0502020204030204" charset="0"/>
              </a:rPr>
              <a:t>标签定义 </a:t>
            </a:r>
            <a:r>
              <a:rPr lang="en-US" altLang="zh-CN" sz="1600" kern="1200" dirty="0">
                <a:latin typeface="Calibri" panose="020F0502020204030204" charset="0"/>
                <a:ea typeface="宋体" panose="02010600030101010101" pitchFamily="2" charset="-122"/>
                <a:sym typeface="Calibri" panose="020F0502020204030204" charset="0"/>
              </a:rPr>
              <a:t>figure </a:t>
            </a:r>
            <a:r>
              <a:rPr lang="zh-CN" altLang="en-US" sz="1600" kern="1200" dirty="0">
                <a:latin typeface="Calibri" panose="020F0502020204030204" charset="0"/>
                <a:ea typeface="宋体" panose="02010600030101010101" pitchFamily="2" charset="-122"/>
                <a:sym typeface="Calibri" panose="020F0502020204030204" charset="0"/>
              </a:rPr>
              <a:t>元素的标题。</a:t>
            </a:r>
            <a:endParaRPr lang="en-US" altLang="zh-CN" sz="1600" kern="1200" dirty="0">
              <a:latin typeface="Calibri" panose="020F0502020204030204" charset="0"/>
              <a:ea typeface="宋体" panose="02010600030101010101" pitchFamily="2" charset="-122"/>
              <a:sym typeface="Calibri" panose="020F0502020204030204" charset="0"/>
            </a:endParaRPr>
          </a:p>
          <a:p>
            <a:pPr marL="109855" algn="l" defTabSz="914400"/>
            <a:r>
              <a:rPr lang="en-US" altLang="zh-CN" sz="1600" kern="1200" dirty="0">
                <a:latin typeface="Calibri" panose="020F0502020204030204" charset="0"/>
                <a:ea typeface="宋体" panose="02010600030101010101" pitchFamily="2" charset="-122"/>
                <a:sym typeface="Calibri" panose="020F0502020204030204" charset="0"/>
              </a:rPr>
              <a:t>	&lt;footer&gt; 	</a:t>
            </a:r>
            <a:r>
              <a:rPr lang="zh-CN" altLang="en-US" sz="1600" kern="1200" dirty="0">
                <a:latin typeface="Calibri" panose="020F0502020204030204" charset="0"/>
                <a:ea typeface="宋体" panose="02010600030101010101" pitchFamily="2" charset="-122"/>
                <a:sym typeface="Calibri" panose="020F0502020204030204" charset="0"/>
              </a:rPr>
              <a:t>标记定义一个页面或一个区域的底部</a:t>
            </a:r>
            <a:endParaRPr lang="en-US" altLang="zh-CN" sz="1600" kern="1200" dirty="0">
              <a:latin typeface="Calibri" panose="020F0502020204030204" charset="0"/>
              <a:ea typeface="宋体" panose="02010600030101010101" pitchFamily="2" charset="-122"/>
              <a:sym typeface="Calibri" panose="020F0502020204030204" charset="0"/>
            </a:endParaRPr>
          </a:p>
          <a:p>
            <a:pPr marL="109855" algn="l" defTabSz="914400"/>
            <a:r>
              <a:rPr lang="en-US" altLang="zh-CN" sz="1600" kern="1200" dirty="0">
                <a:latin typeface="Calibri" panose="020F0502020204030204" charset="0"/>
                <a:ea typeface="宋体" panose="02010600030101010101" pitchFamily="2" charset="-122"/>
                <a:sym typeface="Calibri" panose="020F0502020204030204" charset="0"/>
              </a:rPr>
              <a:t>	&lt;dialog&gt;	 </a:t>
            </a:r>
            <a:r>
              <a:rPr lang="zh-CN" altLang="en-US" sz="1600" kern="1200" dirty="0">
                <a:latin typeface="Calibri" panose="020F0502020204030204" charset="0"/>
                <a:ea typeface="宋体" panose="02010600030101010101" pitchFamily="2" charset="-122"/>
                <a:sym typeface="Calibri" panose="020F0502020204030204" charset="0"/>
              </a:rPr>
              <a:t>标记定义一个对话框</a:t>
            </a:r>
            <a:r>
              <a:rPr lang="en-US" altLang="zh-CN" sz="1600" kern="1200" dirty="0">
                <a:latin typeface="Calibri" panose="020F0502020204030204" charset="0"/>
                <a:ea typeface="宋体" panose="02010600030101010101" pitchFamily="2" charset="-122"/>
                <a:sym typeface="Calibri" panose="020F0502020204030204" charset="0"/>
              </a:rPr>
              <a:t>(</a:t>
            </a:r>
            <a:r>
              <a:rPr lang="zh-CN" altLang="en-US" sz="1600" kern="1200" dirty="0">
                <a:latin typeface="Calibri" panose="020F0502020204030204" charset="0"/>
                <a:ea typeface="宋体" panose="02010600030101010101" pitchFamily="2" charset="-122"/>
                <a:sym typeface="Calibri" panose="020F0502020204030204" charset="0"/>
              </a:rPr>
              <a:t>会话框</a:t>
            </a:r>
            <a:r>
              <a:rPr lang="en-US" altLang="zh-CN" sz="1600" kern="1200" dirty="0">
                <a:latin typeface="Calibri" panose="020F0502020204030204" charset="0"/>
                <a:ea typeface="宋体" panose="02010600030101010101" pitchFamily="2" charset="-122"/>
                <a:sym typeface="Calibri" panose="020F0502020204030204" charset="0"/>
              </a:rPr>
              <a:t>)</a:t>
            </a:r>
            <a:r>
              <a:rPr lang="zh-CN" altLang="en-US" sz="1600" kern="1200" dirty="0">
                <a:latin typeface="Calibri" panose="020F0502020204030204" charset="0"/>
                <a:ea typeface="宋体" panose="02010600030101010101" pitchFamily="2" charset="-122"/>
                <a:sym typeface="Calibri" panose="020F0502020204030204" charset="0"/>
              </a:rPr>
              <a:t>类似微信</a:t>
            </a:r>
            <a:endParaRPr lang="en-US" altLang="zh-CN" sz="1600" kern="1200" dirty="0">
              <a:latin typeface="Calibri" panose="020F0502020204030204" charset="0"/>
              <a:ea typeface="宋体" panose="02010600030101010101" pitchFamily="2" charset="-122"/>
              <a:sym typeface="Calibri" panose="020F0502020204030204" charset="0"/>
            </a:endParaRPr>
          </a:p>
          <a:p>
            <a:pPr marL="109855" algn="l" defTabSz="914400"/>
            <a:endParaRPr lang="zh-CN" altLang="en-US" sz="1600" kern="1200" dirty="0">
              <a:latin typeface="Calibri" panose="020F0502020204030204" charset="0"/>
              <a:ea typeface="宋体" panose="02010600030101010101" pitchFamily="2" charset="-122"/>
              <a:sym typeface="Calibri" panose="020F0502020204030204" charset="0"/>
            </a:endParaRPr>
          </a:p>
          <a:p>
            <a:pPr marL="109855" algn="l" defTabSz="914400"/>
            <a:r>
              <a:rPr lang="zh-CN" altLang="en-US" sz="1600" kern="1200" dirty="0">
                <a:solidFill>
                  <a:srgbClr val="FF0000"/>
                </a:solidFill>
                <a:latin typeface="Calibri" panose="020F0502020204030204" charset="0"/>
                <a:ea typeface="宋体" panose="02010600030101010101" pitchFamily="2" charset="-122"/>
                <a:sym typeface="Calibri" panose="020F0502020204030204" charset="0"/>
              </a:rPr>
              <a:t>新的结构标签带来的是网页布局的改变及提升对搜索引擎的友好</a:t>
            </a:r>
            <a:endParaRPr lang="zh-CN" altLang="en-US" sz="1600" kern="1200" dirty="0">
              <a:solidFill>
                <a:srgbClr val="FF0000"/>
              </a:solidFill>
              <a:latin typeface="Calibri" panose="020F0502020204030204" charset="0"/>
              <a:ea typeface="宋体" panose="02010600030101010101" pitchFamily="2" charset="-122"/>
              <a:sym typeface="Calibri" panose="020F0502020204030204" charset="0"/>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9218" name="标题 1"/>
          <p:cNvSpPr>
            <a:spLocks noGrp="1"/>
          </p:cNvSpPr>
          <p:nvPr>
            <p:ph type="title"/>
          </p:nvPr>
        </p:nvSpPr>
        <p:spPr>
          <a:xfrm>
            <a:off x="1981200" y="914400"/>
            <a:ext cx="8229600" cy="1143000"/>
          </a:xfrm>
        </p:spPr>
        <p:txBody>
          <a:bodyPr vert="horz" anchor="ctr">
            <a:normAutofit/>
          </a:bodyPr>
          <a:p>
            <a:r>
              <a:rPr lang="zh-CN" altLang="en-US" sz="4400" kern="1200" dirty="0">
                <a:latin typeface="Calibri Light" panose="020F0302020204030204" charset="0"/>
                <a:ea typeface="宋体" panose="02010600030101010101" pitchFamily="2" charset="-122"/>
                <a:sym typeface="Calibri Light" panose="020F0302020204030204" charset="0"/>
              </a:rPr>
              <a:t>新增的</a:t>
            </a:r>
            <a:r>
              <a:rPr lang="en-US" altLang="zh-CN" sz="4400" kern="1200" dirty="0">
                <a:latin typeface="Calibri Light" panose="020F0302020204030204" charset="0"/>
                <a:ea typeface="宋体" panose="02010600030101010101" pitchFamily="2" charset="-122"/>
                <a:sym typeface="Calibri Light" panose="020F0302020204030204" charset="0"/>
              </a:rPr>
              <a:t>HTML5</a:t>
            </a:r>
            <a:r>
              <a:rPr lang="zh-CN" altLang="en-US" sz="4400" kern="1200" dirty="0">
                <a:latin typeface="Calibri Light" panose="020F0302020204030204" charset="0"/>
                <a:ea typeface="宋体" panose="02010600030101010101" pitchFamily="2" charset="-122"/>
                <a:sym typeface="Calibri Light" panose="020F0302020204030204" charset="0"/>
              </a:rPr>
              <a:t>标签</a:t>
            </a:r>
            <a:r>
              <a:rPr lang="en-US" altLang="zh-CN" sz="4400" kern="1200" dirty="0">
                <a:latin typeface="Calibri Light" panose="020F0302020204030204" charset="0"/>
                <a:ea typeface="宋体" panose="02010600030101010101" pitchFamily="2" charset="-122"/>
                <a:sym typeface="Calibri Light" panose="020F0302020204030204" charset="0"/>
              </a:rPr>
              <a:t>-</a:t>
            </a:r>
            <a:r>
              <a:rPr lang="zh-CN" altLang="en-US" sz="4400" kern="1200" dirty="0">
                <a:solidFill>
                  <a:srgbClr val="FF0000"/>
                </a:solidFill>
                <a:latin typeface="Calibri Light" panose="020F0302020204030204" charset="0"/>
                <a:ea typeface="宋体" panose="02010600030101010101" pitchFamily="2" charset="-122"/>
                <a:sym typeface="Calibri Light" panose="020F0302020204030204" charset="0"/>
              </a:rPr>
              <a:t>多媒体标签</a:t>
            </a:r>
            <a:endParaRPr lang="zh-CN" altLang="en-US" sz="4400" kern="1200" dirty="0">
              <a:latin typeface="Calibri Light" panose="020F0302020204030204" charset="0"/>
              <a:ea typeface="宋体" panose="02010600030101010101" pitchFamily="2" charset="-122"/>
              <a:sym typeface="Calibri Light" panose="020F0302020204030204" charset="0"/>
            </a:endParaRPr>
          </a:p>
        </p:txBody>
      </p:sp>
      <p:sp>
        <p:nvSpPr>
          <p:cNvPr id="9219" name="内容占位符 2"/>
          <p:cNvSpPr>
            <a:spLocks noGrp="1"/>
          </p:cNvSpPr>
          <p:nvPr>
            <p:ph idx="1"/>
          </p:nvPr>
        </p:nvSpPr>
        <p:spPr>
          <a:xfrm>
            <a:off x="1981200" y="2362200"/>
            <a:ext cx="8860155" cy="3810000"/>
          </a:xfrm>
        </p:spPr>
        <p:txBody>
          <a:bodyPr vert="horz">
            <a:normAutofit fontScale="90000" lnSpcReduction="20000"/>
          </a:bodyPr>
          <a:p>
            <a:pPr marL="109855" algn="l" defTabSz="914400">
              <a:lnSpc>
                <a:spcPct val="80000"/>
              </a:lnSpc>
            </a:pPr>
            <a:r>
              <a:rPr lang="zh-CN" altLang="en-US" sz="2800" b="1" kern="1200" dirty="0">
                <a:latin typeface="Calibri" panose="020F0502020204030204" charset="0"/>
                <a:ea typeface="宋体" panose="02010600030101010101" pitchFamily="2" charset="-122"/>
                <a:sym typeface="Calibri" panose="020F0502020204030204" charset="0"/>
              </a:rPr>
              <a:t>多媒体交互标签</a:t>
            </a:r>
            <a:endParaRPr lang="en-US" altLang="zh-CN" sz="2800" b="1" kern="1200" dirty="0">
              <a:latin typeface="Calibri" panose="020F0502020204030204" charset="0"/>
              <a:ea typeface="宋体" panose="02010600030101010101" pitchFamily="2" charset="-122"/>
              <a:sym typeface="Calibri" panose="020F0502020204030204" charset="0"/>
            </a:endParaRPr>
          </a:p>
          <a:p>
            <a:pPr marL="109855" algn="l" defTabSz="914400">
              <a:lnSpc>
                <a:spcPct val="80000"/>
              </a:lnSpc>
            </a:pPr>
            <a:endParaRPr lang="zh-CN" altLang="en-US" sz="2800" kern="1200" dirty="0">
              <a:latin typeface="Calibri" panose="020F0502020204030204" charset="0"/>
              <a:ea typeface="宋体" panose="02010600030101010101" pitchFamily="2" charset="-122"/>
              <a:sym typeface="Calibri" panose="020F0502020204030204" charset="0"/>
            </a:endParaRPr>
          </a:p>
          <a:p>
            <a:pPr marL="109855" algn="l" defTabSz="914400">
              <a:lnSpc>
                <a:spcPct val="80000"/>
              </a:lnSpc>
            </a:pPr>
            <a:r>
              <a:rPr lang="zh-CN" altLang="en-US" sz="1700" kern="1200" dirty="0">
                <a:latin typeface="Calibri" panose="020F0502020204030204" charset="0"/>
                <a:ea typeface="宋体" panose="02010600030101010101" pitchFamily="2" charset="-122"/>
                <a:sym typeface="Calibri" panose="020F0502020204030204" charset="0"/>
              </a:rPr>
              <a:t>	</a:t>
            </a:r>
            <a:r>
              <a:rPr lang="en-US" altLang="zh-CN" sz="1800" kern="1200" dirty="0">
                <a:solidFill>
                  <a:schemeClr val="tx1"/>
                </a:solidFill>
                <a:effectLst>
                  <a:outerShdw blurRad="38100" dist="19050" dir="2700000" algn="tl" rotWithShape="0">
                    <a:schemeClr val="dk1">
                      <a:alpha val="40000"/>
                    </a:schemeClr>
                  </a:outerShdw>
                </a:effectLst>
                <a:latin typeface="Calibri" panose="020F0502020204030204" charset="0"/>
                <a:ea typeface="宋体" panose="02010600030101010101" pitchFamily="2" charset="-122"/>
                <a:sym typeface="Calibri" panose="020F0502020204030204" charset="0"/>
              </a:rPr>
              <a:t>&lt;video&gt; </a:t>
            </a:r>
            <a:r>
              <a:rPr lang="zh-CN" altLang="en-US" sz="1800" kern="1200" dirty="0">
                <a:solidFill>
                  <a:schemeClr val="tx1"/>
                </a:solidFill>
                <a:effectLst>
                  <a:outerShdw blurRad="38100" dist="19050" dir="2700000" algn="tl" rotWithShape="0">
                    <a:schemeClr val="dk1">
                      <a:alpha val="40000"/>
                    </a:schemeClr>
                  </a:outerShdw>
                </a:effectLst>
                <a:latin typeface="Calibri" panose="020F0502020204030204" charset="0"/>
                <a:ea typeface="宋体" panose="02010600030101010101" pitchFamily="2" charset="-122"/>
                <a:sym typeface="Calibri" panose="020F0502020204030204" charset="0"/>
              </a:rPr>
              <a:t>标记定义一个视频</a:t>
            </a:r>
            <a:endParaRPr lang="zh-CN" altLang="en-US" sz="1800" kern="1200" dirty="0">
              <a:solidFill>
                <a:schemeClr val="tx1"/>
              </a:solidFill>
              <a:effectLst>
                <a:outerShdw blurRad="38100" dist="19050" dir="2700000" algn="tl" rotWithShape="0">
                  <a:schemeClr val="dk1">
                    <a:alpha val="40000"/>
                  </a:schemeClr>
                </a:outerShdw>
              </a:effectLst>
              <a:latin typeface="Calibri" panose="020F0502020204030204" charset="0"/>
              <a:ea typeface="宋体" panose="02010600030101010101" pitchFamily="2" charset="-122"/>
              <a:sym typeface="Calibri" panose="020F0502020204030204" charset="0"/>
            </a:endParaRPr>
          </a:p>
          <a:p>
            <a:pPr marL="109855" algn="l" defTabSz="914400">
              <a:lnSpc>
                <a:spcPct val="80000"/>
              </a:lnSpc>
            </a:pPr>
            <a:r>
              <a:rPr lang="zh-CN" altLang="en-US" sz="1800" kern="1200" dirty="0">
                <a:solidFill>
                  <a:schemeClr val="tx1"/>
                </a:solidFill>
                <a:effectLst>
                  <a:outerShdw blurRad="38100" dist="19050" dir="2700000" algn="tl" rotWithShape="0">
                    <a:schemeClr val="dk1">
                      <a:alpha val="40000"/>
                    </a:schemeClr>
                  </a:outerShdw>
                </a:effectLst>
                <a:latin typeface="Calibri" panose="020F0502020204030204" charset="0"/>
                <a:ea typeface="宋体" panose="02010600030101010101" pitchFamily="2" charset="-122"/>
                <a:sym typeface="Calibri" panose="020F0502020204030204" charset="0"/>
              </a:rPr>
              <a:t>	</a:t>
            </a:r>
            <a:r>
              <a:rPr lang="en-US" altLang="zh-CN" sz="1800" kern="1200" dirty="0">
                <a:solidFill>
                  <a:schemeClr val="tx1"/>
                </a:solidFill>
                <a:effectLst>
                  <a:outerShdw blurRad="38100" dist="19050" dir="2700000" algn="tl" rotWithShape="0">
                    <a:schemeClr val="dk1">
                      <a:alpha val="40000"/>
                    </a:schemeClr>
                  </a:outerShdw>
                </a:effectLst>
                <a:latin typeface="Calibri" panose="020F0502020204030204" charset="0"/>
                <a:ea typeface="宋体" panose="02010600030101010101" pitchFamily="2" charset="-122"/>
                <a:sym typeface="Calibri" panose="020F0502020204030204" charset="0"/>
              </a:rPr>
              <a:t>&lt;audio&gt; </a:t>
            </a:r>
            <a:r>
              <a:rPr lang="zh-CN" altLang="en-US" sz="1800" kern="1200" dirty="0">
                <a:solidFill>
                  <a:schemeClr val="tx1"/>
                </a:solidFill>
                <a:effectLst>
                  <a:outerShdw blurRad="38100" dist="19050" dir="2700000" algn="tl" rotWithShape="0">
                    <a:schemeClr val="dk1">
                      <a:alpha val="40000"/>
                    </a:schemeClr>
                  </a:outerShdw>
                </a:effectLst>
                <a:latin typeface="Calibri" panose="020F0502020204030204" charset="0"/>
                <a:ea typeface="宋体" panose="02010600030101010101" pitchFamily="2" charset="-122"/>
                <a:sym typeface="Calibri" panose="020F0502020204030204" charset="0"/>
              </a:rPr>
              <a:t>标记定义音频内容</a:t>
            </a:r>
            <a:endParaRPr lang="zh-CN" altLang="en-US" sz="1800" kern="1200" dirty="0">
              <a:solidFill>
                <a:schemeClr val="tx1"/>
              </a:solidFill>
              <a:effectLst>
                <a:outerShdw blurRad="38100" dist="19050" dir="2700000" algn="tl" rotWithShape="0">
                  <a:schemeClr val="dk1">
                    <a:alpha val="40000"/>
                  </a:schemeClr>
                </a:outerShdw>
              </a:effectLst>
              <a:latin typeface="Calibri" panose="020F0502020204030204" charset="0"/>
              <a:ea typeface="宋体" panose="02010600030101010101" pitchFamily="2" charset="-122"/>
              <a:sym typeface="Calibri" panose="020F0502020204030204" charset="0"/>
            </a:endParaRPr>
          </a:p>
          <a:p>
            <a:pPr marL="109855" algn="l" defTabSz="914400">
              <a:lnSpc>
                <a:spcPct val="80000"/>
              </a:lnSpc>
            </a:pPr>
            <a:r>
              <a:rPr lang="zh-CN" altLang="en-US" sz="1800" kern="1200" dirty="0">
                <a:solidFill>
                  <a:schemeClr val="tx1"/>
                </a:solidFill>
                <a:effectLst>
                  <a:outerShdw blurRad="38100" dist="19050" dir="2700000" algn="tl" rotWithShape="0">
                    <a:schemeClr val="dk1">
                      <a:alpha val="40000"/>
                    </a:schemeClr>
                  </a:outerShdw>
                </a:effectLst>
                <a:latin typeface="Calibri" panose="020F0502020204030204" charset="0"/>
                <a:ea typeface="宋体" panose="02010600030101010101" pitchFamily="2" charset="-122"/>
                <a:sym typeface="Calibri" panose="020F0502020204030204" charset="0"/>
              </a:rPr>
              <a:t> 	</a:t>
            </a:r>
            <a:r>
              <a:rPr lang="en-US" altLang="zh-CN" sz="1800" kern="1200" dirty="0">
                <a:solidFill>
                  <a:schemeClr val="tx1"/>
                </a:solidFill>
                <a:effectLst>
                  <a:outerShdw blurRad="38100" dist="19050" dir="2700000" algn="tl" rotWithShape="0">
                    <a:schemeClr val="dk1">
                      <a:alpha val="40000"/>
                    </a:schemeClr>
                  </a:outerShdw>
                </a:effectLst>
                <a:latin typeface="Calibri" panose="020F0502020204030204" charset="0"/>
                <a:ea typeface="宋体" panose="02010600030101010101" pitchFamily="2" charset="-122"/>
                <a:sym typeface="Calibri" panose="020F0502020204030204" charset="0"/>
              </a:rPr>
              <a:t>&lt;source&gt; </a:t>
            </a:r>
            <a:r>
              <a:rPr lang="zh-CN" altLang="en-US" sz="1800" kern="1200" dirty="0">
                <a:solidFill>
                  <a:schemeClr val="tx1"/>
                </a:solidFill>
                <a:effectLst>
                  <a:outerShdw blurRad="38100" dist="19050" dir="2700000" algn="tl" rotWithShape="0">
                    <a:schemeClr val="dk1">
                      <a:alpha val="40000"/>
                    </a:schemeClr>
                  </a:outerShdw>
                </a:effectLst>
                <a:latin typeface="Calibri" panose="020F0502020204030204" charset="0"/>
                <a:ea typeface="宋体" panose="02010600030101010101" pitchFamily="2" charset="-122"/>
                <a:sym typeface="Calibri" panose="020F0502020204030204" charset="0"/>
              </a:rPr>
              <a:t>标记定义媒体资源</a:t>
            </a:r>
            <a:endParaRPr lang="en-US" altLang="zh-CN" sz="1800" kern="1200" dirty="0">
              <a:solidFill>
                <a:schemeClr val="tx1"/>
              </a:solidFill>
              <a:effectLst>
                <a:outerShdw blurRad="38100" dist="19050" dir="2700000" algn="tl" rotWithShape="0">
                  <a:schemeClr val="dk1">
                    <a:alpha val="40000"/>
                  </a:schemeClr>
                </a:outerShdw>
              </a:effectLst>
              <a:latin typeface="Calibri" panose="020F0502020204030204" charset="0"/>
              <a:ea typeface="宋体" panose="02010600030101010101" pitchFamily="2" charset="-122"/>
              <a:sym typeface="Calibri" panose="020F0502020204030204" charset="0"/>
            </a:endParaRPr>
          </a:p>
          <a:p>
            <a:pPr marL="109855" algn="l" defTabSz="914400">
              <a:lnSpc>
                <a:spcPct val="80000"/>
              </a:lnSpc>
            </a:pPr>
            <a:endParaRPr lang="zh-CN" altLang="en-US" sz="1800" kern="1200" dirty="0">
              <a:solidFill>
                <a:schemeClr val="tx1"/>
              </a:solidFill>
              <a:effectLst>
                <a:outerShdw blurRad="38100" dist="19050" dir="2700000" algn="tl" rotWithShape="0">
                  <a:schemeClr val="dk1">
                    <a:alpha val="40000"/>
                  </a:schemeClr>
                </a:outerShdw>
              </a:effectLst>
              <a:latin typeface="Calibri" panose="020F0502020204030204" charset="0"/>
              <a:ea typeface="宋体" panose="02010600030101010101" pitchFamily="2" charset="-122"/>
              <a:sym typeface="Calibri" panose="020F0502020204030204" charset="0"/>
            </a:endParaRPr>
          </a:p>
          <a:p>
            <a:pPr marL="109855" algn="l" defTabSz="914400">
              <a:lnSpc>
                <a:spcPct val="80000"/>
              </a:lnSpc>
            </a:pPr>
            <a:r>
              <a:rPr lang="zh-CN" altLang="en-US" sz="1800" kern="1200" dirty="0">
                <a:solidFill>
                  <a:schemeClr val="tx1"/>
                </a:solidFill>
                <a:effectLst>
                  <a:outerShdw blurRad="38100" dist="19050" dir="2700000" algn="tl" rotWithShape="0">
                    <a:schemeClr val="dk1">
                      <a:alpha val="40000"/>
                    </a:schemeClr>
                  </a:outerShdw>
                </a:effectLst>
                <a:latin typeface="Calibri" panose="020F0502020204030204" charset="0"/>
                <a:ea typeface="宋体" panose="02010600030101010101" pitchFamily="2" charset="-122"/>
                <a:sym typeface="Calibri" panose="020F0502020204030204" charset="0"/>
              </a:rPr>
              <a:t>	</a:t>
            </a:r>
            <a:r>
              <a:rPr lang="en-US" altLang="zh-CN" sz="1800" kern="1200" dirty="0">
                <a:solidFill>
                  <a:schemeClr val="tx1"/>
                </a:solidFill>
                <a:effectLst>
                  <a:outerShdw blurRad="38100" dist="19050" dir="2700000" algn="tl" rotWithShape="0">
                    <a:schemeClr val="dk1">
                      <a:alpha val="40000"/>
                    </a:schemeClr>
                  </a:outerShdw>
                </a:effectLst>
                <a:latin typeface="Calibri" panose="020F0502020204030204" charset="0"/>
                <a:ea typeface="宋体" panose="02010600030101010101" pitchFamily="2" charset="-122"/>
                <a:sym typeface="Calibri" panose="020F0502020204030204" charset="0"/>
              </a:rPr>
              <a:t>&lt;canvas&gt; </a:t>
            </a:r>
            <a:r>
              <a:rPr lang="zh-CN" altLang="en-US" sz="1800" kern="1200" dirty="0">
                <a:solidFill>
                  <a:schemeClr val="tx1"/>
                </a:solidFill>
                <a:effectLst>
                  <a:outerShdw blurRad="38100" dist="19050" dir="2700000" algn="tl" rotWithShape="0">
                    <a:schemeClr val="dk1">
                      <a:alpha val="40000"/>
                    </a:schemeClr>
                  </a:outerShdw>
                </a:effectLst>
                <a:latin typeface="Calibri" panose="020F0502020204030204" charset="0"/>
                <a:ea typeface="宋体" panose="02010600030101010101" pitchFamily="2" charset="-122"/>
                <a:sym typeface="Calibri" panose="020F0502020204030204" charset="0"/>
              </a:rPr>
              <a:t>标记定义图片</a:t>
            </a:r>
            <a:endParaRPr lang="en-US" altLang="zh-CN" sz="1800" kern="1200" dirty="0">
              <a:solidFill>
                <a:schemeClr val="tx1"/>
              </a:solidFill>
              <a:effectLst>
                <a:outerShdw blurRad="38100" dist="19050" dir="2700000" algn="tl" rotWithShape="0">
                  <a:schemeClr val="dk1">
                    <a:alpha val="40000"/>
                  </a:schemeClr>
                </a:outerShdw>
              </a:effectLst>
              <a:latin typeface="Calibri" panose="020F0502020204030204" charset="0"/>
              <a:ea typeface="宋体" panose="02010600030101010101" pitchFamily="2" charset="-122"/>
              <a:sym typeface="Calibri" panose="020F0502020204030204" charset="0"/>
            </a:endParaRPr>
          </a:p>
          <a:p>
            <a:pPr marL="109855" algn="l" defTabSz="914400">
              <a:lnSpc>
                <a:spcPct val="80000"/>
              </a:lnSpc>
            </a:pPr>
            <a:endParaRPr lang="zh-CN" altLang="en-US" sz="1800" kern="1200" dirty="0">
              <a:solidFill>
                <a:schemeClr val="tx1"/>
              </a:solidFill>
              <a:effectLst>
                <a:outerShdw blurRad="38100" dist="19050" dir="2700000" algn="tl" rotWithShape="0">
                  <a:schemeClr val="dk1">
                    <a:alpha val="40000"/>
                  </a:schemeClr>
                </a:outerShdw>
              </a:effectLst>
              <a:latin typeface="Calibri" panose="020F0502020204030204" charset="0"/>
              <a:ea typeface="宋体" panose="02010600030101010101" pitchFamily="2" charset="-122"/>
              <a:sym typeface="Calibri" panose="020F0502020204030204" charset="0"/>
            </a:endParaRPr>
          </a:p>
          <a:p>
            <a:pPr marL="109855" algn="l" defTabSz="914400">
              <a:lnSpc>
                <a:spcPct val="80000"/>
              </a:lnSpc>
            </a:pPr>
            <a:r>
              <a:rPr lang="en-US" altLang="zh-CN" sz="1800" kern="1200" dirty="0">
                <a:solidFill>
                  <a:schemeClr val="tx1"/>
                </a:solidFill>
                <a:effectLst>
                  <a:outerShdw blurRad="38100" dist="19050" dir="2700000" algn="tl" rotWithShape="0">
                    <a:schemeClr val="dk1">
                      <a:alpha val="40000"/>
                    </a:schemeClr>
                  </a:outerShdw>
                </a:effectLst>
                <a:latin typeface="Calibri" panose="020F0502020204030204" charset="0"/>
                <a:ea typeface="宋体" panose="02010600030101010101" pitchFamily="2" charset="-122"/>
                <a:sym typeface="Calibri" panose="020F0502020204030204" charset="0"/>
              </a:rPr>
              <a:t>	&lt;embed&gt; </a:t>
            </a:r>
            <a:r>
              <a:rPr lang="zh-CN" altLang="en-US" sz="1800" kern="1200" dirty="0">
                <a:solidFill>
                  <a:schemeClr val="tx1"/>
                </a:solidFill>
                <a:effectLst>
                  <a:outerShdw blurRad="38100" dist="19050" dir="2700000" algn="tl" rotWithShape="0">
                    <a:schemeClr val="dk1">
                      <a:alpha val="40000"/>
                    </a:schemeClr>
                  </a:outerShdw>
                </a:effectLst>
                <a:latin typeface="Calibri" panose="020F0502020204030204" charset="0"/>
                <a:ea typeface="宋体" panose="02010600030101010101" pitchFamily="2" charset="-122"/>
                <a:sym typeface="Calibri" panose="020F0502020204030204" charset="0"/>
              </a:rPr>
              <a:t>标记定义外部的可交互的内容或插件 比如</a:t>
            </a:r>
            <a:r>
              <a:rPr lang="en-US" altLang="zh-CN" sz="1800" kern="1200" dirty="0">
                <a:solidFill>
                  <a:schemeClr val="tx1"/>
                </a:solidFill>
                <a:effectLst>
                  <a:outerShdw blurRad="38100" dist="19050" dir="2700000" algn="tl" rotWithShape="0">
                    <a:schemeClr val="dk1">
                      <a:alpha val="40000"/>
                    </a:schemeClr>
                  </a:outerShdw>
                </a:effectLst>
                <a:latin typeface="Calibri" panose="020F0502020204030204" charset="0"/>
                <a:ea typeface="宋体" panose="02010600030101010101" pitchFamily="2" charset="-122"/>
                <a:sym typeface="Calibri" panose="020F0502020204030204" charset="0"/>
              </a:rPr>
              <a:t>flash</a:t>
            </a:r>
            <a:endParaRPr lang="zh-CN" altLang="en-US" sz="1800" kern="1200" dirty="0">
              <a:solidFill>
                <a:schemeClr val="tx1"/>
              </a:solidFill>
              <a:effectLst>
                <a:outerShdw blurRad="38100" dist="19050" dir="2700000" algn="tl" rotWithShape="0">
                  <a:schemeClr val="dk1">
                    <a:alpha val="40000"/>
                  </a:schemeClr>
                </a:outerShdw>
              </a:effectLst>
              <a:latin typeface="Calibri" panose="020F0502020204030204" charset="0"/>
              <a:ea typeface="宋体" panose="02010600030101010101" pitchFamily="2" charset="-122"/>
              <a:sym typeface="Calibri" panose="020F0502020204030204" charset="0"/>
            </a:endParaRPr>
          </a:p>
          <a:p>
            <a:pPr marL="109855" algn="l" defTabSz="914400">
              <a:lnSpc>
                <a:spcPct val="80000"/>
              </a:lnSpc>
            </a:pPr>
            <a:endParaRPr lang="zh-CN" altLang="en-US" sz="1800" kern="1200" dirty="0">
              <a:solidFill>
                <a:schemeClr val="tx1"/>
              </a:solidFill>
              <a:effectLst>
                <a:outerShdw blurRad="38100" dist="19050" dir="2700000" algn="tl" rotWithShape="0">
                  <a:schemeClr val="dk1">
                    <a:alpha val="40000"/>
                  </a:schemeClr>
                </a:outerShdw>
              </a:effectLst>
              <a:latin typeface="Calibri" panose="020F0502020204030204" charset="0"/>
              <a:ea typeface="宋体" panose="02010600030101010101" pitchFamily="2" charset="-122"/>
              <a:sym typeface="Calibri" panose="020F0502020204030204" charset="0"/>
            </a:endParaRPr>
          </a:p>
          <a:p>
            <a:pPr marL="109855" algn="l" defTabSz="914400">
              <a:lnSpc>
                <a:spcPct val="80000"/>
              </a:lnSpc>
            </a:pPr>
            <a:endParaRPr lang="zh-CN" altLang="en-US" sz="1800" kern="1200" dirty="0">
              <a:solidFill>
                <a:schemeClr val="tx1"/>
              </a:solidFill>
              <a:effectLst>
                <a:outerShdw blurRad="38100" dist="19050" dir="2700000" algn="tl" rotWithShape="0">
                  <a:schemeClr val="dk1">
                    <a:alpha val="40000"/>
                  </a:schemeClr>
                </a:outerShdw>
              </a:effectLst>
              <a:latin typeface="Calibri" panose="020F0502020204030204" charset="0"/>
              <a:ea typeface="宋体" panose="02010600030101010101" pitchFamily="2" charset="-122"/>
              <a:sym typeface="Calibri" panose="020F0502020204030204" charset="0"/>
            </a:endParaRPr>
          </a:p>
          <a:p>
            <a:pPr marL="109855" algn="l" defTabSz="914400">
              <a:lnSpc>
                <a:spcPct val="80000"/>
              </a:lnSpc>
            </a:pPr>
            <a:r>
              <a:rPr lang="en-US" altLang="zh-CN" sz="1800" kern="1200" dirty="0">
                <a:solidFill>
                  <a:schemeClr val="tx1"/>
                </a:solidFill>
                <a:effectLst>
                  <a:outerShdw blurRad="38100" dist="19050" dir="2700000" algn="tl" rotWithShape="0">
                    <a:schemeClr val="dk1">
                      <a:alpha val="40000"/>
                    </a:schemeClr>
                  </a:outerShdw>
                </a:effectLst>
                <a:latin typeface="Calibri" panose="020F0502020204030204" charset="0"/>
                <a:ea typeface="宋体" panose="02010600030101010101" pitchFamily="2" charset="-122"/>
                <a:sym typeface="Calibri" panose="020F0502020204030204" charset="0"/>
              </a:rPr>
              <a:t>HTML5</a:t>
            </a:r>
            <a:r>
              <a:rPr lang="zh-CN" altLang="en-US" sz="1800" kern="1200" dirty="0">
                <a:solidFill>
                  <a:schemeClr val="tx1"/>
                </a:solidFill>
                <a:effectLst>
                  <a:outerShdw blurRad="38100" dist="19050" dir="2700000" algn="tl" rotWithShape="0">
                    <a:schemeClr val="dk1">
                      <a:alpha val="40000"/>
                    </a:schemeClr>
                  </a:outerShdw>
                </a:effectLst>
                <a:latin typeface="Calibri" panose="020F0502020204030204" charset="0"/>
                <a:ea typeface="宋体" panose="02010600030101010101" pitchFamily="2" charset="-122"/>
                <a:sym typeface="Calibri" panose="020F0502020204030204" charset="0"/>
              </a:rPr>
              <a:t>的多媒体标签的出现意味着富媒体的发展以及支持不使用插件的情况下即可操作媒体文件，极大地提升了用户体验</a:t>
            </a:r>
            <a:endParaRPr lang="zh-CN" altLang="en-US" sz="1800" kern="1200" dirty="0">
              <a:solidFill>
                <a:schemeClr val="tx1"/>
              </a:solidFill>
              <a:effectLst>
                <a:outerShdw blurRad="38100" dist="19050" dir="2700000" algn="tl" rotWithShape="0">
                  <a:schemeClr val="dk1">
                    <a:alpha val="40000"/>
                  </a:schemeClr>
                </a:outerShdw>
              </a:effectLst>
              <a:latin typeface="Calibri" panose="020F0502020204030204" charset="0"/>
              <a:ea typeface="宋体" panose="02010600030101010101" pitchFamily="2" charset="-122"/>
              <a:sym typeface="Calibri" panose="020F0502020204030204" charset="0"/>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0242" name="标题 1"/>
          <p:cNvSpPr>
            <a:spLocks noGrp="1"/>
          </p:cNvSpPr>
          <p:nvPr>
            <p:ph type="title"/>
          </p:nvPr>
        </p:nvSpPr>
        <p:spPr>
          <a:xfrm>
            <a:off x="1981200" y="914400"/>
            <a:ext cx="8229600" cy="1143000"/>
          </a:xfrm>
        </p:spPr>
        <p:txBody>
          <a:bodyPr vert="horz" anchor="ctr">
            <a:normAutofit/>
          </a:bodyPr>
          <a:p>
            <a:r>
              <a:rPr lang="zh-CN" altLang="en-US" sz="4000" kern="1200" dirty="0">
                <a:latin typeface="Calibri Light" panose="020F0302020204030204" charset="0"/>
                <a:ea typeface="宋体" panose="02010600030101010101" pitchFamily="2" charset="-122"/>
                <a:sym typeface="Calibri Light" panose="020F0302020204030204" charset="0"/>
              </a:rPr>
              <a:t>新增的</a:t>
            </a:r>
            <a:r>
              <a:rPr lang="en-US" altLang="zh-CN" sz="4000" kern="1200" dirty="0">
                <a:latin typeface="Calibri Light" panose="020F0302020204030204" charset="0"/>
                <a:ea typeface="宋体" panose="02010600030101010101" pitchFamily="2" charset="-122"/>
                <a:sym typeface="Calibri Light" panose="020F0302020204030204" charset="0"/>
              </a:rPr>
              <a:t>HTML5</a:t>
            </a:r>
            <a:r>
              <a:rPr lang="zh-CN" altLang="en-US" sz="4000" kern="1200" dirty="0">
                <a:latin typeface="Calibri Light" panose="020F0302020204030204" charset="0"/>
                <a:ea typeface="宋体" panose="02010600030101010101" pitchFamily="2" charset="-122"/>
                <a:sym typeface="Calibri Light" panose="020F0302020204030204" charset="0"/>
              </a:rPr>
              <a:t>标签</a:t>
            </a:r>
            <a:r>
              <a:rPr lang="en-US" altLang="zh-CN" sz="4000" kern="1200" dirty="0">
                <a:latin typeface="Calibri Light" panose="020F0302020204030204" charset="0"/>
                <a:ea typeface="宋体" panose="02010600030101010101" pitchFamily="2" charset="-122"/>
                <a:sym typeface="Calibri Light" panose="020F0302020204030204" charset="0"/>
              </a:rPr>
              <a:t>-</a:t>
            </a:r>
            <a:r>
              <a:rPr lang="en-US" altLang="zh-CN" sz="4000" kern="1200" dirty="0">
                <a:solidFill>
                  <a:srgbClr val="FF0000"/>
                </a:solidFill>
                <a:latin typeface="Calibri Light" panose="020F0302020204030204" charset="0"/>
                <a:ea typeface="宋体" panose="02010600030101010101" pitchFamily="2" charset="-122"/>
                <a:sym typeface="Calibri Light" panose="020F0302020204030204" charset="0"/>
              </a:rPr>
              <a:t>Web</a:t>
            </a:r>
            <a:r>
              <a:rPr lang="zh-CN" altLang="en-US" sz="4000" kern="1200" dirty="0">
                <a:solidFill>
                  <a:srgbClr val="FF0000"/>
                </a:solidFill>
                <a:latin typeface="Calibri Light" panose="020F0302020204030204" charset="0"/>
                <a:ea typeface="宋体" panose="02010600030101010101" pitchFamily="2" charset="-122"/>
                <a:sym typeface="Calibri Light" panose="020F0302020204030204" charset="0"/>
              </a:rPr>
              <a:t>应用标签</a:t>
            </a:r>
            <a:endParaRPr lang="zh-CN" altLang="en-US" sz="4000" kern="1200" dirty="0">
              <a:latin typeface="Calibri Light" panose="020F0302020204030204" charset="0"/>
              <a:ea typeface="宋体" panose="02010600030101010101" pitchFamily="2" charset="-122"/>
              <a:sym typeface="Calibri Light" panose="020F0302020204030204" charset="0"/>
            </a:endParaRPr>
          </a:p>
        </p:txBody>
      </p:sp>
      <p:sp>
        <p:nvSpPr>
          <p:cNvPr id="10243" name="内容占位符 2"/>
          <p:cNvSpPr>
            <a:spLocks noGrp="1"/>
          </p:cNvSpPr>
          <p:nvPr>
            <p:ph idx="1"/>
          </p:nvPr>
        </p:nvSpPr>
        <p:spPr>
          <a:xfrm>
            <a:off x="1981200" y="2362200"/>
            <a:ext cx="8229600" cy="3810000"/>
          </a:xfrm>
        </p:spPr>
        <p:txBody>
          <a:bodyPr vert="horz">
            <a:normAutofit/>
          </a:bodyPr>
          <a:p>
            <a:pPr marL="109855" algn="l" defTabSz="914400">
              <a:lnSpc>
                <a:spcPct val="80000"/>
              </a:lnSpc>
            </a:pPr>
            <a:r>
              <a:rPr lang="en-US" altLang="zh-CN" sz="2800" b="1" kern="1200" dirty="0">
                <a:latin typeface="Calibri" panose="020F0502020204030204" charset="0"/>
                <a:ea typeface="宋体" panose="02010600030101010101" pitchFamily="2" charset="-122"/>
                <a:sym typeface="Calibri" panose="020F0502020204030204" charset="0"/>
              </a:rPr>
              <a:t>Web</a:t>
            </a:r>
            <a:r>
              <a:rPr lang="zh-CN" altLang="en-US" sz="2800" b="1" kern="1200" dirty="0">
                <a:latin typeface="Calibri" panose="020F0502020204030204" charset="0"/>
                <a:ea typeface="宋体" panose="02010600030101010101" pitchFamily="2" charset="-122"/>
                <a:sym typeface="Calibri" panose="020F0502020204030204" charset="0"/>
              </a:rPr>
              <a:t>应用标签</a:t>
            </a:r>
            <a:endParaRPr lang="en-US" altLang="zh-CN" sz="2800" b="1" kern="1200" dirty="0">
              <a:latin typeface="Calibri" panose="020F0502020204030204" charset="0"/>
              <a:ea typeface="宋体" panose="02010600030101010101" pitchFamily="2" charset="-122"/>
              <a:sym typeface="Calibri" panose="020F0502020204030204" charset="0"/>
            </a:endParaRPr>
          </a:p>
          <a:p>
            <a:pPr marL="109855" algn="l" defTabSz="914400">
              <a:lnSpc>
                <a:spcPct val="80000"/>
              </a:lnSpc>
            </a:pPr>
            <a:endParaRPr lang="zh-CN" altLang="en-US" sz="2800" kern="1200" dirty="0">
              <a:latin typeface="Calibri" panose="020F0502020204030204" charset="0"/>
              <a:ea typeface="宋体" panose="02010600030101010101" pitchFamily="2" charset="-122"/>
              <a:sym typeface="Calibri" panose="020F0502020204030204" charset="0"/>
            </a:endParaRPr>
          </a:p>
          <a:p>
            <a:pPr marL="109855" lvl="1" algn="l" defTabSz="914400">
              <a:lnSpc>
                <a:spcPct val="80000"/>
              </a:lnSpc>
              <a:buClr>
                <a:srgbClr val="FFFFFF"/>
              </a:buClr>
            </a:pPr>
            <a:r>
              <a:rPr lang="en-US" altLang="zh-CN" sz="1900" kern="1200" dirty="0">
                <a:solidFill>
                  <a:srgbClr val="7F7F7F"/>
                </a:solidFill>
                <a:latin typeface="Calibri" panose="020F0502020204030204" charset="0"/>
                <a:ea typeface="宋体" panose="02010600030101010101" pitchFamily="2" charset="-122"/>
                <a:sym typeface="Calibri" panose="020F0502020204030204" charset="0"/>
              </a:rPr>
              <a:t>&lt;menu&gt;</a:t>
            </a:r>
            <a:r>
              <a:rPr lang="zh-CN" altLang="en-US" sz="1900" kern="1200" dirty="0">
                <a:solidFill>
                  <a:srgbClr val="7F7F7F"/>
                </a:solidFill>
                <a:latin typeface="Calibri" panose="020F0502020204030204" charset="0"/>
                <a:ea typeface="宋体" panose="02010600030101010101" pitchFamily="2" charset="-122"/>
                <a:sym typeface="Calibri" panose="020F0502020204030204" charset="0"/>
              </a:rPr>
              <a:t>命令列表</a:t>
            </a:r>
            <a:endParaRPr lang="en-US" altLang="zh-CN" sz="1900" kern="1200" dirty="0">
              <a:solidFill>
                <a:srgbClr val="7F7F7F"/>
              </a:solidFill>
              <a:latin typeface="Calibri" panose="020F0502020204030204" charset="0"/>
              <a:ea typeface="宋体" panose="02010600030101010101" pitchFamily="2" charset="-122"/>
              <a:sym typeface="Calibri" panose="020F0502020204030204" charset="0"/>
            </a:endParaRPr>
          </a:p>
          <a:p>
            <a:pPr marL="109855" lvl="1" algn="l" defTabSz="914400">
              <a:lnSpc>
                <a:spcPct val="80000"/>
              </a:lnSpc>
              <a:buClr>
                <a:srgbClr val="FFFFFF"/>
              </a:buClr>
            </a:pPr>
            <a:r>
              <a:rPr lang="en-US" altLang="zh-CN" sz="1900" kern="1200" dirty="0">
                <a:solidFill>
                  <a:srgbClr val="7F7F7F"/>
                </a:solidFill>
                <a:latin typeface="Calibri" panose="020F0502020204030204" charset="0"/>
                <a:ea typeface="宋体" panose="02010600030101010101" pitchFamily="2" charset="-122"/>
                <a:sym typeface="Calibri" panose="020F0502020204030204" charset="0"/>
              </a:rPr>
              <a:t>&lt;menuitem&gt;menu</a:t>
            </a:r>
            <a:r>
              <a:rPr lang="zh-CN" altLang="en-US" sz="1900" kern="1200" dirty="0">
                <a:solidFill>
                  <a:srgbClr val="7F7F7F"/>
                </a:solidFill>
                <a:latin typeface="Calibri" panose="020F0502020204030204" charset="0"/>
                <a:ea typeface="宋体" panose="02010600030101010101" pitchFamily="2" charset="-122"/>
                <a:sym typeface="Calibri" panose="020F0502020204030204" charset="0"/>
              </a:rPr>
              <a:t>命令列表标签 </a:t>
            </a:r>
            <a:r>
              <a:rPr lang="en-US" altLang="zh-CN" sz="1900" kern="1200" dirty="0">
                <a:solidFill>
                  <a:srgbClr val="7F7F7F"/>
                </a:solidFill>
                <a:latin typeface="Calibri" panose="020F0502020204030204" charset="0"/>
                <a:ea typeface="宋体" panose="02010600030101010101" pitchFamily="2" charset="-122"/>
                <a:sym typeface="Calibri" panose="020F0502020204030204" charset="0"/>
              </a:rPr>
              <a:t>FF</a:t>
            </a:r>
            <a:r>
              <a:rPr lang="zh-CN" altLang="en-US" sz="1900" kern="1200" dirty="0">
                <a:solidFill>
                  <a:srgbClr val="7F7F7F"/>
                </a:solidFill>
                <a:latin typeface="Calibri" panose="020F0502020204030204" charset="0"/>
                <a:ea typeface="宋体" panose="02010600030101010101" pitchFamily="2" charset="-122"/>
                <a:sym typeface="Calibri" panose="020F0502020204030204" charset="0"/>
              </a:rPr>
              <a:t>（嵌入系统）</a:t>
            </a:r>
            <a:endParaRPr lang="zh-CN" altLang="en-US" sz="1900" kern="1200" dirty="0">
              <a:solidFill>
                <a:srgbClr val="7F7F7F"/>
              </a:solidFill>
              <a:latin typeface="Calibri" panose="020F0502020204030204" charset="0"/>
              <a:ea typeface="宋体" panose="02010600030101010101" pitchFamily="2" charset="-122"/>
              <a:sym typeface="Calibri" panose="020F0502020204030204" charset="0"/>
            </a:endParaRPr>
          </a:p>
          <a:p>
            <a:pPr marL="109855" lvl="1" algn="l" defTabSz="914400">
              <a:lnSpc>
                <a:spcPct val="80000"/>
              </a:lnSpc>
              <a:buClr>
                <a:srgbClr val="FFFFFF"/>
              </a:buClr>
            </a:pPr>
            <a:r>
              <a:rPr lang="en-US" altLang="zh-CN" sz="1900" kern="1200" dirty="0">
                <a:solidFill>
                  <a:srgbClr val="7F7F7F"/>
                </a:solidFill>
                <a:latin typeface="Calibri" panose="020F0502020204030204" charset="0"/>
                <a:ea typeface="宋体" panose="02010600030101010101" pitchFamily="2" charset="-122"/>
                <a:sym typeface="Calibri" panose="020F0502020204030204" charset="0"/>
              </a:rPr>
              <a:t>&lt;command&gt; menu</a:t>
            </a:r>
            <a:r>
              <a:rPr lang="zh-CN" altLang="en-US" sz="1900" kern="1200" dirty="0">
                <a:solidFill>
                  <a:srgbClr val="7F7F7F"/>
                </a:solidFill>
                <a:latin typeface="Calibri" panose="020F0502020204030204" charset="0"/>
                <a:ea typeface="宋体" panose="02010600030101010101" pitchFamily="2" charset="-122"/>
                <a:sym typeface="Calibri" panose="020F0502020204030204" charset="0"/>
              </a:rPr>
              <a:t>标记定义一个命令按钮</a:t>
            </a:r>
            <a:endParaRPr lang="en-US" altLang="zh-CN" sz="1900" kern="1200" dirty="0">
              <a:solidFill>
                <a:srgbClr val="7F7F7F"/>
              </a:solidFill>
              <a:latin typeface="Calibri" panose="020F0502020204030204" charset="0"/>
              <a:ea typeface="宋体" panose="02010600030101010101" pitchFamily="2" charset="-122"/>
              <a:sym typeface="Calibri" panose="020F0502020204030204" charset="0"/>
            </a:endParaRPr>
          </a:p>
          <a:p>
            <a:pPr marL="109855" lvl="1" algn="l" defTabSz="914400">
              <a:lnSpc>
                <a:spcPct val="80000"/>
              </a:lnSpc>
              <a:buClr>
                <a:srgbClr val="FFFFFF"/>
              </a:buClr>
            </a:pPr>
            <a:endParaRPr lang="zh-CN" altLang="en-US" sz="1900" kern="1200" dirty="0">
              <a:solidFill>
                <a:srgbClr val="7F7F7F"/>
              </a:solidFill>
              <a:latin typeface="Calibri" panose="020F0502020204030204" charset="0"/>
              <a:ea typeface="宋体" panose="02010600030101010101" pitchFamily="2" charset="-122"/>
              <a:sym typeface="Calibri" panose="020F0502020204030204" charset="0"/>
            </a:endParaRPr>
          </a:p>
          <a:p>
            <a:pPr marL="109855" lvl="1" algn="l" defTabSz="914400">
              <a:lnSpc>
                <a:spcPct val="80000"/>
              </a:lnSpc>
              <a:buClr>
                <a:srgbClr val="FFFFFF"/>
              </a:buClr>
            </a:pPr>
            <a:r>
              <a:rPr lang="en-US" altLang="zh-CN" sz="1900" kern="1200" dirty="0">
                <a:latin typeface="Calibri" panose="020F0502020204030204" charset="0"/>
                <a:ea typeface="宋体" panose="02010600030101010101" pitchFamily="2" charset="-122"/>
                <a:sym typeface="Calibri" panose="020F0502020204030204" charset="0"/>
              </a:rPr>
              <a:t>&lt;meter&gt;</a:t>
            </a:r>
            <a:r>
              <a:rPr lang="zh-CN" altLang="en-US" sz="1900" kern="1200" dirty="0">
                <a:latin typeface="Calibri" panose="020F0502020204030204" charset="0"/>
                <a:ea typeface="宋体" panose="02010600030101010101" pitchFamily="2" charset="-122"/>
                <a:sym typeface="Calibri" panose="020F0502020204030204" charset="0"/>
              </a:rPr>
              <a:t>状态标签</a:t>
            </a:r>
            <a:r>
              <a:rPr lang="en-US" altLang="zh-CN" sz="1900" kern="1200" dirty="0">
                <a:latin typeface="Calibri" panose="020F0502020204030204" charset="0"/>
                <a:ea typeface="宋体" panose="02010600030101010101" pitchFamily="2" charset="-122"/>
                <a:sym typeface="Calibri" panose="020F0502020204030204" charset="0"/>
              </a:rPr>
              <a:t>(</a:t>
            </a:r>
            <a:r>
              <a:rPr lang="zh-CN" altLang="en-US" sz="1900" kern="1200" dirty="0">
                <a:latin typeface="Calibri" panose="020F0502020204030204" charset="0"/>
                <a:ea typeface="宋体" panose="02010600030101010101" pitchFamily="2" charset="-122"/>
                <a:sym typeface="Calibri" panose="020F0502020204030204" charset="0"/>
              </a:rPr>
              <a:t>实时状态显示</a:t>
            </a:r>
            <a:r>
              <a:rPr lang="en-US" altLang="zh-CN" sz="1900" kern="1200" dirty="0">
                <a:latin typeface="Calibri" panose="020F0502020204030204" charset="0"/>
                <a:ea typeface="宋体" panose="02010600030101010101" pitchFamily="2" charset="-122"/>
                <a:sym typeface="Calibri" panose="020F0502020204030204" charset="0"/>
              </a:rPr>
              <a:t>:</a:t>
            </a:r>
            <a:r>
              <a:rPr lang="zh-CN" altLang="en-US" sz="1900" kern="1200" dirty="0">
                <a:latin typeface="Calibri" panose="020F0502020204030204" charset="0"/>
                <a:ea typeface="宋体" panose="02010600030101010101" pitchFamily="2" charset="-122"/>
                <a:sym typeface="Calibri" panose="020F0502020204030204" charset="0"/>
              </a:rPr>
              <a:t>气压、气温</a:t>
            </a:r>
            <a:r>
              <a:rPr lang="en-US" altLang="zh-CN" sz="1900" kern="1200" dirty="0">
                <a:latin typeface="Calibri" panose="020F0502020204030204" charset="0"/>
                <a:ea typeface="宋体" panose="02010600030101010101" pitchFamily="2" charset="-122"/>
                <a:sym typeface="Calibri" panose="020F0502020204030204" charset="0"/>
              </a:rPr>
              <a:t>)C</a:t>
            </a:r>
            <a:r>
              <a:rPr lang="zh-CN" altLang="en-US" sz="1900" kern="1200" dirty="0">
                <a:latin typeface="Calibri" panose="020F0502020204030204" charset="0"/>
                <a:ea typeface="宋体" panose="02010600030101010101" pitchFamily="2" charset="-122"/>
                <a:sym typeface="Calibri" panose="020F0502020204030204" charset="0"/>
              </a:rPr>
              <a:t>、</a:t>
            </a:r>
            <a:r>
              <a:rPr lang="en-US" altLang="zh-CN" sz="1900" kern="1200" dirty="0">
                <a:latin typeface="Calibri" panose="020F0502020204030204" charset="0"/>
                <a:ea typeface="宋体" panose="02010600030101010101" pitchFamily="2" charset="-122"/>
                <a:sym typeface="Calibri" panose="020F0502020204030204" charset="0"/>
              </a:rPr>
              <a:t>O</a:t>
            </a:r>
            <a:endParaRPr lang="zh-CN" altLang="en-US" sz="1900" kern="1200" dirty="0">
              <a:latin typeface="Calibri" panose="020F0502020204030204" charset="0"/>
              <a:ea typeface="宋体" panose="02010600030101010101" pitchFamily="2" charset="-122"/>
              <a:sym typeface="Calibri" panose="020F0502020204030204" charset="0"/>
            </a:endParaRPr>
          </a:p>
          <a:p>
            <a:pPr marL="109855" lvl="1" algn="l" defTabSz="914400">
              <a:lnSpc>
                <a:spcPct val="80000"/>
              </a:lnSpc>
              <a:buClr>
                <a:srgbClr val="FFFFFF"/>
              </a:buClr>
            </a:pPr>
            <a:r>
              <a:rPr lang="en-US" altLang="zh-CN" sz="1900" kern="1200" dirty="0">
                <a:latin typeface="Calibri" panose="020F0502020204030204" charset="0"/>
                <a:ea typeface="宋体" panose="02010600030101010101" pitchFamily="2" charset="-122"/>
                <a:sym typeface="Calibri" panose="020F0502020204030204" charset="0"/>
              </a:rPr>
              <a:t>&lt;progress&gt;</a:t>
            </a:r>
            <a:r>
              <a:rPr lang="zh-CN" altLang="en-US" sz="1900" kern="1200" dirty="0">
                <a:latin typeface="Calibri" panose="020F0502020204030204" charset="0"/>
                <a:ea typeface="宋体" panose="02010600030101010101" pitchFamily="2" charset="-122"/>
                <a:sym typeface="Calibri" panose="020F0502020204030204" charset="0"/>
              </a:rPr>
              <a:t>状态标签 </a:t>
            </a:r>
            <a:r>
              <a:rPr lang="en-US" altLang="zh-CN" sz="1900" kern="1200" dirty="0">
                <a:latin typeface="Calibri" panose="020F0502020204030204" charset="0"/>
                <a:ea typeface="宋体" panose="02010600030101010101" pitchFamily="2" charset="-122"/>
                <a:sym typeface="Calibri" panose="020F0502020204030204" charset="0"/>
              </a:rPr>
              <a:t>(</a:t>
            </a:r>
            <a:r>
              <a:rPr lang="zh-CN" altLang="en-US" sz="1900" kern="1200" dirty="0">
                <a:latin typeface="Calibri" panose="020F0502020204030204" charset="0"/>
                <a:ea typeface="宋体" panose="02010600030101010101" pitchFamily="2" charset="-122"/>
                <a:sym typeface="Calibri" panose="020F0502020204030204" charset="0"/>
              </a:rPr>
              <a:t>任务过程</a:t>
            </a:r>
            <a:r>
              <a:rPr lang="en-US" altLang="zh-CN" sz="1900" kern="1200" dirty="0">
                <a:latin typeface="Calibri" panose="020F0502020204030204" charset="0"/>
                <a:ea typeface="宋体" panose="02010600030101010101" pitchFamily="2" charset="-122"/>
                <a:sym typeface="Calibri" panose="020F0502020204030204" charset="0"/>
              </a:rPr>
              <a:t>:</a:t>
            </a:r>
            <a:r>
              <a:rPr lang="zh-CN" altLang="en-US" sz="1900" kern="1200" dirty="0">
                <a:latin typeface="Calibri" panose="020F0502020204030204" charset="0"/>
                <a:ea typeface="宋体" panose="02010600030101010101" pitchFamily="2" charset="-122"/>
                <a:sym typeface="Calibri" panose="020F0502020204030204" charset="0"/>
              </a:rPr>
              <a:t>安装、加载</a:t>
            </a:r>
            <a:r>
              <a:rPr lang="en-US" altLang="zh-CN" sz="1900" kern="1200" dirty="0">
                <a:latin typeface="Calibri" panose="020F0502020204030204" charset="0"/>
                <a:ea typeface="宋体" panose="02010600030101010101" pitchFamily="2" charset="-122"/>
                <a:sym typeface="Calibri" panose="020F0502020204030204" charset="0"/>
              </a:rPr>
              <a:t>) C</a:t>
            </a:r>
            <a:r>
              <a:rPr lang="zh-CN" altLang="en-US" sz="1900" kern="1200" dirty="0">
                <a:latin typeface="Calibri" panose="020F0502020204030204" charset="0"/>
                <a:ea typeface="宋体" panose="02010600030101010101" pitchFamily="2" charset="-122"/>
                <a:sym typeface="Calibri" panose="020F0502020204030204" charset="0"/>
              </a:rPr>
              <a:t>、</a:t>
            </a:r>
            <a:r>
              <a:rPr lang="en-US" altLang="zh-CN" sz="1900" kern="1200" dirty="0">
                <a:latin typeface="Calibri" panose="020F0502020204030204" charset="0"/>
                <a:ea typeface="宋体" panose="02010600030101010101" pitchFamily="2" charset="-122"/>
                <a:sym typeface="Calibri" panose="020F0502020204030204" charset="0"/>
              </a:rPr>
              <a:t>F</a:t>
            </a:r>
            <a:r>
              <a:rPr lang="zh-CN" altLang="en-US" sz="1900" kern="1200" dirty="0">
                <a:latin typeface="Calibri" panose="020F0502020204030204" charset="0"/>
                <a:ea typeface="宋体" panose="02010600030101010101" pitchFamily="2" charset="-122"/>
                <a:sym typeface="Calibri" panose="020F0502020204030204" charset="0"/>
              </a:rPr>
              <a:t>、</a:t>
            </a:r>
            <a:r>
              <a:rPr lang="en-US" altLang="zh-CN" sz="1900" kern="1200" dirty="0">
                <a:latin typeface="Calibri" panose="020F0502020204030204" charset="0"/>
                <a:ea typeface="宋体" panose="02010600030101010101" pitchFamily="2" charset="-122"/>
                <a:sym typeface="Calibri" panose="020F0502020204030204" charset="0"/>
              </a:rPr>
              <a:t>O</a:t>
            </a:r>
            <a:endParaRPr lang="zh-CN" altLang="en-US" sz="1900" kern="1200" dirty="0">
              <a:latin typeface="Calibri" panose="020F0502020204030204" charset="0"/>
              <a:ea typeface="宋体" panose="02010600030101010101" pitchFamily="2" charset="-122"/>
              <a:sym typeface="Calibri" panose="020F0502020204030204" charset="0"/>
            </a:endParaRPr>
          </a:p>
          <a:p>
            <a:pPr marL="109855" lvl="1" algn="l" defTabSz="914400">
              <a:lnSpc>
                <a:spcPct val="80000"/>
              </a:lnSpc>
              <a:buClr>
                <a:srgbClr val="FFFFFF"/>
              </a:buClr>
            </a:pPr>
            <a:endParaRPr lang="zh-CN" altLang="en-US" sz="1900" kern="1200" dirty="0">
              <a:latin typeface="Calibri" panose="020F0502020204030204" charset="0"/>
              <a:ea typeface="宋体" panose="02010600030101010101" pitchFamily="2" charset="-122"/>
              <a:sym typeface="Calibri" panose="020F0502020204030204" charset="0"/>
            </a:endParaRPr>
          </a:p>
          <a:p>
            <a:pPr marL="109855" lvl="1" algn="l" defTabSz="914400">
              <a:lnSpc>
                <a:spcPct val="80000"/>
              </a:lnSpc>
              <a:buClr>
                <a:srgbClr val="FFFFFF"/>
              </a:buClr>
            </a:pPr>
            <a:r>
              <a:rPr lang="en-US" altLang="zh-CN" sz="1900" kern="1200" dirty="0">
                <a:solidFill>
                  <a:srgbClr val="7F7F7F"/>
                </a:solidFill>
                <a:latin typeface="Calibri" panose="020F0502020204030204" charset="0"/>
                <a:ea typeface="宋体" panose="02010600030101010101" pitchFamily="2" charset="-122"/>
                <a:sym typeface="Calibri" panose="020F0502020204030204" charset="0"/>
              </a:rPr>
              <a:t>&lt;datalist&gt; </a:t>
            </a:r>
            <a:r>
              <a:rPr lang="zh-CN" altLang="en-US" sz="1900" kern="1200" dirty="0">
                <a:solidFill>
                  <a:srgbClr val="7F7F7F"/>
                </a:solidFill>
                <a:latin typeface="Calibri" panose="020F0502020204030204" charset="0"/>
                <a:ea typeface="宋体" panose="02010600030101010101" pitchFamily="2" charset="-122"/>
                <a:sym typeface="Calibri" panose="020F0502020204030204" charset="0"/>
              </a:rPr>
              <a:t>为</a:t>
            </a:r>
            <a:r>
              <a:rPr lang="en-US" altLang="zh-CN" sz="1900" kern="1200" dirty="0">
                <a:solidFill>
                  <a:srgbClr val="7F7F7F"/>
                </a:solidFill>
                <a:latin typeface="Calibri" panose="020F0502020204030204" charset="0"/>
                <a:ea typeface="宋体" panose="02010600030101010101" pitchFamily="2" charset="-122"/>
                <a:sym typeface="Calibri" panose="020F0502020204030204" charset="0"/>
              </a:rPr>
              <a:t>input</a:t>
            </a:r>
            <a:r>
              <a:rPr lang="zh-CN" altLang="en-US" sz="1900" kern="1200" dirty="0">
                <a:solidFill>
                  <a:srgbClr val="7F7F7F"/>
                </a:solidFill>
                <a:latin typeface="Calibri" panose="020F0502020204030204" charset="0"/>
                <a:ea typeface="宋体" panose="02010600030101010101" pitchFamily="2" charset="-122"/>
                <a:sym typeface="Calibri" panose="020F0502020204030204" charset="0"/>
              </a:rPr>
              <a:t>标记定义一个下拉列表</a:t>
            </a:r>
            <a:r>
              <a:rPr lang="en-US" altLang="zh-CN" sz="1900" kern="1200" dirty="0">
                <a:solidFill>
                  <a:srgbClr val="7F7F7F"/>
                </a:solidFill>
                <a:latin typeface="Calibri" panose="020F0502020204030204" charset="0"/>
                <a:ea typeface="宋体" panose="02010600030101010101" pitchFamily="2" charset="-122"/>
                <a:sym typeface="Calibri" panose="020F0502020204030204" charset="0"/>
              </a:rPr>
              <a:t>,</a:t>
            </a:r>
            <a:r>
              <a:rPr lang="zh-CN" altLang="en-US" sz="1900" kern="1200" dirty="0">
                <a:solidFill>
                  <a:srgbClr val="7F7F7F"/>
                </a:solidFill>
                <a:latin typeface="Calibri" panose="020F0502020204030204" charset="0"/>
                <a:ea typeface="宋体" panose="02010600030101010101" pitchFamily="2" charset="-122"/>
                <a:sym typeface="Calibri" panose="020F0502020204030204" charset="0"/>
              </a:rPr>
              <a:t>配合</a:t>
            </a:r>
            <a:r>
              <a:rPr lang="en-US" altLang="zh-CN" sz="1900" kern="1200" dirty="0">
                <a:solidFill>
                  <a:srgbClr val="7F7F7F"/>
                </a:solidFill>
                <a:latin typeface="Calibri" panose="020F0502020204030204" charset="0"/>
                <a:ea typeface="宋体" panose="02010600030101010101" pitchFamily="2" charset="-122"/>
                <a:sym typeface="Calibri" panose="020F0502020204030204" charset="0"/>
              </a:rPr>
              <a:t>option</a:t>
            </a:r>
            <a:r>
              <a:rPr lang="zh-CN" altLang="en-US" sz="1900" kern="1200" dirty="0">
                <a:solidFill>
                  <a:srgbClr val="7F7F7F"/>
                </a:solidFill>
                <a:latin typeface="Calibri" panose="020F0502020204030204" charset="0"/>
                <a:ea typeface="宋体" panose="02010600030101010101" pitchFamily="2" charset="-122"/>
                <a:sym typeface="Calibri" panose="020F0502020204030204" charset="0"/>
              </a:rPr>
              <a:t> </a:t>
            </a:r>
            <a:r>
              <a:rPr lang="en-US" altLang="zh-CN" sz="1900" kern="1200" dirty="0">
                <a:solidFill>
                  <a:srgbClr val="7F7F7F"/>
                </a:solidFill>
                <a:latin typeface="Calibri" panose="020F0502020204030204" charset="0"/>
                <a:ea typeface="宋体" panose="02010600030101010101" pitchFamily="2" charset="-122"/>
                <a:sym typeface="Calibri" panose="020F0502020204030204" charset="0"/>
              </a:rPr>
              <a:t>F</a:t>
            </a:r>
            <a:r>
              <a:rPr lang="zh-CN" altLang="en-US" sz="1900" kern="1200" dirty="0">
                <a:solidFill>
                  <a:srgbClr val="7F7F7F"/>
                </a:solidFill>
                <a:latin typeface="Calibri" panose="020F0502020204030204" charset="0"/>
                <a:ea typeface="宋体" panose="02010600030101010101" pitchFamily="2" charset="-122"/>
                <a:sym typeface="Calibri" panose="020F0502020204030204" charset="0"/>
              </a:rPr>
              <a:t>、</a:t>
            </a:r>
            <a:r>
              <a:rPr lang="en-US" altLang="zh-CN" sz="1900" kern="1200" dirty="0">
                <a:solidFill>
                  <a:srgbClr val="7F7F7F"/>
                </a:solidFill>
                <a:latin typeface="Calibri" panose="020F0502020204030204" charset="0"/>
                <a:ea typeface="宋体" panose="02010600030101010101" pitchFamily="2" charset="-122"/>
                <a:sym typeface="Calibri" panose="020F0502020204030204" charset="0"/>
              </a:rPr>
              <a:t>O</a:t>
            </a:r>
            <a:endParaRPr lang="zh-CN" altLang="en-US" sz="1900" kern="1200" dirty="0">
              <a:solidFill>
                <a:srgbClr val="7F7F7F"/>
              </a:solidFill>
              <a:latin typeface="Calibri" panose="020F0502020204030204" charset="0"/>
              <a:ea typeface="宋体" panose="02010600030101010101" pitchFamily="2" charset="-122"/>
              <a:sym typeface="Calibri" panose="020F0502020204030204" charset="0"/>
            </a:endParaRPr>
          </a:p>
          <a:p>
            <a:pPr marL="109855" lvl="1" algn="l" defTabSz="914400">
              <a:lnSpc>
                <a:spcPct val="80000"/>
              </a:lnSpc>
              <a:buClr>
                <a:srgbClr val="FFFFFF"/>
              </a:buClr>
            </a:pPr>
            <a:r>
              <a:rPr lang="en-US" altLang="zh-CN" sz="1900" kern="1200" dirty="0">
                <a:solidFill>
                  <a:srgbClr val="7F7F7F"/>
                </a:solidFill>
                <a:latin typeface="Calibri" panose="020F0502020204030204" charset="0"/>
                <a:ea typeface="宋体" panose="02010600030101010101" pitchFamily="2" charset="-122"/>
                <a:sym typeface="Calibri" panose="020F0502020204030204" charset="0"/>
              </a:rPr>
              <a:t>&lt;details&gt; </a:t>
            </a:r>
            <a:r>
              <a:rPr lang="zh-CN" altLang="en-US" sz="1900" kern="1200" dirty="0">
                <a:solidFill>
                  <a:srgbClr val="7F7F7F"/>
                </a:solidFill>
                <a:latin typeface="Calibri" panose="020F0502020204030204" charset="0"/>
                <a:ea typeface="宋体" panose="02010600030101010101" pitchFamily="2" charset="-122"/>
                <a:sym typeface="Calibri" panose="020F0502020204030204" charset="0"/>
              </a:rPr>
              <a:t>标记定义一个元素的详细内容 ，配合</a:t>
            </a:r>
            <a:r>
              <a:rPr lang="en-US" altLang="zh-CN" sz="1900" kern="1200" dirty="0">
                <a:solidFill>
                  <a:srgbClr val="7F7F7F"/>
                </a:solidFill>
                <a:latin typeface="Calibri" panose="020F0502020204030204" charset="0"/>
                <a:ea typeface="宋体" panose="02010600030101010101" pitchFamily="2" charset="-122"/>
                <a:sym typeface="Calibri" panose="020F0502020204030204" charset="0"/>
              </a:rPr>
              <a:t>dt</a:t>
            </a:r>
            <a:r>
              <a:rPr lang="zh-CN" altLang="en-US" sz="1900" kern="1200" dirty="0">
                <a:solidFill>
                  <a:srgbClr val="7F7F7F"/>
                </a:solidFill>
                <a:latin typeface="Calibri" panose="020F0502020204030204" charset="0"/>
                <a:ea typeface="宋体" panose="02010600030101010101" pitchFamily="2" charset="-122"/>
                <a:sym typeface="Calibri" panose="020F0502020204030204" charset="0"/>
              </a:rPr>
              <a:t>、</a:t>
            </a:r>
            <a:r>
              <a:rPr lang="en-US" altLang="zh-CN" sz="1900" kern="1200" dirty="0">
                <a:solidFill>
                  <a:srgbClr val="7F7F7F"/>
                </a:solidFill>
                <a:latin typeface="Calibri" panose="020F0502020204030204" charset="0"/>
                <a:ea typeface="宋体" panose="02010600030101010101" pitchFamily="2" charset="-122"/>
                <a:sym typeface="Calibri" panose="020F0502020204030204" charset="0"/>
              </a:rPr>
              <a:t>dd   C</a:t>
            </a:r>
            <a:endParaRPr lang="zh-CN" altLang="en-US" sz="1900" kern="1200" dirty="0">
              <a:solidFill>
                <a:srgbClr val="7F7F7F"/>
              </a:solidFill>
              <a:latin typeface="Calibri" panose="020F0502020204030204" charset="0"/>
              <a:ea typeface="宋体" panose="02010600030101010101" pitchFamily="2" charset="-122"/>
              <a:sym typeface="Calibri" panose="020F0502020204030204" charset="0"/>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1266" name="标题 1"/>
          <p:cNvSpPr>
            <a:spLocks noGrp="1"/>
          </p:cNvSpPr>
          <p:nvPr>
            <p:ph type="title"/>
          </p:nvPr>
        </p:nvSpPr>
        <p:spPr>
          <a:xfrm>
            <a:off x="1981200" y="914400"/>
            <a:ext cx="8229600" cy="1143000"/>
          </a:xfrm>
        </p:spPr>
        <p:txBody>
          <a:bodyPr vert="horz" anchor="ctr">
            <a:normAutofit/>
          </a:bodyPr>
          <a:p>
            <a:r>
              <a:rPr lang="zh-CN" altLang="en-US" sz="4400" kern="1200" dirty="0">
                <a:latin typeface="Calibri Light" panose="020F0302020204030204" charset="0"/>
                <a:ea typeface="宋体" panose="02010600030101010101" pitchFamily="2" charset="-122"/>
                <a:sym typeface="Calibri Light" panose="020F0302020204030204" charset="0"/>
              </a:rPr>
              <a:t>新增的</a:t>
            </a:r>
            <a:r>
              <a:rPr lang="en-US" altLang="zh-CN" sz="4400" kern="1200" dirty="0">
                <a:latin typeface="Calibri Light" panose="020F0302020204030204" charset="0"/>
                <a:ea typeface="宋体" panose="02010600030101010101" pitchFamily="2" charset="-122"/>
                <a:sym typeface="Calibri Light" panose="020F0302020204030204" charset="0"/>
              </a:rPr>
              <a:t>HTML5</a:t>
            </a:r>
            <a:r>
              <a:rPr lang="zh-CN" altLang="en-US" sz="4400" kern="1200" dirty="0">
                <a:latin typeface="Calibri Light" panose="020F0302020204030204" charset="0"/>
                <a:ea typeface="宋体" panose="02010600030101010101" pitchFamily="2" charset="-122"/>
                <a:sym typeface="Calibri Light" panose="020F0302020204030204" charset="0"/>
              </a:rPr>
              <a:t>标签</a:t>
            </a:r>
            <a:r>
              <a:rPr lang="en-US" altLang="zh-CN" sz="4400" kern="1200" dirty="0">
                <a:latin typeface="Calibri Light" panose="020F0302020204030204" charset="0"/>
                <a:ea typeface="宋体" panose="02010600030101010101" pitchFamily="2" charset="-122"/>
                <a:sym typeface="Calibri Light" panose="020F0302020204030204" charset="0"/>
              </a:rPr>
              <a:t>-</a:t>
            </a:r>
            <a:r>
              <a:rPr lang="zh-CN" altLang="en-US" sz="4400" kern="1200" dirty="0">
                <a:solidFill>
                  <a:srgbClr val="FF0000"/>
                </a:solidFill>
                <a:latin typeface="Calibri Light" panose="020F0302020204030204" charset="0"/>
                <a:ea typeface="宋体" panose="02010600030101010101" pitchFamily="2" charset="-122"/>
                <a:sym typeface="Calibri Light" panose="020F0302020204030204" charset="0"/>
              </a:rPr>
              <a:t>其他标签</a:t>
            </a:r>
            <a:endParaRPr lang="zh-CN" altLang="en-US" sz="4400" kern="1200" dirty="0">
              <a:solidFill>
                <a:srgbClr val="FF0000"/>
              </a:solidFill>
              <a:latin typeface="Calibri Light" panose="020F0302020204030204" charset="0"/>
              <a:ea typeface="宋体" panose="02010600030101010101" pitchFamily="2" charset="-122"/>
              <a:sym typeface="Calibri Light" panose="020F0302020204030204" charset="0"/>
            </a:endParaRPr>
          </a:p>
        </p:txBody>
      </p:sp>
      <p:sp>
        <p:nvSpPr>
          <p:cNvPr id="11267" name="内容占位符 2"/>
          <p:cNvSpPr>
            <a:spLocks noGrp="1"/>
          </p:cNvSpPr>
          <p:nvPr>
            <p:ph idx="1"/>
          </p:nvPr>
        </p:nvSpPr>
        <p:spPr>
          <a:xfrm>
            <a:off x="1981200" y="2362200"/>
            <a:ext cx="8229600" cy="3810000"/>
          </a:xfrm>
        </p:spPr>
        <p:txBody>
          <a:bodyPr vert="horz">
            <a:normAutofit lnSpcReduction="20000"/>
          </a:bodyPr>
          <a:p>
            <a:pPr marL="109855" algn="l" defTabSz="914400"/>
            <a:r>
              <a:rPr lang="zh-CN" altLang="en-US" sz="2400" b="1" kern="1200" dirty="0">
                <a:latin typeface="Calibri" panose="020F0502020204030204" charset="0"/>
                <a:ea typeface="宋体" panose="02010600030101010101" pitchFamily="2" charset="-122"/>
                <a:sym typeface="Calibri" panose="020F0502020204030204" charset="0"/>
              </a:rPr>
              <a:t>注释标签</a:t>
            </a:r>
            <a:endParaRPr lang="en-US" altLang="zh-CN" sz="2400" b="1" kern="1200" dirty="0">
              <a:latin typeface="Calibri" panose="020F0502020204030204" charset="0"/>
              <a:ea typeface="宋体" panose="02010600030101010101" pitchFamily="2" charset="-122"/>
              <a:sym typeface="Calibri" panose="020F0502020204030204" charset="0"/>
            </a:endParaRPr>
          </a:p>
          <a:p>
            <a:pPr marL="109855" algn="l" defTabSz="914400"/>
            <a:r>
              <a:rPr lang="en-US" altLang="zh-CN" sz="2400" kern="1200" dirty="0">
                <a:latin typeface="Calibri" panose="020F0502020204030204" charset="0"/>
                <a:ea typeface="宋体" panose="02010600030101010101" pitchFamily="2" charset="-122"/>
                <a:sym typeface="Calibri" panose="020F0502020204030204" charset="0"/>
              </a:rPr>
              <a:t>&lt;ruby&gt; </a:t>
            </a:r>
            <a:r>
              <a:rPr lang="zh-CN" altLang="en-US" sz="2400" kern="1200" dirty="0">
                <a:latin typeface="Calibri" panose="020F0502020204030204" charset="0"/>
                <a:ea typeface="宋体" panose="02010600030101010101" pitchFamily="2" charset="-122"/>
                <a:sym typeface="Calibri" panose="020F0502020204030204" charset="0"/>
              </a:rPr>
              <a:t>标记定义 注释或音标</a:t>
            </a:r>
            <a:endParaRPr lang="en-US" altLang="zh-CN" sz="2400" kern="1200" dirty="0">
              <a:latin typeface="Calibri" panose="020F0502020204030204" charset="0"/>
              <a:ea typeface="宋体" panose="02010600030101010101" pitchFamily="2" charset="-122"/>
              <a:sym typeface="Calibri" panose="020F0502020204030204" charset="0"/>
            </a:endParaRPr>
          </a:p>
          <a:p>
            <a:pPr marL="109855" algn="l" defTabSz="914400"/>
            <a:r>
              <a:rPr lang="en-US" altLang="zh-CN" sz="2400" kern="1200" dirty="0">
                <a:latin typeface="Calibri" panose="020F0502020204030204" charset="0"/>
                <a:ea typeface="宋体" panose="02010600030101010101" pitchFamily="2" charset="-122"/>
                <a:sym typeface="Calibri" panose="020F0502020204030204" charset="0"/>
              </a:rPr>
              <a:t>&lt;rp&gt; </a:t>
            </a:r>
            <a:r>
              <a:rPr lang="zh-CN" altLang="en-US" sz="2400" kern="1200" dirty="0">
                <a:latin typeface="Calibri" panose="020F0502020204030204" charset="0"/>
                <a:ea typeface="宋体" panose="02010600030101010101" pitchFamily="2" charset="-122"/>
                <a:sym typeface="Calibri" panose="020F0502020204030204" charset="0"/>
              </a:rPr>
              <a:t>告诉那些不支持 </a:t>
            </a:r>
            <a:r>
              <a:rPr lang="en-US" altLang="zh-CN" sz="2400" kern="1200" dirty="0">
                <a:latin typeface="Calibri" panose="020F0502020204030204" charset="0"/>
                <a:ea typeface="宋体" panose="02010600030101010101" pitchFamily="2" charset="-122"/>
                <a:sym typeface="Calibri" panose="020F0502020204030204" charset="0"/>
              </a:rPr>
              <a:t>Ruby</a:t>
            </a:r>
            <a:r>
              <a:rPr lang="zh-CN" altLang="en-US" sz="2400" kern="1200" dirty="0">
                <a:latin typeface="Calibri" panose="020F0502020204030204" charset="0"/>
                <a:ea typeface="宋体" panose="02010600030101010101" pitchFamily="2" charset="-122"/>
                <a:sym typeface="Calibri" panose="020F0502020204030204" charset="0"/>
              </a:rPr>
              <a:t>元素的浏览器如何去显示</a:t>
            </a:r>
            <a:endParaRPr lang="zh-CN" altLang="en-US" sz="2400" kern="1200" dirty="0">
              <a:latin typeface="Calibri" panose="020F0502020204030204" charset="0"/>
              <a:ea typeface="宋体" panose="02010600030101010101" pitchFamily="2" charset="-122"/>
              <a:sym typeface="Calibri" panose="020F0502020204030204" charset="0"/>
            </a:endParaRPr>
          </a:p>
          <a:p>
            <a:pPr marL="109855" algn="l" defTabSz="914400"/>
            <a:r>
              <a:rPr lang="zh-CN" altLang="en-US" sz="2400" kern="1200" dirty="0">
                <a:latin typeface="Calibri" panose="020F0502020204030204" charset="0"/>
                <a:ea typeface="宋体" panose="02010600030101010101" pitchFamily="2" charset="-122"/>
                <a:sym typeface="Calibri" panose="020F0502020204030204" charset="0"/>
              </a:rPr>
              <a:t> </a:t>
            </a:r>
            <a:r>
              <a:rPr lang="en-US" altLang="zh-CN" sz="2400" kern="1200" dirty="0">
                <a:latin typeface="Calibri" panose="020F0502020204030204" charset="0"/>
                <a:ea typeface="宋体" panose="02010600030101010101" pitchFamily="2" charset="-122"/>
                <a:sym typeface="Calibri" panose="020F0502020204030204" charset="0"/>
              </a:rPr>
              <a:t>&lt;rt&gt; </a:t>
            </a:r>
            <a:r>
              <a:rPr lang="zh-CN" altLang="en-US" sz="2400" kern="1200" dirty="0">
                <a:latin typeface="Calibri" panose="020F0502020204030204" charset="0"/>
                <a:ea typeface="宋体" panose="02010600030101010101" pitchFamily="2" charset="-122"/>
                <a:sym typeface="Calibri" panose="020F0502020204030204" charset="0"/>
              </a:rPr>
              <a:t>标记定义对</a:t>
            </a:r>
            <a:r>
              <a:rPr lang="en-US" altLang="zh-CN" sz="2400" kern="1200" dirty="0">
                <a:latin typeface="Calibri" panose="020F0502020204030204" charset="0"/>
                <a:ea typeface="宋体" panose="02010600030101010101" pitchFamily="2" charset="-122"/>
                <a:sym typeface="Calibri" panose="020F0502020204030204" charset="0"/>
              </a:rPr>
              <a:t>ruby</a:t>
            </a:r>
            <a:r>
              <a:rPr lang="zh-CN" altLang="en-US" sz="2400" kern="1200" dirty="0">
                <a:latin typeface="Calibri" panose="020F0502020204030204" charset="0"/>
                <a:ea typeface="宋体" panose="02010600030101010101" pitchFamily="2" charset="-122"/>
                <a:sym typeface="Calibri" panose="020F0502020204030204" charset="0"/>
              </a:rPr>
              <a:t>的注释内容文本</a:t>
            </a:r>
            <a:endParaRPr lang="en-US" altLang="zh-CN" sz="2400" kern="1200" dirty="0">
              <a:latin typeface="Calibri" panose="020F0502020204030204" charset="0"/>
              <a:ea typeface="宋体" panose="02010600030101010101" pitchFamily="2" charset="-122"/>
              <a:sym typeface="Calibri" panose="020F0502020204030204" charset="0"/>
            </a:endParaRPr>
          </a:p>
          <a:p>
            <a:pPr marL="109855" algn="l" defTabSz="914400"/>
            <a:endParaRPr lang="zh-CN" altLang="en-US" sz="2400" kern="1200" dirty="0">
              <a:latin typeface="Calibri" panose="020F0502020204030204" charset="0"/>
              <a:ea typeface="宋体" panose="02010600030101010101" pitchFamily="2" charset="-122"/>
              <a:sym typeface="Calibri" panose="020F0502020204030204" charset="0"/>
            </a:endParaRPr>
          </a:p>
          <a:p>
            <a:pPr marL="109855" algn="l" defTabSz="914400"/>
            <a:r>
              <a:rPr lang="zh-CN" altLang="en-US" sz="2400" b="1" kern="1200" dirty="0">
                <a:latin typeface="Calibri" panose="020F0502020204030204" charset="0"/>
                <a:ea typeface="宋体" panose="02010600030101010101" pitchFamily="2" charset="-122"/>
                <a:sym typeface="Calibri" panose="020F0502020204030204" charset="0"/>
              </a:rPr>
              <a:t>其他标签</a:t>
            </a:r>
            <a:endParaRPr lang="zh-CN" altLang="en-US" sz="2400" b="1" kern="1200" dirty="0">
              <a:latin typeface="Calibri" panose="020F0502020204030204" charset="0"/>
              <a:ea typeface="宋体" panose="02010600030101010101" pitchFamily="2" charset="-122"/>
              <a:sym typeface="Calibri" panose="020F0502020204030204" charset="0"/>
            </a:endParaRPr>
          </a:p>
          <a:p>
            <a:pPr marL="109855" algn="l" defTabSz="914400"/>
            <a:r>
              <a:rPr lang="en-US" altLang="zh-CN" sz="1100" kern="1200" dirty="0">
                <a:latin typeface="Calibri" panose="020F0502020204030204" charset="0"/>
                <a:ea typeface="宋体" panose="02010600030101010101" pitchFamily="2" charset="-122"/>
                <a:sym typeface="Calibri" panose="020F0502020204030204" charset="0"/>
              </a:rPr>
              <a:t>&lt;keygen&gt; </a:t>
            </a:r>
            <a:r>
              <a:rPr lang="zh-CN" altLang="en-US" sz="1100" kern="1200" dirty="0">
                <a:latin typeface="Calibri" panose="020F0502020204030204" charset="0"/>
                <a:ea typeface="宋体" panose="02010600030101010101" pitchFamily="2" charset="-122"/>
                <a:sym typeface="Calibri" panose="020F0502020204030204" charset="0"/>
              </a:rPr>
              <a:t>标记定义表单里一个生成的键值</a:t>
            </a:r>
            <a:r>
              <a:rPr lang="en-US" altLang="zh-CN" sz="1100" kern="1200" dirty="0">
                <a:latin typeface="Calibri" panose="020F0502020204030204" charset="0"/>
                <a:ea typeface="宋体" panose="02010600030101010101" pitchFamily="2" charset="-122"/>
                <a:sym typeface="Calibri" panose="020F0502020204030204" charset="0"/>
              </a:rPr>
              <a:t>(</a:t>
            </a:r>
            <a:r>
              <a:rPr lang="zh-CN" altLang="en-US" sz="1100" kern="1200" dirty="0">
                <a:latin typeface="Calibri" panose="020F0502020204030204" charset="0"/>
                <a:ea typeface="宋体" panose="02010600030101010101" pitchFamily="2" charset="-122"/>
                <a:sym typeface="Calibri" panose="020F0502020204030204" charset="0"/>
              </a:rPr>
              <a:t>加密信息传送</a:t>
            </a:r>
            <a:r>
              <a:rPr lang="en-US" altLang="zh-CN" sz="1100" kern="1200" dirty="0">
                <a:latin typeface="Calibri" panose="020F0502020204030204" charset="0"/>
                <a:ea typeface="宋体" panose="02010600030101010101" pitchFamily="2" charset="-122"/>
                <a:sym typeface="Calibri" panose="020F0502020204030204" charset="0"/>
              </a:rPr>
              <a:t>)O</a:t>
            </a:r>
            <a:r>
              <a:rPr lang="zh-CN" altLang="en-US" sz="1100" kern="1200" dirty="0">
                <a:latin typeface="Calibri" panose="020F0502020204030204" charset="0"/>
                <a:ea typeface="宋体" panose="02010600030101010101" pitchFamily="2" charset="-122"/>
                <a:sym typeface="Calibri" panose="020F0502020204030204" charset="0"/>
              </a:rPr>
              <a:t>、</a:t>
            </a:r>
            <a:r>
              <a:rPr lang="en-US" altLang="zh-CN" sz="1100" kern="1200" dirty="0">
                <a:latin typeface="Calibri" panose="020F0502020204030204" charset="0"/>
                <a:ea typeface="宋体" panose="02010600030101010101" pitchFamily="2" charset="-122"/>
                <a:sym typeface="Calibri" panose="020F0502020204030204" charset="0"/>
              </a:rPr>
              <a:t>F</a:t>
            </a:r>
            <a:endParaRPr lang="zh-CN" altLang="en-US" sz="1100" kern="1200" dirty="0">
              <a:latin typeface="Calibri" panose="020F0502020204030204" charset="0"/>
              <a:ea typeface="宋体" panose="02010600030101010101" pitchFamily="2" charset="-122"/>
              <a:sym typeface="Calibri" panose="020F0502020204030204" charset="0"/>
            </a:endParaRPr>
          </a:p>
          <a:p>
            <a:pPr marL="109855" algn="l" defTabSz="914400"/>
            <a:r>
              <a:rPr lang="en-US" altLang="zh-CN" sz="1100" kern="1200" dirty="0">
                <a:latin typeface="Calibri" panose="020F0502020204030204" charset="0"/>
                <a:ea typeface="宋体" panose="02010600030101010101" pitchFamily="2" charset="-122"/>
                <a:sym typeface="Calibri" panose="020F0502020204030204" charset="0"/>
              </a:rPr>
              <a:t>&lt;mark&gt; </a:t>
            </a:r>
            <a:r>
              <a:rPr lang="zh-CN" altLang="en-US" sz="1100" kern="1200" dirty="0">
                <a:latin typeface="Calibri" panose="020F0502020204030204" charset="0"/>
                <a:ea typeface="宋体" panose="02010600030101010101" pitchFamily="2" charset="-122"/>
                <a:sym typeface="Calibri" panose="020F0502020204030204" charset="0"/>
              </a:rPr>
              <a:t>标记定义有标记的文本 </a:t>
            </a:r>
            <a:r>
              <a:rPr lang="en-US" altLang="zh-CN" sz="1100" kern="1200" dirty="0">
                <a:latin typeface="Calibri" panose="020F0502020204030204" charset="0"/>
                <a:ea typeface="宋体" panose="02010600030101010101" pitchFamily="2" charset="-122"/>
                <a:sym typeface="Calibri" panose="020F0502020204030204" charset="0"/>
              </a:rPr>
              <a:t>(</a:t>
            </a:r>
            <a:r>
              <a:rPr lang="zh-CN" altLang="en-US" sz="1100" kern="1200" dirty="0">
                <a:latin typeface="Calibri" panose="020F0502020204030204" charset="0"/>
                <a:ea typeface="宋体" panose="02010600030101010101" pitchFamily="2" charset="-122"/>
                <a:sym typeface="Calibri" panose="020F0502020204030204" charset="0"/>
              </a:rPr>
              <a:t>黄色选中状态</a:t>
            </a:r>
            <a:r>
              <a:rPr lang="en-US" altLang="zh-CN" sz="1100" kern="1200" dirty="0">
                <a:latin typeface="Calibri" panose="020F0502020204030204" charset="0"/>
                <a:ea typeface="宋体" panose="02010600030101010101" pitchFamily="2" charset="-122"/>
                <a:sym typeface="Calibri" panose="020F0502020204030204" charset="0"/>
              </a:rPr>
              <a:t>)</a:t>
            </a:r>
            <a:endParaRPr lang="zh-CN" altLang="en-US" sz="1100" kern="1200" dirty="0">
              <a:latin typeface="Calibri" panose="020F0502020204030204" charset="0"/>
              <a:ea typeface="宋体" panose="02010600030101010101" pitchFamily="2" charset="-122"/>
              <a:sym typeface="Calibri" panose="020F0502020204030204" charset="0"/>
            </a:endParaRPr>
          </a:p>
          <a:p>
            <a:pPr marL="109855" algn="l" defTabSz="914400"/>
            <a:r>
              <a:rPr lang="en-US" altLang="zh-CN" sz="1100" kern="1200" dirty="0">
                <a:latin typeface="Calibri" panose="020F0502020204030204" charset="0"/>
                <a:ea typeface="宋体" panose="02010600030101010101" pitchFamily="2" charset="-122"/>
                <a:sym typeface="Calibri" panose="020F0502020204030204" charset="0"/>
              </a:rPr>
              <a:t>&lt;output&gt; </a:t>
            </a:r>
            <a:r>
              <a:rPr lang="zh-CN" altLang="en-US" sz="1100" kern="1200" dirty="0">
                <a:latin typeface="Calibri" panose="020F0502020204030204" charset="0"/>
                <a:ea typeface="宋体" panose="02010600030101010101" pitchFamily="2" charset="-122"/>
                <a:sym typeface="Calibri" panose="020F0502020204030204" charset="0"/>
              </a:rPr>
              <a:t>标记定义一些输出类型</a:t>
            </a:r>
            <a:r>
              <a:rPr lang="en-US" altLang="zh-CN" sz="1100" kern="1200" dirty="0">
                <a:latin typeface="Calibri" panose="020F0502020204030204" charset="0"/>
                <a:ea typeface="宋体" panose="02010600030101010101" pitchFamily="2" charset="-122"/>
                <a:sym typeface="Calibri" panose="020F0502020204030204" charset="0"/>
              </a:rPr>
              <a:t>,</a:t>
            </a:r>
            <a:r>
              <a:rPr lang="zh-CN" altLang="en-US" sz="1100" kern="1200" dirty="0">
                <a:latin typeface="Calibri" panose="020F0502020204030204" charset="0"/>
                <a:ea typeface="宋体" panose="02010600030101010101" pitchFamily="2" charset="-122"/>
                <a:sym typeface="Calibri" panose="020F0502020204030204" charset="0"/>
              </a:rPr>
              <a:t>计算表单结果配合</a:t>
            </a:r>
            <a:r>
              <a:rPr lang="en-US" altLang="zh-CN" sz="1100" kern="1200" dirty="0">
                <a:latin typeface="Calibri" panose="020F0502020204030204" charset="0"/>
                <a:ea typeface="宋体" panose="02010600030101010101" pitchFamily="2" charset="-122"/>
                <a:sym typeface="Calibri" panose="020F0502020204030204" charset="0"/>
              </a:rPr>
              <a:t>oninput</a:t>
            </a:r>
            <a:r>
              <a:rPr lang="zh-CN" altLang="en-US" sz="1100" kern="1200" dirty="0">
                <a:latin typeface="Calibri" panose="020F0502020204030204" charset="0"/>
                <a:ea typeface="宋体" panose="02010600030101010101" pitchFamily="2" charset="-122"/>
                <a:sym typeface="Calibri" panose="020F0502020204030204" charset="0"/>
              </a:rPr>
              <a:t>事件</a:t>
            </a:r>
            <a:endParaRPr lang="en-US" altLang="zh-CN" sz="1100" kern="1200" dirty="0">
              <a:latin typeface="Calibri" panose="020F0502020204030204" charset="0"/>
              <a:ea typeface="宋体" panose="02010600030101010101" pitchFamily="2" charset="-122"/>
              <a:sym typeface="Calibri" panose="020F0502020204030204" charset="0"/>
            </a:endParaRPr>
          </a:p>
          <a:p>
            <a:pPr marL="109855" algn="l" defTabSz="914400"/>
            <a:endParaRPr lang="zh-CN" altLang="en-US" sz="1100" kern="1200" dirty="0">
              <a:latin typeface="Calibri" panose="020F0502020204030204" charset="0"/>
              <a:ea typeface="宋体" panose="02010600030101010101" pitchFamily="2" charset="-122"/>
              <a:sym typeface="Calibri" panose="020F0502020204030204" charset="0"/>
            </a:endParaRPr>
          </a:p>
          <a:p>
            <a:pPr marL="109855" algn="l" defTabSz="914400"/>
            <a:endParaRPr lang="zh-CN" altLang="en-US" sz="1100" kern="1200" dirty="0">
              <a:latin typeface="Calibri" panose="020F0502020204030204" charset="0"/>
              <a:ea typeface="宋体" panose="02010600030101010101" pitchFamily="2" charset="-122"/>
              <a:sym typeface="Calibri" panose="020F0502020204030204" charset="0"/>
            </a:endParaRPr>
          </a:p>
          <a:p>
            <a:pPr marL="109855" algn="l" defTabSz="914400"/>
            <a:r>
              <a:rPr lang="en-US" altLang="zh-CN" sz="1100" kern="1200" dirty="0">
                <a:solidFill>
                  <a:srgbClr val="7F7F7F"/>
                </a:solidFill>
                <a:latin typeface="Calibri" panose="020F0502020204030204" charset="0"/>
                <a:ea typeface="宋体" panose="02010600030101010101" pitchFamily="2" charset="-122"/>
                <a:sym typeface="Calibri" panose="020F0502020204030204" charset="0"/>
              </a:rPr>
              <a:t>&lt;time&gt; </a:t>
            </a:r>
            <a:r>
              <a:rPr lang="zh-CN" altLang="en-US" sz="1100" kern="1200" dirty="0">
                <a:solidFill>
                  <a:srgbClr val="7F7F7F"/>
                </a:solidFill>
                <a:latin typeface="Calibri" panose="020F0502020204030204" charset="0"/>
                <a:ea typeface="宋体" panose="02010600030101010101" pitchFamily="2" charset="-122"/>
                <a:sym typeface="Calibri" panose="020F0502020204030204" charset="0"/>
              </a:rPr>
              <a:t>标记定义一个日期</a:t>
            </a:r>
            <a:r>
              <a:rPr lang="en-US" altLang="zh-CN" sz="1100" kern="1200" dirty="0">
                <a:solidFill>
                  <a:srgbClr val="7F7F7F"/>
                </a:solidFill>
                <a:latin typeface="Calibri" panose="020F0502020204030204" charset="0"/>
                <a:ea typeface="宋体" panose="02010600030101010101" pitchFamily="2" charset="-122"/>
                <a:sym typeface="Calibri" panose="020F0502020204030204" charset="0"/>
              </a:rPr>
              <a:t>/</a:t>
            </a:r>
            <a:r>
              <a:rPr lang="zh-CN" altLang="en-US" sz="1100" kern="1200" dirty="0">
                <a:solidFill>
                  <a:srgbClr val="7F7F7F"/>
                </a:solidFill>
                <a:latin typeface="Calibri" panose="020F0502020204030204" charset="0"/>
                <a:ea typeface="宋体" panose="02010600030101010101" pitchFamily="2" charset="-122"/>
                <a:sym typeface="Calibri" panose="020F0502020204030204" charset="0"/>
              </a:rPr>
              <a:t>时间 目前所有主流浏览器都不支持</a:t>
            </a:r>
            <a:endParaRPr lang="zh-CN" altLang="en-US" sz="1100" kern="1200" dirty="0">
              <a:solidFill>
                <a:srgbClr val="7F7F7F"/>
              </a:solidFill>
              <a:latin typeface="Calibri" panose="020F0502020204030204" charset="0"/>
              <a:ea typeface="宋体" panose="02010600030101010101" pitchFamily="2" charset="-122"/>
              <a:sym typeface="Calibri" panose="020F0502020204030204" charset="0"/>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290" name="标题 3"/>
          <p:cNvSpPr>
            <a:spLocks noGrp="1"/>
          </p:cNvSpPr>
          <p:nvPr>
            <p:ph type="title"/>
          </p:nvPr>
        </p:nvSpPr>
        <p:spPr>
          <a:xfrm>
            <a:off x="2135188" y="2565400"/>
            <a:ext cx="7772400" cy="1362075"/>
          </a:xfrm>
        </p:spPr>
        <p:txBody>
          <a:bodyPr vert="horz" anchor="t">
            <a:normAutofit/>
          </a:bodyPr>
          <a:p>
            <a:r>
              <a:rPr lang="en-US" altLang="zh-CN" sz="4000" b="1" kern="1200" dirty="0">
                <a:solidFill>
                  <a:srgbClr val="FF0000"/>
                </a:solidFill>
                <a:latin typeface="Calibri Light" panose="020F0302020204030204" charset="0"/>
                <a:ea typeface="宋体" panose="02010600030101010101" pitchFamily="2" charset="-122"/>
                <a:sym typeface="Calibri Light" panose="020F0302020204030204" charset="0"/>
              </a:rPr>
              <a:t>3</a:t>
            </a:r>
            <a:r>
              <a:rPr lang="zh-CN" altLang="en-US" sz="4000" b="1" kern="1200" dirty="0">
                <a:solidFill>
                  <a:srgbClr val="FF0000"/>
                </a:solidFill>
                <a:latin typeface="Calibri Light" panose="020F0302020204030204" charset="0"/>
                <a:ea typeface="宋体" panose="02010600030101010101" pitchFamily="2" charset="-122"/>
                <a:sym typeface="Calibri Light" panose="020F0302020204030204" charset="0"/>
              </a:rPr>
              <a:t>、删除的</a:t>
            </a:r>
            <a:r>
              <a:rPr lang="en-US" altLang="zh-CN" sz="4000" b="1" kern="1200" dirty="0">
                <a:solidFill>
                  <a:srgbClr val="FF0000"/>
                </a:solidFill>
                <a:latin typeface="Calibri Light" panose="020F0302020204030204" charset="0"/>
                <a:ea typeface="宋体" panose="02010600030101010101" pitchFamily="2" charset="-122"/>
                <a:sym typeface="Calibri Light" panose="020F0302020204030204" charset="0"/>
              </a:rPr>
              <a:t>HTML</a:t>
            </a:r>
            <a:r>
              <a:rPr lang="zh-CN" altLang="en-US" sz="4000" b="1" kern="1200" dirty="0">
                <a:solidFill>
                  <a:srgbClr val="FF0000"/>
                </a:solidFill>
                <a:latin typeface="Calibri Light" panose="020F0302020204030204" charset="0"/>
                <a:ea typeface="宋体" panose="02010600030101010101" pitchFamily="2" charset="-122"/>
                <a:sym typeface="Calibri Light" panose="020F0302020204030204" charset="0"/>
              </a:rPr>
              <a:t>标签</a:t>
            </a:r>
            <a:endParaRPr lang="zh-CN" altLang="en-US" sz="4000" b="1" kern="1200" dirty="0">
              <a:solidFill>
                <a:srgbClr val="FF0000"/>
              </a:solidFill>
              <a:latin typeface="Calibri Light" panose="020F0302020204030204" charset="0"/>
              <a:ea typeface="宋体" panose="02010600030101010101" pitchFamily="2" charset="-122"/>
              <a:sym typeface="Calibri Light" panose="020F0302020204030204" charset="0"/>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3314" name="标题 1"/>
          <p:cNvSpPr>
            <a:spLocks noGrp="1"/>
          </p:cNvSpPr>
          <p:nvPr>
            <p:ph type="title"/>
          </p:nvPr>
        </p:nvSpPr>
        <p:spPr>
          <a:xfrm>
            <a:off x="1981200" y="914400"/>
            <a:ext cx="8229600" cy="1143000"/>
          </a:xfrm>
        </p:spPr>
        <p:txBody>
          <a:bodyPr vert="horz" anchor="ctr">
            <a:normAutofit/>
          </a:bodyPr>
          <a:p>
            <a:r>
              <a:rPr lang="zh-CN" altLang="en-US" sz="4400" kern="1200" dirty="0">
                <a:latin typeface="Calibri Light" panose="020F0302020204030204" charset="0"/>
                <a:ea typeface="宋体" panose="02010600030101010101" pitchFamily="2" charset="-122"/>
                <a:sym typeface="Calibri Light" panose="020F0302020204030204" charset="0"/>
              </a:rPr>
              <a:t>删除的</a:t>
            </a:r>
            <a:r>
              <a:rPr lang="en-US" altLang="zh-CN" sz="4400" kern="1200" dirty="0">
                <a:latin typeface="Calibri Light" panose="020F0302020204030204" charset="0"/>
                <a:ea typeface="宋体" panose="02010600030101010101" pitchFamily="2" charset="-122"/>
                <a:sym typeface="Calibri Light" panose="020F0302020204030204" charset="0"/>
              </a:rPr>
              <a:t>HTML</a:t>
            </a:r>
            <a:r>
              <a:rPr lang="zh-CN" altLang="en-US" sz="4400" kern="1200" dirty="0">
                <a:latin typeface="Calibri Light" panose="020F0302020204030204" charset="0"/>
                <a:ea typeface="宋体" panose="02010600030101010101" pitchFamily="2" charset="-122"/>
                <a:sym typeface="Calibri Light" panose="020F0302020204030204" charset="0"/>
              </a:rPr>
              <a:t>标签</a:t>
            </a:r>
            <a:endParaRPr lang="zh-CN" altLang="en-US" sz="4400" kern="1200" dirty="0">
              <a:latin typeface="Calibri Light" panose="020F0302020204030204" charset="0"/>
              <a:ea typeface="宋体" panose="02010600030101010101" pitchFamily="2" charset="-122"/>
              <a:sym typeface="Calibri Light" panose="020F0302020204030204" charset="0"/>
            </a:endParaRPr>
          </a:p>
        </p:txBody>
      </p:sp>
      <p:sp>
        <p:nvSpPr>
          <p:cNvPr id="13315" name="内容占位符 2"/>
          <p:cNvSpPr>
            <a:spLocks noGrp="1"/>
          </p:cNvSpPr>
          <p:nvPr>
            <p:ph idx="1"/>
          </p:nvPr>
        </p:nvSpPr>
        <p:spPr>
          <a:xfrm>
            <a:off x="1981200" y="2362200"/>
            <a:ext cx="8229600" cy="3810000"/>
          </a:xfrm>
        </p:spPr>
        <p:txBody>
          <a:bodyPr vert="horz">
            <a:normAutofit/>
          </a:bodyPr>
          <a:p>
            <a:pPr algn="l" defTabSz="914400"/>
            <a:r>
              <a:rPr lang="zh-CN" altLang="en-US" sz="2400" kern="1200" dirty="0">
                <a:latin typeface="Calibri" panose="020F0502020204030204" charset="0"/>
                <a:ea typeface="宋体" panose="02010600030101010101" pitchFamily="2" charset="-122"/>
                <a:sym typeface="Calibri" panose="020F0502020204030204" charset="0"/>
              </a:rPr>
              <a:t>纯表现的元素：</a:t>
            </a:r>
            <a:endParaRPr lang="en-US" altLang="zh-CN" sz="2400" kern="1200" dirty="0">
              <a:latin typeface="Calibri" panose="020F0502020204030204" charset="0"/>
              <a:ea typeface="宋体" panose="02010600030101010101" pitchFamily="2" charset="-122"/>
              <a:sym typeface="Calibri" panose="020F0502020204030204" charset="0"/>
            </a:endParaRPr>
          </a:p>
          <a:p>
            <a:pPr marL="457200" lvl="1" algn="l" defTabSz="914400"/>
            <a:r>
              <a:rPr lang="en-US" altLang="zh-CN" sz="2400" kern="1200" dirty="0">
                <a:latin typeface="Calibri" panose="020F0502020204030204" charset="0"/>
                <a:ea typeface="宋体" panose="02010600030101010101" pitchFamily="2" charset="-122"/>
                <a:sym typeface="Calibri" panose="020F0502020204030204" charset="0"/>
              </a:rPr>
              <a:t>basefont</a:t>
            </a:r>
            <a:r>
              <a:rPr lang="zh-CN" altLang="en-US" sz="2400" kern="1200" dirty="0">
                <a:latin typeface="Calibri" panose="020F0502020204030204" charset="0"/>
                <a:ea typeface="宋体" panose="02010600030101010101" pitchFamily="2" charset="-122"/>
                <a:sym typeface="Calibri" panose="020F0502020204030204" charset="0"/>
              </a:rPr>
              <a:t>，</a:t>
            </a:r>
            <a:r>
              <a:rPr lang="en-US" altLang="zh-CN" sz="2400" kern="1200" dirty="0">
                <a:latin typeface="Calibri" panose="020F0502020204030204" charset="0"/>
                <a:ea typeface="宋体" panose="02010600030101010101" pitchFamily="2" charset="-122"/>
                <a:sym typeface="Calibri" panose="020F0502020204030204" charset="0"/>
              </a:rPr>
              <a:t>big</a:t>
            </a:r>
            <a:r>
              <a:rPr lang="zh-CN" altLang="en-US" sz="2400" kern="1200" dirty="0">
                <a:latin typeface="Calibri" panose="020F0502020204030204" charset="0"/>
                <a:ea typeface="宋体" panose="02010600030101010101" pitchFamily="2" charset="-122"/>
                <a:sym typeface="Calibri" panose="020F0502020204030204" charset="0"/>
              </a:rPr>
              <a:t>，</a:t>
            </a:r>
            <a:r>
              <a:rPr lang="en-US" altLang="zh-CN" sz="2400" kern="1200" dirty="0">
                <a:latin typeface="Calibri" panose="020F0502020204030204" charset="0"/>
                <a:ea typeface="宋体" panose="02010600030101010101" pitchFamily="2" charset="-122"/>
                <a:sym typeface="Calibri" panose="020F0502020204030204" charset="0"/>
              </a:rPr>
              <a:t>center</a:t>
            </a:r>
            <a:r>
              <a:rPr lang="zh-CN" altLang="en-US" sz="2400" kern="1200" dirty="0">
                <a:latin typeface="Calibri" panose="020F0502020204030204" charset="0"/>
                <a:ea typeface="宋体" panose="02010600030101010101" pitchFamily="2" charset="-122"/>
                <a:sym typeface="Calibri" panose="020F0502020204030204" charset="0"/>
              </a:rPr>
              <a:t>，</a:t>
            </a:r>
            <a:r>
              <a:rPr lang="en-US" altLang="zh-CN" sz="2400" kern="1200" dirty="0">
                <a:latin typeface="Calibri" panose="020F0502020204030204" charset="0"/>
                <a:ea typeface="宋体" panose="02010600030101010101" pitchFamily="2" charset="-122"/>
                <a:sym typeface="Calibri" panose="020F0502020204030204" charset="0"/>
              </a:rPr>
              <a:t>font, s</a:t>
            </a:r>
            <a:r>
              <a:rPr lang="zh-CN" altLang="en-US" sz="2400" kern="1200" dirty="0">
                <a:latin typeface="Calibri" panose="020F0502020204030204" charset="0"/>
                <a:ea typeface="宋体" panose="02010600030101010101" pitchFamily="2" charset="-122"/>
                <a:sym typeface="Calibri" panose="020F0502020204030204" charset="0"/>
              </a:rPr>
              <a:t>，</a:t>
            </a:r>
            <a:r>
              <a:rPr lang="en-US" altLang="zh-CN" sz="2400" kern="1200" dirty="0">
                <a:latin typeface="Calibri" panose="020F0502020204030204" charset="0"/>
                <a:ea typeface="宋体" panose="02010600030101010101" pitchFamily="2" charset="-122"/>
                <a:sym typeface="Calibri" panose="020F0502020204030204" charset="0"/>
              </a:rPr>
              <a:t>strike</a:t>
            </a:r>
            <a:r>
              <a:rPr lang="zh-CN" altLang="en-US" sz="2400" kern="1200" dirty="0">
                <a:latin typeface="Calibri" panose="020F0502020204030204" charset="0"/>
                <a:ea typeface="宋体" panose="02010600030101010101" pitchFamily="2" charset="-122"/>
                <a:sym typeface="Calibri" panose="020F0502020204030204" charset="0"/>
              </a:rPr>
              <a:t>，</a:t>
            </a:r>
            <a:r>
              <a:rPr lang="en-US" altLang="zh-CN" sz="2400" kern="1200" dirty="0">
                <a:latin typeface="Calibri" panose="020F0502020204030204" charset="0"/>
                <a:ea typeface="宋体" panose="02010600030101010101" pitchFamily="2" charset="-122"/>
                <a:sym typeface="Calibri" panose="020F0502020204030204" charset="0"/>
              </a:rPr>
              <a:t>tt</a:t>
            </a:r>
            <a:r>
              <a:rPr lang="zh-CN" altLang="en-US" sz="2400" kern="1200" dirty="0">
                <a:latin typeface="Calibri" panose="020F0502020204030204" charset="0"/>
                <a:ea typeface="宋体" panose="02010600030101010101" pitchFamily="2" charset="-122"/>
                <a:sym typeface="Calibri" panose="020F0502020204030204" charset="0"/>
              </a:rPr>
              <a:t>，</a:t>
            </a:r>
            <a:r>
              <a:rPr lang="en-US" altLang="zh-CN" sz="2400" kern="1200" dirty="0">
                <a:latin typeface="Calibri" panose="020F0502020204030204" charset="0"/>
                <a:ea typeface="宋体" panose="02010600030101010101" pitchFamily="2" charset="-122"/>
                <a:sym typeface="Calibri" panose="020F0502020204030204" charset="0"/>
              </a:rPr>
              <a:t>u</a:t>
            </a:r>
            <a:r>
              <a:rPr lang="zh-CN" altLang="en-US" sz="2400" kern="1200" dirty="0">
                <a:latin typeface="Calibri" panose="020F0502020204030204" charset="0"/>
                <a:ea typeface="宋体" panose="02010600030101010101" pitchFamily="2" charset="-122"/>
                <a:sym typeface="Calibri" panose="020F0502020204030204" charset="0"/>
              </a:rPr>
              <a:t>；</a:t>
            </a:r>
            <a:endParaRPr lang="en-US" altLang="zh-CN" sz="2400" kern="1200" dirty="0">
              <a:latin typeface="Calibri" panose="020F0502020204030204" charset="0"/>
              <a:ea typeface="宋体" panose="02010600030101010101" pitchFamily="2" charset="-122"/>
              <a:sym typeface="Calibri" panose="020F0502020204030204" charset="0"/>
            </a:endParaRPr>
          </a:p>
          <a:p>
            <a:pPr marL="457200" lvl="1" algn="l" defTabSz="914400"/>
            <a:endParaRPr lang="zh-CN" altLang="en-US" sz="2400" kern="1200" dirty="0">
              <a:latin typeface="Calibri" panose="020F0502020204030204" charset="0"/>
              <a:ea typeface="宋体" panose="02010600030101010101" pitchFamily="2" charset="-122"/>
              <a:sym typeface="Calibri" panose="020F0502020204030204" charset="0"/>
            </a:endParaRPr>
          </a:p>
          <a:p>
            <a:pPr algn="l" defTabSz="914400"/>
            <a:r>
              <a:rPr lang="zh-CN" altLang="en-US" sz="2400" kern="1200" dirty="0">
                <a:latin typeface="Calibri" panose="020F0502020204030204" charset="0"/>
                <a:ea typeface="宋体" panose="02010600030101010101" pitchFamily="2" charset="-122"/>
                <a:sym typeface="Calibri" panose="020F0502020204030204" charset="0"/>
              </a:rPr>
              <a:t>对可用性产生负面影响的元素：</a:t>
            </a:r>
            <a:endParaRPr lang="en-US" altLang="zh-CN" sz="2400" kern="1200" dirty="0">
              <a:latin typeface="Calibri" panose="020F0502020204030204" charset="0"/>
              <a:ea typeface="宋体" panose="02010600030101010101" pitchFamily="2" charset="-122"/>
              <a:sym typeface="Calibri" panose="020F0502020204030204" charset="0"/>
            </a:endParaRPr>
          </a:p>
          <a:p>
            <a:pPr marL="457200" lvl="1" algn="l" defTabSz="914400"/>
            <a:r>
              <a:rPr lang="en-US" altLang="zh-CN" sz="2400" kern="1200" dirty="0">
                <a:latin typeface="Calibri" panose="020F0502020204030204" charset="0"/>
                <a:ea typeface="宋体" panose="02010600030101010101" pitchFamily="2" charset="-122"/>
                <a:sym typeface="Calibri" panose="020F0502020204030204" charset="0"/>
              </a:rPr>
              <a:t>frame</a:t>
            </a:r>
            <a:r>
              <a:rPr lang="zh-CN" altLang="en-US" sz="2400" kern="1200" dirty="0">
                <a:latin typeface="Calibri" panose="020F0502020204030204" charset="0"/>
                <a:ea typeface="宋体" panose="02010600030101010101" pitchFamily="2" charset="-122"/>
                <a:sym typeface="Calibri" panose="020F0502020204030204" charset="0"/>
              </a:rPr>
              <a:t>，</a:t>
            </a:r>
            <a:r>
              <a:rPr lang="en-US" altLang="zh-CN" sz="2400" kern="1200" dirty="0">
                <a:latin typeface="Calibri" panose="020F0502020204030204" charset="0"/>
                <a:ea typeface="宋体" panose="02010600030101010101" pitchFamily="2" charset="-122"/>
                <a:sym typeface="Calibri" panose="020F0502020204030204" charset="0"/>
              </a:rPr>
              <a:t>frameset</a:t>
            </a:r>
            <a:r>
              <a:rPr lang="zh-CN" altLang="en-US" sz="2400" kern="1200" dirty="0">
                <a:latin typeface="Calibri" panose="020F0502020204030204" charset="0"/>
                <a:ea typeface="宋体" panose="02010600030101010101" pitchFamily="2" charset="-122"/>
                <a:sym typeface="Calibri" panose="020F0502020204030204" charset="0"/>
              </a:rPr>
              <a:t>，</a:t>
            </a:r>
            <a:r>
              <a:rPr lang="en-US" altLang="zh-CN" sz="2400" kern="1200" dirty="0">
                <a:latin typeface="Calibri" panose="020F0502020204030204" charset="0"/>
                <a:ea typeface="宋体" panose="02010600030101010101" pitchFamily="2" charset="-122"/>
                <a:sym typeface="Calibri" panose="020F0502020204030204" charset="0"/>
              </a:rPr>
              <a:t>noframes</a:t>
            </a:r>
            <a:r>
              <a:rPr lang="zh-CN" altLang="en-US" sz="2400" kern="1200" dirty="0">
                <a:latin typeface="Calibri" panose="020F0502020204030204" charset="0"/>
                <a:ea typeface="宋体" panose="02010600030101010101" pitchFamily="2" charset="-122"/>
                <a:sym typeface="Calibri" panose="020F0502020204030204" charset="0"/>
              </a:rPr>
              <a:t>；</a:t>
            </a:r>
            <a:endParaRPr lang="en-US" altLang="zh-CN" sz="2400" kern="1200" dirty="0">
              <a:latin typeface="Calibri" panose="020F0502020204030204" charset="0"/>
              <a:ea typeface="宋体" panose="02010600030101010101" pitchFamily="2" charset="-122"/>
              <a:sym typeface="Calibri" panose="020F0502020204030204" charset="0"/>
            </a:endParaRPr>
          </a:p>
          <a:p>
            <a:pPr marL="457200" lvl="1" algn="l" defTabSz="914400"/>
            <a:endParaRPr lang="zh-CN" altLang="en-US" sz="2400" kern="1200" dirty="0">
              <a:latin typeface="Calibri" panose="020F0502020204030204" charset="0"/>
              <a:ea typeface="宋体" panose="02010600030101010101" pitchFamily="2" charset="-122"/>
              <a:sym typeface="Calibri" panose="020F0502020204030204" charset="0"/>
            </a:endParaRPr>
          </a:p>
          <a:p>
            <a:pPr algn="l" defTabSz="914400"/>
            <a:r>
              <a:rPr lang="zh-CN" altLang="en-US" sz="2400" kern="1200" dirty="0">
                <a:latin typeface="Calibri" panose="020F0502020204030204" charset="0"/>
                <a:ea typeface="宋体" panose="02010600030101010101" pitchFamily="2" charset="-122"/>
                <a:sym typeface="Calibri" panose="020F0502020204030204" charset="0"/>
              </a:rPr>
              <a:t>产生混淆的元素：</a:t>
            </a:r>
            <a:endParaRPr lang="en-US" altLang="zh-CN" sz="2400" kern="1200" dirty="0">
              <a:latin typeface="Calibri" panose="020F0502020204030204" charset="0"/>
              <a:ea typeface="宋体" panose="02010600030101010101" pitchFamily="2" charset="-122"/>
              <a:sym typeface="Calibri" panose="020F0502020204030204" charset="0"/>
            </a:endParaRPr>
          </a:p>
          <a:p>
            <a:pPr marL="457200" lvl="1" algn="l" defTabSz="914400"/>
            <a:r>
              <a:rPr lang="en-US" altLang="zh-CN" sz="2400" kern="1200" dirty="0">
                <a:latin typeface="Calibri" panose="020F0502020204030204" charset="0"/>
                <a:ea typeface="宋体" panose="02010600030101010101" pitchFamily="2" charset="-122"/>
                <a:sym typeface="Calibri" panose="020F0502020204030204" charset="0"/>
              </a:rPr>
              <a:t>acronym </a:t>
            </a:r>
            <a:r>
              <a:rPr lang="zh-CN" altLang="en-US" sz="2400" kern="1200" dirty="0">
                <a:latin typeface="Calibri" panose="020F0502020204030204" charset="0"/>
                <a:ea typeface="宋体" panose="02010600030101010101" pitchFamily="2" charset="-122"/>
                <a:sym typeface="Calibri" panose="020F0502020204030204" charset="0"/>
              </a:rPr>
              <a:t>，</a:t>
            </a:r>
            <a:r>
              <a:rPr lang="en-US" altLang="zh-CN" sz="2400" kern="1200" dirty="0">
                <a:latin typeface="Calibri" panose="020F0502020204030204" charset="0"/>
                <a:ea typeface="宋体" panose="02010600030101010101" pitchFamily="2" charset="-122"/>
                <a:sym typeface="Calibri" panose="020F0502020204030204" charset="0"/>
              </a:rPr>
              <a:t>applet</a:t>
            </a:r>
            <a:r>
              <a:rPr lang="zh-CN" altLang="en-US" sz="2400" kern="1200" dirty="0">
                <a:latin typeface="Calibri" panose="020F0502020204030204" charset="0"/>
                <a:ea typeface="宋体" panose="02010600030101010101" pitchFamily="2" charset="-122"/>
                <a:sym typeface="Calibri" panose="020F0502020204030204" charset="0"/>
              </a:rPr>
              <a:t>，</a:t>
            </a:r>
            <a:r>
              <a:rPr lang="en-US" altLang="zh-CN" sz="2400" kern="1200" dirty="0">
                <a:latin typeface="Calibri" panose="020F0502020204030204" charset="0"/>
                <a:ea typeface="宋体" panose="02010600030101010101" pitchFamily="2" charset="-122"/>
                <a:sym typeface="Calibri" panose="020F0502020204030204" charset="0"/>
              </a:rPr>
              <a:t>isindex</a:t>
            </a:r>
            <a:r>
              <a:rPr lang="zh-CN" altLang="en-US" sz="2400" kern="1200" dirty="0">
                <a:latin typeface="Calibri" panose="020F0502020204030204" charset="0"/>
                <a:ea typeface="宋体" panose="02010600030101010101" pitchFamily="2" charset="-122"/>
                <a:sym typeface="Calibri" panose="020F0502020204030204" charset="0"/>
              </a:rPr>
              <a:t>，</a:t>
            </a:r>
            <a:r>
              <a:rPr lang="en-US" altLang="zh-CN" sz="2400" kern="1200" dirty="0">
                <a:latin typeface="Calibri" panose="020F0502020204030204" charset="0"/>
                <a:ea typeface="宋体" panose="02010600030101010101" pitchFamily="2" charset="-122"/>
                <a:sym typeface="Calibri" panose="020F0502020204030204" charset="0"/>
              </a:rPr>
              <a:t>dir</a:t>
            </a:r>
            <a:r>
              <a:rPr lang="zh-CN" altLang="en-US" sz="2400" kern="1200" dirty="0">
                <a:latin typeface="Calibri" panose="020F0502020204030204" charset="0"/>
                <a:ea typeface="宋体" panose="02010600030101010101" pitchFamily="2" charset="-122"/>
                <a:sym typeface="Calibri" panose="020F0502020204030204" charset="0"/>
              </a:rPr>
              <a:t>。</a:t>
            </a:r>
            <a:endParaRPr lang="zh-CN" altLang="en-US" sz="2400" kern="1200" dirty="0">
              <a:latin typeface="Calibri" panose="020F0502020204030204" charset="0"/>
              <a:ea typeface="宋体" panose="02010600030101010101" pitchFamily="2" charset="-122"/>
              <a:sym typeface="Calibri" panose="020F0502020204030204" charset="0"/>
            </a:endParaRPr>
          </a:p>
          <a:p>
            <a:pPr algn="l" defTabSz="914400"/>
            <a:endParaRPr lang="zh-CN" altLang="en-US" sz="2400" kern="1200" dirty="0">
              <a:latin typeface="Calibri" panose="020F0502020204030204" charset="0"/>
              <a:ea typeface="宋体" panose="02010600030101010101" pitchFamily="2" charset="-122"/>
              <a:sym typeface="Calibri" panose="020F0502020204030204" charset="0"/>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4338" name="标题 3"/>
          <p:cNvSpPr>
            <a:spLocks noGrp="1"/>
          </p:cNvSpPr>
          <p:nvPr>
            <p:ph type="title"/>
          </p:nvPr>
        </p:nvSpPr>
        <p:spPr>
          <a:xfrm>
            <a:off x="2206625" y="2781300"/>
            <a:ext cx="7772400" cy="1362075"/>
          </a:xfrm>
        </p:spPr>
        <p:txBody>
          <a:bodyPr vert="horz" anchor="t">
            <a:normAutofit/>
          </a:bodyPr>
          <a:p>
            <a:r>
              <a:rPr lang="en-US" altLang="zh-CN" sz="4000" b="1" kern="1200" dirty="0">
                <a:solidFill>
                  <a:srgbClr val="FF0000"/>
                </a:solidFill>
                <a:latin typeface="Calibri Light" panose="020F0302020204030204" charset="0"/>
                <a:ea typeface="宋体" panose="02010600030101010101" pitchFamily="2" charset="-122"/>
                <a:sym typeface="Calibri Light" panose="020F0302020204030204" charset="0"/>
              </a:rPr>
              <a:t>4</a:t>
            </a:r>
            <a:r>
              <a:rPr lang="zh-CN" altLang="en-US" sz="4000" b="1" kern="1200" dirty="0">
                <a:solidFill>
                  <a:srgbClr val="FF0000"/>
                </a:solidFill>
                <a:latin typeface="Calibri Light" panose="020F0302020204030204" charset="0"/>
                <a:ea typeface="宋体" panose="02010600030101010101" pitchFamily="2" charset="-122"/>
                <a:sym typeface="Calibri Light" panose="020F0302020204030204" charset="0"/>
              </a:rPr>
              <a:t>、重新定义的</a:t>
            </a:r>
            <a:r>
              <a:rPr lang="en-US" altLang="zh-CN" sz="4000" b="1" kern="1200" dirty="0">
                <a:solidFill>
                  <a:srgbClr val="FF0000"/>
                </a:solidFill>
                <a:latin typeface="Calibri Light" panose="020F0302020204030204" charset="0"/>
                <a:ea typeface="宋体" panose="02010600030101010101" pitchFamily="2" charset="-122"/>
                <a:sym typeface="Calibri Light" panose="020F0302020204030204" charset="0"/>
              </a:rPr>
              <a:t>HTML</a:t>
            </a:r>
            <a:r>
              <a:rPr lang="zh-CN" altLang="en-US" sz="4000" b="1" kern="1200" dirty="0">
                <a:solidFill>
                  <a:srgbClr val="FF0000"/>
                </a:solidFill>
                <a:latin typeface="Calibri Light" panose="020F0302020204030204" charset="0"/>
                <a:ea typeface="宋体" panose="02010600030101010101" pitchFamily="2" charset="-122"/>
                <a:sym typeface="Calibri Light" panose="020F0302020204030204" charset="0"/>
              </a:rPr>
              <a:t>标签</a:t>
            </a:r>
            <a:endParaRPr lang="zh-CN" altLang="en-US" sz="4000" b="1" kern="1200" dirty="0">
              <a:solidFill>
                <a:srgbClr val="FF0000"/>
              </a:solidFill>
              <a:latin typeface="Calibri Light" panose="020F0302020204030204" charset="0"/>
              <a:ea typeface="宋体" panose="02010600030101010101" pitchFamily="2" charset="-122"/>
              <a:sym typeface="Calibri Light" panose="020F0302020204030204" charset="0"/>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5362" name="标题 1"/>
          <p:cNvSpPr>
            <a:spLocks noGrp="1"/>
          </p:cNvSpPr>
          <p:nvPr>
            <p:ph type="title"/>
          </p:nvPr>
        </p:nvSpPr>
        <p:spPr>
          <a:xfrm>
            <a:off x="1981200" y="914400"/>
            <a:ext cx="8229600" cy="1143000"/>
          </a:xfrm>
        </p:spPr>
        <p:txBody>
          <a:bodyPr vert="horz" anchor="ctr">
            <a:normAutofit/>
          </a:bodyPr>
          <a:p>
            <a:r>
              <a:rPr lang="zh-CN" altLang="en-US" sz="4400" kern="1200" dirty="0">
                <a:latin typeface="Calibri Light" panose="020F0302020204030204" charset="0"/>
                <a:ea typeface="宋体" panose="02010600030101010101" pitchFamily="2" charset="-122"/>
                <a:sym typeface="Calibri Light" panose="020F0302020204030204" charset="0"/>
              </a:rPr>
              <a:t>重新定义的</a:t>
            </a:r>
            <a:r>
              <a:rPr lang="en-US" altLang="zh-CN" sz="4400" kern="1200" dirty="0">
                <a:latin typeface="Calibri Light" panose="020F0302020204030204" charset="0"/>
                <a:ea typeface="宋体" panose="02010600030101010101" pitchFamily="2" charset="-122"/>
                <a:sym typeface="Calibri Light" panose="020F0302020204030204" charset="0"/>
              </a:rPr>
              <a:t>HTML</a:t>
            </a:r>
            <a:r>
              <a:rPr lang="zh-CN" altLang="en-US" sz="4400" kern="1200" dirty="0">
                <a:latin typeface="Calibri Light" panose="020F0302020204030204" charset="0"/>
                <a:ea typeface="宋体" panose="02010600030101010101" pitchFamily="2" charset="-122"/>
                <a:sym typeface="Calibri Light" panose="020F0302020204030204" charset="0"/>
              </a:rPr>
              <a:t>标签</a:t>
            </a:r>
            <a:endParaRPr lang="zh-CN" altLang="en-US" sz="4400" kern="1200" dirty="0">
              <a:latin typeface="Calibri Light" panose="020F0302020204030204" charset="0"/>
              <a:ea typeface="宋体" panose="02010600030101010101" pitchFamily="2" charset="-122"/>
              <a:sym typeface="Calibri Light" panose="020F0302020204030204" charset="0"/>
            </a:endParaRPr>
          </a:p>
        </p:txBody>
      </p:sp>
      <p:graphicFrame>
        <p:nvGraphicFramePr>
          <p:cNvPr id="15363" name="表格 15362"/>
          <p:cNvGraphicFramePr/>
          <p:nvPr/>
        </p:nvGraphicFramePr>
        <p:xfrm>
          <a:off x="1981200" y="2362200"/>
          <a:ext cx="8229600" cy="3336925"/>
        </p:xfrm>
        <a:graphic>
          <a:graphicData uri="http://schemas.openxmlformats.org/drawingml/2006/table">
            <a:tbl>
              <a:tblPr/>
              <a:tblGrid>
                <a:gridCol w="1522730"/>
                <a:gridCol w="6706870"/>
              </a:tblGrid>
              <a:tr h="371475">
                <a:tc>
                  <a:txBody>
                    <a:bodyPr wrap="square"/>
                    <a:lstStyle>
                      <a:lvl1pPr marL="228600" lvl="0" indent="-228600" algn="l" defTabSz="914400" eaLnBrk="1" fontAlgn="base" latinLnBrk="0" hangingPunct="1">
                        <a:lnSpc>
                          <a:spcPct val="90000"/>
                        </a:lnSpc>
                        <a:spcBef>
                          <a:spcPts val="1000"/>
                        </a:spcBef>
                        <a:buClrTx/>
                        <a:buSzTx/>
                        <a:buFont typeface="Arial" panose="020B0604020202020204" pitchFamily="34" charset="0"/>
                        <a:buChar char="•"/>
                        <a:defRPr sz="2800" kern="1200">
                          <a:solidFill>
                            <a:schemeClr val="tx1"/>
                          </a:solidFill>
                          <a:latin typeface="Calibri" panose="020F0502020204030204" charset="0"/>
                          <a:ea typeface="宋体" panose="02010600030101010101" pitchFamily="2" charset="-122"/>
                          <a:sym typeface="Calibri" panose="020F0502020204030204" charset="0"/>
                        </a:defRPr>
                      </a:lvl1pPr>
                      <a:lvl2pPr marL="685800" lvl="1" indent="-228600" algn="l" defTabSz="914400" eaLnBrk="1" fontAlgn="base" latinLnBrk="0" hangingPunct="1">
                        <a:lnSpc>
                          <a:spcPct val="90000"/>
                        </a:lnSpc>
                        <a:spcBef>
                          <a:spcPts val="500"/>
                        </a:spcBef>
                        <a:buClrTx/>
                        <a:buSzTx/>
                        <a:buFont typeface="Arial" panose="020B0604020202020204" pitchFamily="34" charset="0"/>
                        <a:buChar char="•"/>
                        <a:defRPr sz="2400" kern="1200">
                          <a:solidFill>
                            <a:schemeClr val="tx1"/>
                          </a:solidFill>
                          <a:latin typeface="Calibri" panose="020F0502020204030204" charset="0"/>
                          <a:ea typeface="宋体" panose="02010600030101010101" pitchFamily="2" charset="-122"/>
                          <a:sym typeface="Calibri" panose="020F0502020204030204" charset="0"/>
                        </a:defRPr>
                      </a:lvl2pPr>
                      <a:lvl3pPr marL="1143000" lvl="2" indent="-228600" algn="l" defTabSz="914400" eaLnBrk="1" fontAlgn="base" latinLnBrk="0" hangingPunct="1">
                        <a:lnSpc>
                          <a:spcPct val="90000"/>
                        </a:lnSpc>
                        <a:spcBef>
                          <a:spcPts val="500"/>
                        </a:spcBef>
                        <a:buClrTx/>
                        <a:buSzTx/>
                        <a:buFont typeface="Arial" panose="020B0604020202020204" pitchFamily="34" charset="0"/>
                        <a:buChar char="•"/>
                        <a:defRPr sz="2000" kern="1200">
                          <a:solidFill>
                            <a:schemeClr val="tx1"/>
                          </a:solidFill>
                          <a:latin typeface="Calibri" panose="020F0502020204030204" charset="0"/>
                          <a:ea typeface="宋体" panose="02010600030101010101" pitchFamily="2" charset="-122"/>
                          <a:sym typeface="Calibri" panose="020F0502020204030204" charset="0"/>
                        </a:defRPr>
                      </a:lvl3pPr>
                      <a:lvl4pPr marL="1600200" lvl="3" indent="-228600" algn="l" defTabSz="914400" eaLnBrk="1" fontAlgn="base" latinLnBrk="0" hangingPunct="1">
                        <a:lnSpc>
                          <a:spcPct val="90000"/>
                        </a:lnSpc>
                        <a:spcBef>
                          <a:spcPts val="500"/>
                        </a:spcBef>
                        <a:buClrTx/>
                        <a:buSzTx/>
                        <a:buFont typeface="Arial" panose="020B0604020202020204" pitchFamily="34" charset="0"/>
                        <a:buChar char="•"/>
                        <a:defRPr sz="1800" kern="1200">
                          <a:solidFill>
                            <a:schemeClr val="tx1"/>
                          </a:solidFill>
                          <a:latin typeface="Calibri" panose="020F0502020204030204" charset="0"/>
                          <a:ea typeface="宋体" panose="02010600030101010101" pitchFamily="2" charset="-122"/>
                          <a:sym typeface="Calibri" panose="020F0502020204030204" charset="0"/>
                        </a:defRPr>
                      </a:lvl4pPr>
                      <a:lvl5pPr marL="2057400" lvl="4" indent="-228600" algn="l" defTabSz="914400" eaLnBrk="1" fontAlgn="base" latinLnBrk="0" hangingPunct="1">
                        <a:lnSpc>
                          <a:spcPct val="90000"/>
                        </a:lnSpc>
                        <a:spcBef>
                          <a:spcPts val="500"/>
                        </a:spcBef>
                        <a:buClrTx/>
                        <a:buSzTx/>
                        <a:buFont typeface="Arial" panose="020B0604020202020204" pitchFamily="34" charset="0"/>
                        <a:buChar char="•"/>
                        <a:defRPr sz="1800" kern="1200">
                          <a:solidFill>
                            <a:schemeClr val="tx1"/>
                          </a:solidFill>
                          <a:latin typeface="Calibri" panose="020F0502020204030204" charset="0"/>
                          <a:ea typeface="宋体" panose="02010600030101010101" pitchFamily="2" charset="-122"/>
                          <a:sym typeface="Calibri" panose="020F0502020204030204" charset="0"/>
                        </a:defRPr>
                      </a:lvl5pPr>
                    </a:lstStyle>
                    <a:p>
                      <a:pPr marL="0" lvl="0" indent="0">
                        <a:lnSpc>
                          <a:spcPct val="100000"/>
                        </a:lnSpc>
                        <a:spcBef>
                          <a:spcPct val="0"/>
                        </a:spcBef>
                        <a:buFontTx/>
                        <a:buNone/>
                      </a:pPr>
                      <a:r>
                        <a:rPr lang="en-US" altLang="zh-CN" sz="1800" dirty="0">
                          <a:solidFill>
                            <a:srgbClr val="000000"/>
                          </a:solidFill>
                          <a:latin typeface="微软雅黑" panose="020B0503020204020204" charset="-122"/>
                          <a:ea typeface="宋体" panose="02010600030101010101" pitchFamily="2" charset="-122"/>
                          <a:sym typeface="微软雅黑" panose="020B0503020204020204" charset="-122"/>
                        </a:rPr>
                        <a:t>HTML</a:t>
                      </a:r>
                      <a:r>
                        <a:rPr lang="zh-CN" altLang="en-US" sz="1800" dirty="0">
                          <a:solidFill>
                            <a:srgbClr val="000000"/>
                          </a:solidFill>
                          <a:latin typeface="微软雅黑" panose="020B0503020204020204" charset="-122"/>
                          <a:ea typeface="宋体" panose="02010600030101010101" pitchFamily="2" charset="-122"/>
                          <a:sym typeface="微软雅黑" panose="020B0503020204020204" charset="-122"/>
                        </a:rPr>
                        <a:t>元素</a:t>
                      </a:r>
                      <a:endParaRPr lang="zh-CN" altLang="en-US" sz="1800" dirty="0">
                        <a:solidFill>
                          <a:srgbClr val="000000"/>
                        </a:solidFill>
                        <a:latin typeface="微软雅黑" panose="020B0503020204020204" charset="-122"/>
                        <a:ea typeface="宋体" panose="02010600030101010101" pitchFamily="2" charset="-122"/>
                        <a:sym typeface="微软雅黑" panose="020B0503020204020204" charset="-122"/>
                      </a:endParaRPr>
                    </a:p>
                  </a:txBody>
                  <a:tcPr vert="horz" anchor="t">
                    <a:lnL>
                      <a:noFill/>
                    </a:lnL>
                    <a:lnR>
                      <a:noFill/>
                    </a:lnR>
                    <a:lnT>
                      <a:noFill/>
                    </a:lnT>
                    <a:lnB>
                      <a:noFill/>
                    </a:lnB>
                    <a:lnTlToBr>
                      <a:noFill/>
                    </a:lnTlToBr>
                    <a:lnBlToTr>
                      <a:noFill/>
                    </a:lnBlToTr>
                    <a:noFill/>
                  </a:tcPr>
                </a:tc>
                <a:tc>
                  <a:txBody>
                    <a:bodyPr wrap="square"/>
                    <a:lstStyle>
                      <a:lvl1pPr marL="228600" lvl="0" indent="-228600" algn="l" defTabSz="914400" eaLnBrk="1" fontAlgn="base" latinLnBrk="0" hangingPunct="1">
                        <a:lnSpc>
                          <a:spcPct val="90000"/>
                        </a:lnSpc>
                        <a:spcBef>
                          <a:spcPts val="1000"/>
                        </a:spcBef>
                        <a:buClrTx/>
                        <a:buSzTx/>
                        <a:buFont typeface="Arial" panose="020B0604020202020204" pitchFamily="34" charset="0"/>
                        <a:buChar char="•"/>
                        <a:defRPr sz="2800" kern="1200">
                          <a:solidFill>
                            <a:schemeClr val="tx1"/>
                          </a:solidFill>
                          <a:latin typeface="Calibri" panose="020F0502020204030204" charset="0"/>
                          <a:ea typeface="宋体" panose="02010600030101010101" pitchFamily="2" charset="-122"/>
                          <a:sym typeface="Calibri" panose="020F0502020204030204" charset="0"/>
                        </a:defRPr>
                      </a:lvl1pPr>
                      <a:lvl2pPr marL="685800" lvl="1" indent="-228600" algn="l" defTabSz="914400" eaLnBrk="1" fontAlgn="base" latinLnBrk="0" hangingPunct="1">
                        <a:lnSpc>
                          <a:spcPct val="90000"/>
                        </a:lnSpc>
                        <a:spcBef>
                          <a:spcPts val="500"/>
                        </a:spcBef>
                        <a:buClrTx/>
                        <a:buSzTx/>
                        <a:buFont typeface="Arial" panose="020B0604020202020204" pitchFamily="34" charset="0"/>
                        <a:buChar char="•"/>
                        <a:defRPr sz="2400" kern="1200">
                          <a:solidFill>
                            <a:schemeClr val="tx1"/>
                          </a:solidFill>
                          <a:latin typeface="Calibri" panose="020F0502020204030204" charset="0"/>
                          <a:ea typeface="宋体" panose="02010600030101010101" pitchFamily="2" charset="-122"/>
                          <a:sym typeface="Calibri" panose="020F0502020204030204" charset="0"/>
                        </a:defRPr>
                      </a:lvl2pPr>
                      <a:lvl3pPr marL="1143000" lvl="2" indent="-228600" algn="l" defTabSz="914400" eaLnBrk="1" fontAlgn="base" latinLnBrk="0" hangingPunct="1">
                        <a:lnSpc>
                          <a:spcPct val="90000"/>
                        </a:lnSpc>
                        <a:spcBef>
                          <a:spcPts val="500"/>
                        </a:spcBef>
                        <a:buClrTx/>
                        <a:buSzTx/>
                        <a:buFont typeface="Arial" panose="020B0604020202020204" pitchFamily="34" charset="0"/>
                        <a:buChar char="•"/>
                        <a:defRPr sz="2000" kern="1200">
                          <a:solidFill>
                            <a:schemeClr val="tx1"/>
                          </a:solidFill>
                          <a:latin typeface="Calibri" panose="020F0502020204030204" charset="0"/>
                          <a:ea typeface="宋体" panose="02010600030101010101" pitchFamily="2" charset="-122"/>
                          <a:sym typeface="Calibri" panose="020F0502020204030204" charset="0"/>
                        </a:defRPr>
                      </a:lvl3pPr>
                      <a:lvl4pPr marL="1600200" lvl="3" indent="-228600" algn="l" defTabSz="914400" eaLnBrk="1" fontAlgn="base" latinLnBrk="0" hangingPunct="1">
                        <a:lnSpc>
                          <a:spcPct val="90000"/>
                        </a:lnSpc>
                        <a:spcBef>
                          <a:spcPts val="500"/>
                        </a:spcBef>
                        <a:buClrTx/>
                        <a:buSzTx/>
                        <a:buFont typeface="Arial" panose="020B0604020202020204" pitchFamily="34" charset="0"/>
                        <a:buChar char="•"/>
                        <a:defRPr sz="1800" kern="1200">
                          <a:solidFill>
                            <a:schemeClr val="tx1"/>
                          </a:solidFill>
                          <a:latin typeface="Calibri" panose="020F0502020204030204" charset="0"/>
                          <a:ea typeface="宋体" panose="02010600030101010101" pitchFamily="2" charset="-122"/>
                          <a:sym typeface="Calibri" panose="020F0502020204030204" charset="0"/>
                        </a:defRPr>
                      </a:lvl4pPr>
                      <a:lvl5pPr marL="2057400" lvl="4" indent="-228600" algn="l" defTabSz="914400" eaLnBrk="1" fontAlgn="base" latinLnBrk="0" hangingPunct="1">
                        <a:lnSpc>
                          <a:spcPct val="90000"/>
                        </a:lnSpc>
                        <a:spcBef>
                          <a:spcPts val="500"/>
                        </a:spcBef>
                        <a:buClrTx/>
                        <a:buSzTx/>
                        <a:buFont typeface="Arial" panose="020B0604020202020204" pitchFamily="34" charset="0"/>
                        <a:buChar char="•"/>
                        <a:defRPr sz="1800" kern="1200">
                          <a:solidFill>
                            <a:schemeClr val="tx1"/>
                          </a:solidFill>
                          <a:latin typeface="Calibri" panose="020F0502020204030204" charset="0"/>
                          <a:ea typeface="宋体" panose="02010600030101010101" pitchFamily="2" charset="-122"/>
                          <a:sym typeface="Calibri" panose="020F0502020204030204" charset="0"/>
                        </a:defRPr>
                      </a:lvl5pPr>
                    </a:lstStyle>
                    <a:p>
                      <a:pPr marL="0" lvl="0" indent="0" algn="ctr">
                        <a:lnSpc>
                          <a:spcPct val="100000"/>
                        </a:lnSpc>
                        <a:spcBef>
                          <a:spcPct val="0"/>
                        </a:spcBef>
                        <a:buFontTx/>
                        <a:buNone/>
                      </a:pPr>
                      <a:r>
                        <a:rPr lang="en-US" altLang="zh-CN" sz="1800" dirty="0">
                          <a:solidFill>
                            <a:srgbClr val="000000"/>
                          </a:solidFill>
                          <a:latin typeface="微软雅黑" panose="020B0503020204020204" charset="-122"/>
                          <a:ea typeface="宋体" panose="02010600030101010101" pitchFamily="2" charset="-122"/>
                          <a:sym typeface="微软雅黑" panose="020B0503020204020204" charset="-122"/>
                        </a:rPr>
                        <a:t>HTML5</a:t>
                      </a:r>
                      <a:r>
                        <a:rPr lang="zh-CN" altLang="en-US" sz="1800" dirty="0">
                          <a:solidFill>
                            <a:srgbClr val="000000"/>
                          </a:solidFill>
                          <a:latin typeface="微软雅黑" panose="020B0503020204020204" charset="-122"/>
                          <a:ea typeface="宋体" panose="02010600030101010101" pitchFamily="2" charset="-122"/>
                          <a:sym typeface="微软雅黑" panose="020B0503020204020204" charset="-122"/>
                        </a:rPr>
                        <a:t>中的意义</a:t>
                      </a:r>
                      <a:endParaRPr lang="zh-CN" altLang="en-US" sz="1800" dirty="0">
                        <a:solidFill>
                          <a:srgbClr val="000000"/>
                        </a:solidFill>
                        <a:latin typeface="微软雅黑" panose="020B0503020204020204" charset="-122"/>
                        <a:ea typeface="宋体" panose="02010600030101010101" pitchFamily="2" charset="-122"/>
                        <a:sym typeface="微软雅黑" panose="020B0503020204020204" charset="-122"/>
                      </a:endParaRPr>
                    </a:p>
                  </a:txBody>
                  <a:tcPr vert="horz" anchor="t">
                    <a:lnL>
                      <a:noFill/>
                    </a:lnL>
                    <a:lnR>
                      <a:noFill/>
                    </a:lnR>
                    <a:lnT>
                      <a:noFill/>
                    </a:lnT>
                    <a:lnB>
                      <a:noFill/>
                    </a:lnB>
                    <a:lnTlToBr>
                      <a:noFill/>
                    </a:lnTlToBr>
                    <a:lnBlToTr>
                      <a:noFill/>
                    </a:lnBlToTr>
                    <a:noFill/>
                  </a:tcPr>
                </a:tc>
              </a:tr>
              <a:tr h="369888">
                <a:tc>
                  <a:txBody>
                    <a:bodyPr wrap="square"/>
                    <a:lstStyle>
                      <a:lvl1pPr marL="228600" lvl="0" indent="-228600" algn="l" defTabSz="914400" eaLnBrk="1" fontAlgn="base" latinLnBrk="0" hangingPunct="1">
                        <a:lnSpc>
                          <a:spcPct val="90000"/>
                        </a:lnSpc>
                        <a:spcBef>
                          <a:spcPts val="1000"/>
                        </a:spcBef>
                        <a:buClrTx/>
                        <a:buSzTx/>
                        <a:buFont typeface="Arial" panose="020B0604020202020204" pitchFamily="34" charset="0"/>
                        <a:buChar char="•"/>
                        <a:defRPr sz="2800" kern="1200">
                          <a:solidFill>
                            <a:schemeClr val="tx1"/>
                          </a:solidFill>
                          <a:latin typeface="Calibri" panose="020F0502020204030204" charset="0"/>
                          <a:ea typeface="宋体" panose="02010600030101010101" pitchFamily="2" charset="-122"/>
                          <a:sym typeface="Calibri" panose="020F0502020204030204" charset="0"/>
                        </a:defRPr>
                      </a:lvl1pPr>
                      <a:lvl2pPr marL="685800" lvl="1" indent="-228600" algn="l" defTabSz="914400" eaLnBrk="1" fontAlgn="base" latinLnBrk="0" hangingPunct="1">
                        <a:lnSpc>
                          <a:spcPct val="90000"/>
                        </a:lnSpc>
                        <a:spcBef>
                          <a:spcPts val="500"/>
                        </a:spcBef>
                        <a:buClrTx/>
                        <a:buSzTx/>
                        <a:buFont typeface="Arial" panose="020B0604020202020204" pitchFamily="34" charset="0"/>
                        <a:buChar char="•"/>
                        <a:defRPr sz="2400" kern="1200">
                          <a:solidFill>
                            <a:schemeClr val="tx1"/>
                          </a:solidFill>
                          <a:latin typeface="Calibri" panose="020F0502020204030204" charset="0"/>
                          <a:ea typeface="宋体" panose="02010600030101010101" pitchFamily="2" charset="-122"/>
                          <a:sym typeface="Calibri" panose="020F0502020204030204" charset="0"/>
                        </a:defRPr>
                      </a:lvl2pPr>
                      <a:lvl3pPr marL="1143000" lvl="2" indent="-228600" algn="l" defTabSz="914400" eaLnBrk="1" fontAlgn="base" latinLnBrk="0" hangingPunct="1">
                        <a:lnSpc>
                          <a:spcPct val="90000"/>
                        </a:lnSpc>
                        <a:spcBef>
                          <a:spcPts val="500"/>
                        </a:spcBef>
                        <a:buClrTx/>
                        <a:buSzTx/>
                        <a:buFont typeface="Arial" panose="020B0604020202020204" pitchFamily="34" charset="0"/>
                        <a:buChar char="•"/>
                        <a:defRPr sz="2000" kern="1200">
                          <a:solidFill>
                            <a:schemeClr val="tx1"/>
                          </a:solidFill>
                          <a:latin typeface="Calibri" panose="020F0502020204030204" charset="0"/>
                          <a:ea typeface="宋体" panose="02010600030101010101" pitchFamily="2" charset="-122"/>
                          <a:sym typeface="Calibri" panose="020F0502020204030204" charset="0"/>
                        </a:defRPr>
                      </a:lvl3pPr>
                      <a:lvl4pPr marL="1600200" lvl="3" indent="-228600" algn="l" defTabSz="914400" eaLnBrk="1" fontAlgn="base" latinLnBrk="0" hangingPunct="1">
                        <a:lnSpc>
                          <a:spcPct val="90000"/>
                        </a:lnSpc>
                        <a:spcBef>
                          <a:spcPts val="500"/>
                        </a:spcBef>
                        <a:buClrTx/>
                        <a:buSzTx/>
                        <a:buFont typeface="Arial" panose="020B0604020202020204" pitchFamily="34" charset="0"/>
                        <a:buChar char="•"/>
                        <a:defRPr sz="1800" kern="1200">
                          <a:solidFill>
                            <a:schemeClr val="tx1"/>
                          </a:solidFill>
                          <a:latin typeface="Calibri" panose="020F0502020204030204" charset="0"/>
                          <a:ea typeface="宋体" panose="02010600030101010101" pitchFamily="2" charset="-122"/>
                          <a:sym typeface="Calibri" panose="020F0502020204030204" charset="0"/>
                        </a:defRPr>
                      </a:lvl4pPr>
                      <a:lvl5pPr marL="2057400" lvl="4" indent="-228600" algn="l" defTabSz="914400" eaLnBrk="1" fontAlgn="base" latinLnBrk="0" hangingPunct="1">
                        <a:lnSpc>
                          <a:spcPct val="90000"/>
                        </a:lnSpc>
                        <a:spcBef>
                          <a:spcPts val="500"/>
                        </a:spcBef>
                        <a:buClrTx/>
                        <a:buSzTx/>
                        <a:buFont typeface="Arial" panose="020B0604020202020204" pitchFamily="34" charset="0"/>
                        <a:buChar char="•"/>
                        <a:defRPr sz="1800" kern="1200">
                          <a:solidFill>
                            <a:schemeClr val="tx1"/>
                          </a:solidFill>
                          <a:latin typeface="Calibri" panose="020F0502020204030204" charset="0"/>
                          <a:ea typeface="宋体" panose="02010600030101010101" pitchFamily="2" charset="-122"/>
                          <a:sym typeface="Calibri" panose="020F0502020204030204" charset="0"/>
                        </a:defRPr>
                      </a:lvl5pPr>
                    </a:lstStyle>
                    <a:p>
                      <a:pPr marL="0" lvl="0" indent="0">
                        <a:lnSpc>
                          <a:spcPct val="100000"/>
                        </a:lnSpc>
                        <a:spcBef>
                          <a:spcPct val="0"/>
                        </a:spcBef>
                        <a:buFontTx/>
                        <a:buNone/>
                      </a:pPr>
                      <a:r>
                        <a:rPr lang="en-US" altLang="zh-CN" sz="1800" dirty="0">
                          <a:solidFill>
                            <a:srgbClr val="000000"/>
                          </a:solidFill>
                          <a:latin typeface="微软雅黑" panose="020B0503020204020204" charset="-122"/>
                          <a:ea typeface="宋体" panose="02010600030101010101" pitchFamily="2" charset="-122"/>
                          <a:sym typeface="微软雅黑" panose="020B0503020204020204" charset="-122"/>
                        </a:rPr>
                        <a:t>&lt;b&gt;</a:t>
                      </a:r>
                      <a:endParaRPr lang="zh-CN" altLang="en-US" sz="1800" dirty="0">
                        <a:solidFill>
                          <a:srgbClr val="000000"/>
                        </a:solidFill>
                        <a:latin typeface="微软雅黑" panose="020B0503020204020204" charset="-122"/>
                        <a:ea typeface="宋体" panose="02010600030101010101" pitchFamily="2" charset="-122"/>
                        <a:sym typeface="微软雅黑" panose="020B0503020204020204" charset="-122"/>
                      </a:endParaRPr>
                    </a:p>
                  </a:txBody>
                  <a:tcPr vert="horz" anchor="t">
                    <a:lnL>
                      <a:noFill/>
                    </a:lnL>
                    <a:lnR>
                      <a:noFill/>
                    </a:lnR>
                    <a:lnT>
                      <a:noFill/>
                    </a:lnT>
                    <a:lnB>
                      <a:noFill/>
                    </a:lnB>
                    <a:lnTlToBr>
                      <a:noFill/>
                    </a:lnTlToBr>
                    <a:lnBlToTr>
                      <a:noFill/>
                    </a:lnBlToTr>
                    <a:noFill/>
                  </a:tcPr>
                </a:tc>
                <a:tc>
                  <a:txBody>
                    <a:bodyPr wrap="square"/>
                    <a:lstStyle>
                      <a:lvl1pPr marL="228600" lvl="0" indent="-228600" algn="l" defTabSz="914400" eaLnBrk="1" fontAlgn="base" latinLnBrk="0" hangingPunct="1">
                        <a:lnSpc>
                          <a:spcPct val="90000"/>
                        </a:lnSpc>
                        <a:spcBef>
                          <a:spcPts val="1000"/>
                        </a:spcBef>
                        <a:buClrTx/>
                        <a:buSzTx/>
                        <a:buFont typeface="Arial" panose="020B0604020202020204" pitchFamily="34" charset="0"/>
                        <a:buChar char="•"/>
                        <a:defRPr sz="2800" kern="1200">
                          <a:solidFill>
                            <a:schemeClr val="tx1"/>
                          </a:solidFill>
                          <a:latin typeface="Calibri" panose="020F0502020204030204" charset="0"/>
                          <a:ea typeface="宋体" panose="02010600030101010101" pitchFamily="2" charset="-122"/>
                          <a:sym typeface="Calibri" panose="020F0502020204030204" charset="0"/>
                        </a:defRPr>
                      </a:lvl1pPr>
                      <a:lvl2pPr marL="685800" lvl="1" indent="-228600" algn="l" defTabSz="914400" eaLnBrk="1" fontAlgn="base" latinLnBrk="0" hangingPunct="1">
                        <a:lnSpc>
                          <a:spcPct val="90000"/>
                        </a:lnSpc>
                        <a:spcBef>
                          <a:spcPts val="500"/>
                        </a:spcBef>
                        <a:buClrTx/>
                        <a:buSzTx/>
                        <a:buFont typeface="Arial" panose="020B0604020202020204" pitchFamily="34" charset="0"/>
                        <a:buChar char="•"/>
                        <a:defRPr sz="2400" kern="1200">
                          <a:solidFill>
                            <a:schemeClr val="tx1"/>
                          </a:solidFill>
                          <a:latin typeface="Calibri" panose="020F0502020204030204" charset="0"/>
                          <a:ea typeface="宋体" panose="02010600030101010101" pitchFamily="2" charset="-122"/>
                          <a:sym typeface="Calibri" panose="020F0502020204030204" charset="0"/>
                        </a:defRPr>
                      </a:lvl2pPr>
                      <a:lvl3pPr marL="1143000" lvl="2" indent="-228600" algn="l" defTabSz="914400" eaLnBrk="1" fontAlgn="base" latinLnBrk="0" hangingPunct="1">
                        <a:lnSpc>
                          <a:spcPct val="90000"/>
                        </a:lnSpc>
                        <a:spcBef>
                          <a:spcPts val="500"/>
                        </a:spcBef>
                        <a:buClrTx/>
                        <a:buSzTx/>
                        <a:buFont typeface="Arial" panose="020B0604020202020204" pitchFamily="34" charset="0"/>
                        <a:buChar char="•"/>
                        <a:defRPr sz="2000" kern="1200">
                          <a:solidFill>
                            <a:schemeClr val="tx1"/>
                          </a:solidFill>
                          <a:latin typeface="Calibri" panose="020F0502020204030204" charset="0"/>
                          <a:ea typeface="宋体" panose="02010600030101010101" pitchFamily="2" charset="-122"/>
                          <a:sym typeface="Calibri" panose="020F0502020204030204" charset="0"/>
                        </a:defRPr>
                      </a:lvl3pPr>
                      <a:lvl4pPr marL="1600200" lvl="3" indent="-228600" algn="l" defTabSz="914400" eaLnBrk="1" fontAlgn="base" latinLnBrk="0" hangingPunct="1">
                        <a:lnSpc>
                          <a:spcPct val="90000"/>
                        </a:lnSpc>
                        <a:spcBef>
                          <a:spcPts val="500"/>
                        </a:spcBef>
                        <a:buClrTx/>
                        <a:buSzTx/>
                        <a:buFont typeface="Arial" panose="020B0604020202020204" pitchFamily="34" charset="0"/>
                        <a:buChar char="•"/>
                        <a:defRPr sz="1800" kern="1200">
                          <a:solidFill>
                            <a:schemeClr val="tx1"/>
                          </a:solidFill>
                          <a:latin typeface="Calibri" panose="020F0502020204030204" charset="0"/>
                          <a:ea typeface="宋体" panose="02010600030101010101" pitchFamily="2" charset="-122"/>
                          <a:sym typeface="Calibri" panose="020F0502020204030204" charset="0"/>
                        </a:defRPr>
                      </a:lvl4pPr>
                      <a:lvl5pPr marL="2057400" lvl="4" indent="-228600" algn="l" defTabSz="914400" eaLnBrk="1" fontAlgn="base" latinLnBrk="0" hangingPunct="1">
                        <a:lnSpc>
                          <a:spcPct val="90000"/>
                        </a:lnSpc>
                        <a:spcBef>
                          <a:spcPts val="500"/>
                        </a:spcBef>
                        <a:buClrTx/>
                        <a:buSzTx/>
                        <a:buFont typeface="Arial" panose="020B0604020202020204" pitchFamily="34" charset="0"/>
                        <a:buChar char="•"/>
                        <a:defRPr sz="1800" kern="1200">
                          <a:solidFill>
                            <a:schemeClr val="tx1"/>
                          </a:solidFill>
                          <a:latin typeface="Calibri" panose="020F0502020204030204" charset="0"/>
                          <a:ea typeface="宋体" panose="02010600030101010101" pitchFamily="2" charset="-122"/>
                          <a:sym typeface="Calibri" panose="020F0502020204030204" charset="0"/>
                        </a:defRPr>
                      </a:lvl5pPr>
                    </a:lstStyle>
                    <a:p>
                      <a:pPr marL="0" lvl="0" indent="0">
                        <a:lnSpc>
                          <a:spcPct val="100000"/>
                        </a:lnSpc>
                        <a:spcBef>
                          <a:spcPct val="0"/>
                        </a:spcBef>
                        <a:buFontTx/>
                        <a:buNone/>
                      </a:pPr>
                      <a:r>
                        <a:rPr lang="zh-CN" altLang="en-US" sz="1800">
                          <a:solidFill>
                            <a:srgbClr val="000000"/>
                          </a:solidFill>
                          <a:latin typeface="微软雅黑" panose="020B0503020204020204" charset="-122"/>
                          <a:ea typeface="宋体" panose="02010600030101010101" pitchFamily="2" charset="-122"/>
                          <a:sym typeface="微软雅黑" panose="020B0503020204020204" charset="-122"/>
                        </a:rPr>
                        <a:t>代表内联文本，通常是粗体，没有传递表示重要的意思</a:t>
                      </a:r>
                      <a:endParaRPr lang="zh-CN" altLang="en-US" sz="1800">
                        <a:solidFill>
                          <a:srgbClr val="000000"/>
                        </a:solidFill>
                        <a:latin typeface="微软雅黑" panose="020B0503020204020204" charset="-122"/>
                        <a:ea typeface="宋体" panose="02010600030101010101" pitchFamily="2" charset="-122"/>
                        <a:sym typeface="微软雅黑" panose="020B0503020204020204" charset="-122"/>
                      </a:endParaRPr>
                    </a:p>
                  </a:txBody>
                  <a:tcPr vert="horz" anchor="t">
                    <a:lnL>
                      <a:noFill/>
                    </a:lnL>
                    <a:lnR>
                      <a:noFill/>
                    </a:lnR>
                    <a:lnT>
                      <a:noFill/>
                    </a:lnT>
                    <a:lnB>
                      <a:noFill/>
                    </a:lnB>
                    <a:lnTlToBr>
                      <a:noFill/>
                    </a:lnTlToBr>
                    <a:lnBlToTr>
                      <a:noFill/>
                    </a:lnBlToTr>
                    <a:noFill/>
                  </a:tcPr>
                </a:tc>
              </a:tr>
              <a:tr h="371475">
                <a:tc>
                  <a:txBody>
                    <a:bodyPr wrap="square"/>
                    <a:lstStyle>
                      <a:lvl1pPr marL="228600" lvl="0" indent="-228600" algn="l" defTabSz="914400" eaLnBrk="1" fontAlgn="base" latinLnBrk="0" hangingPunct="1">
                        <a:lnSpc>
                          <a:spcPct val="90000"/>
                        </a:lnSpc>
                        <a:spcBef>
                          <a:spcPts val="1000"/>
                        </a:spcBef>
                        <a:buClrTx/>
                        <a:buSzTx/>
                        <a:buFont typeface="Arial" panose="020B0604020202020204" pitchFamily="34" charset="0"/>
                        <a:buChar char="•"/>
                        <a:defRPr sz="2800" kern="1200">
                          <a:solidFill>
                            <a:schemeClr val="tx1"/>
                          </a:solidFill>
                          <a:latin typeface="Calibri" panose="020F0502020204030204" charset="0"/>
                          <a:ea typeface="宋体" panose="02010600030101010101" pitchFamily="2" charset="-122"/>
                          <a:sym typeface="Calibri" panose="020F0502020204030204" charset="0"/>
                        </a:defRPr>
                      </a:lvl1pPr>
                      <a:lvl2pPr marL="685800" lvl="1" indent="-228600" algn="l" defTabSz="914400" eaLnBrk="1" fontAlgn="base" latinLnBrk="0" hangingPunct="1">
                        <a:lnSpc>
                          <a:spcPct val="90000"/>
                        </a:lnSpc>
                        <a:spcBef>
                          <a:spcPts val="500"/>
                        </a:spcBef>
                        <a:buClrTx/>
                        <a:buSzTx/>
                        <a:buFont typeface="Arial" panose="020B0604020202020204" pitchFamily="34" charset="0"/>
                        <a:buChar char="•"/>
                        <a:defRPr sz="2400" kern="1200">
                          <a:solidFill>
                            <a:schemeClr val="tx1"/>
                          </a:solidFill>
                          <a:latin typeface="Calibri" panose="020F0502020204030204" charset="0"/>
                          <a:ea typeface="宋体" panose="02010600030101010101" pitchFamily="2" charset="-122"/>
                          <a:sym typeface="Calibri" panose="020F0502020204030204" charset="0"/>
                        </a:defRPr>
                      </a:lvl2pPr>
                      <a:lvl3pPr marL="1143000" lvl="2" indent="-228600" algn="l" defTabSz="914400" eaLnBrk="1" fontAlgn="base" latinLnBrk="0" hangingPunct="1">
                        <a:lnSpc>
                          <a:spcPct val="90000"/>
                        </a:lnSpc>
                        <a:spcBef>
                          <a:spcPts val="500"/>
                        </a:spcBef>
                        <a:buClrTx/>
                        <a:buSzTx/>
                        <a:buFont typeface="Arial" panose="020B0604020202020204" pitchFamily="34" charset="0"/>
                        <a:buChar char="•"/>
                        <a:defRPr sz="2000" kern="1200">
                          <a:solidFill>
                            <a:schemeClr val="tx1"/>
                          </a:solidFill>
                          <a:latin typeface="Calibri" panose="020F0502020204030204" charset="0"/>
                          <a:ea typeface="宋体" panose="02010600030101010101" pitchFamily="2" charset="-122"/>
                          <a:sym typeface="Calibri" panose="020F0502020204030204" charset="0"/>
                        </a:defRPr>
                      </a:lvl3pPr>
                      <a:lvl4pPr marL="1600200" lvl="3" indent="-228600" algn="l" defTabSz="914400" eaLnBrk="1" fontAlgn="base" latinLnBrk="0" hangingPunct="1">
                        <a:lnSpc>
                          <a:spcPct val="90000"/>
                        </a:lnSpc>
                        <a:spcBef>
                          <a:spcPts val="500"/>
                        </a:spcBef>
                        <a:buClrTx/>
                        <a:buSzTx/>
                        <a:buFont typeface="Arial" panose="020B0604020202020204" pitchFamily="34" charset="0"/>
                        <a:buChar char="•"/>
                        <a:defRPr sz="1800" kern="1200">
                          <a:solidFill>
                            <a:schemeClr val="tx1"/>
                          </a:solidFill>
                          <a:latin typeface="Calibri" panose="020F0502020204030204" charset="0"/>
                          <a:ea typeface="宋体" panose="02010600030101010101" pitchFamily="2" charset="-122"/>
                          <a:sym typeface="Calibri" panose="020F0502020204030204" charset="0"/>
                        </a:defRPr>
                      </a:lvl4pPr>
                      <a:lvl5pPr marL="2057400" lvl="4" indent="-228600" algn="l" defTabSz="914400" eaLnBrk="1" fontAlgn="base" latinLnBrk="0" hangingPunct="1">
                        <a:lnSpc>
                          <a:spcPct val="90000"/>
                        </a:lnSpc>
                        <a:spcBef>
                          <a:spcPts val="500"/>
                        </a:spcBef>
                        <a:buClrTx/>
                        <a:buSzTx/>
                        <a:buFont typeface="Arial" panose="020B0604020202020204" pitchFamily="34" charset="0"/>
                        <a:buChar char="•"/>
                        <a:defRPr sz="1800" kern="1200">
                          <a:solidFill>
                            <a:schemeClr val="tx1"/>
                          </a:solidFill>
                          <a:latin typeface="Calibri" panose="020F0502020204030204" charset="0"/>
                          <a:ea typeface="宋体" panose="02010600030101010101" pitchFamily="2" charset="-122"/>
                          <a:sym typeface="Calibri" panose="020F0502020204030204" charset="0"/>
                        </a:defRPr>
                      </a:lvl5pPr>
                    </a:lstStyle>
                    <a:p>
                      <a:pPr marL="0" lvl="0" indent="0">
                        <a:lnSpc>
                          <a:spcPct val="100000"/>
                        </a:lnSpc>
                        <a:spcBef>
                          <a:spcPct val="0"/>
                        </a:spcBef>
                        <a:buFontTx/>
                        <a:buNone/>
                      </a:pPr>
                      <a:r>
                        <a:rPr lang="en-US" altLang="zh-CN" sz="1800" dirty="0">
                          <a:solidFill>
                            <a:srgbClr val="000000"/>
                          </a:solidFill>
                          <a:latin typeface="微软雅黑" panose="020B0503020204020204" charset="-122"/>
                          <a:ea typeface="宋体" panose="02010600030101010101" pitchFamily="2" charset="-122"/>
                          <a:sym typeface="微软雅黑" panose="020B0503020204020204" charset="-122"/>
                        </a:rPr>
                        <a:t>&lt;</a:t>
                      </a:r>
                      <a:r>
                        <a:rPr lang="en-US" altLang="zh-CN" sz="1800" dirty="0">
                          <a:solidFill>
                            <a:srgbClr val="000000"/>
                          </a:solidFill>
                          <a:latin typeface="微软雅黑" panose="020B0503020204020204" charset="-122"/>
                          <a:ea typeface="宋体" panose="02010600030101010101" pitchFamily="2" charset="-122"/>
                          <a:sym typeface="微软雅黑" panose="020B0503020204020204" charset="-122"/>
                        </a:rPr>
                        <a:t>i</a:t>
                      </a:r>
                      <a:r>
                        <a:rPr lang="en-US" altLang="zh-CN" sz="1800" dirty="0">
                          <a:solidFill>
                            <a:srgbClr val="000000"/>
                          </a:solidFill>
                          <a:latin typeface="微软雅黑" panose="020B0503020204020204" charset="-122"/>
                          <a:ea typeface="宋体" panose="02010600030101010101" pitchFamily="2" charset="-122"/>
                          <a:sym typeface="微软雅黑" panose="020B0503020204020204" charset="-122"/>
                        </a:rPr>
                        <a:t>&gt;</a:t>
                      </a:r>
                      <a:endParaRPr lang="zh-CN" altLang="en-US" sz="1800" dirty="0">
                        <a:solidFill>
                          <a:srgbClr val="000000"/>
                        </a:solidFill>
                        <a:latin typeface="微软雅黑" panose="020B0503020204020204" charset="-122"/>
                        <a:ea typeface="宋体" panose="02010600030101010101" pitchFamily="2" charset="-122"/>
                        <a:sym typeface="微软雅黑" panose="020B0503020204020204" charset="-122"/>
                      </a:endParaRPr>
                    </a:p>
                  </a:txBody>
                  <a:tcPr vert="horz" anchor="t">
                    <a:lnL>
                      <a:noFill/>
                    </a:lnL>
                    <a:lnR>
                      <a:noFill/>
                    </a:lnR>
                    <a:lnT>
                      <a:noFill/>
                    </a:lnT>
                    <a:lnB>
                      <a:noFill/>
                    </a:lnB>
                    <a:lnTlToBr>
                      <a:noFill/>
                    </a:lnTlToBr>
                    <a:lnBlToTr>
                      <a:noFill/>
                    </a:lnBlToTr>
                    <a:noFill/>
                  </a:tcPr>
                </a:tc>
                <a:tc>
                  <a:txBody>
                    <a:bodyPr wrap="square"/>
                    <a:lstStyle>
                      <a:lvl1pPr marL="228600" lvl="0" indent="-228600" algn="l" defTabSz="914400" eaLnBrk="1" fontAlgn="base" latinLnBrk="0" hangingPunct="1">
                        <a:lnSpc>
                          <a:spcPct val="90000"/>
                        </a:lnSpc>
                        <a:spcBef>
                          <a:spcPts val="1000"/>
                        </a:spcBef>
                        <a:buClrTx/>
                        <a:buSzTx/>
                        <a:buFont typeface="Arial" panose="020B0604020202020204" pitchFamily="34" charset="0"/>
                        <a:buChar char="•"/>
                        <a:defRPr sz="2800" kern="1200">
                          <a:solidFill>
                            <a:schemeClr val="tx1"/>
                          </a:solidFill>
                          <a:latin typeface="Calibri" panose="020F0502020204030204" charset="0"/>
                          <a:ea typeface="宋体" panose="02010600030101010101" pitchFamily="2" charset="-122"/>
                          <a:sym typeface="Calibri" panose="020F0502020204030204" charset="0"/>
                        </a:defRPr>
                      </a:lvl1pPr>
                      <a:lvl2pPr marL="685800" lvl="1" indent="-228600" algn="l" defTabSz="914400" eaLnBrk="1" fontAlgn="base" latinLnBrk="0" hangingPunct="1">
                        <a:lnSpc>
                          <a:spcPct val="90000"/>
                        </a:lnSpc>
                        <a:spcBef>
                          <a:spcPts val="500"/>
                        </a:spcBef>
                        <a:buClrTx/>
                        <a:buSzTx/>
                        <a:buFont typeface="Arial" panose="020B0604020202020204" pitchFamily="34" charset="0"/>
                        <a:buChar char="•"/>
                        <a:defRPr sz="2400" kern="1200">
                          <a:solidFill>
                            <a:schemeClr val="tx1"/>
                          </a:solidFill>
                          <a:latin typeface="Calibri" panose="020F0502020204030204" charset="0"/>
                          <a:ea typeface="宋体" panose="02010600030101010101" pitchFamily="2" charset="-122"/>
                          <a:sym typeface="Calibri" panose="020F0502020204030204" charset="0"/>
                        </a:defRPr>
                      </a:lvl2pPr>
                      <a:lvl3pPr marL="1143000" lvl="2" indent="-228600" algn="l" defTabSz="914400" eaLnBrk="1" fontAlgn="base" latinLnBrk="0" hangingPunct="1">
                        <a:lnSpc>
                          <a:spcPct val="90000"/>
                        </a:lnSpc>
                        <a:spcBef>
                          <a:spcPts val="500"/>
                        </a:spcBef>
                        <a:buClrTx/>
                        <a:buSzTx/>
                        <a:buFont typeface="Arial" panose="020B0604020202020204" pitchFamily="34" charset="0"/>
                        <a:buChar char="•"/>
                        <a:defRPr sz="2000" kern="1200">
                          <a:solidFill>
                            <a:schemeClr val="tx1"/>
                          </a:solidFill>
                          <a:latin typeface="Calibri" panose="020F0502020204030204" charset="0"/>
                          <a:ea typeface="宋体" panose="02010600030101010101" pitchFamily="2" charset="-122"/>
                          <a:sym typeface="Calibri" panose="020F0502020204030204" charset="0"/>
                        </a:defRPr>
                      </a:lvl3pPr>
                      <a:lvl4pPr marL="1600200" lvl="3" indent="-228600" algn="l" defTabSz="914400" eaLnBrk="1" fontAlgn="base" latinLnBrk="0" hangingPunct="1">
                        <a:lnSpc>
                          <a:spcPct val="90000"/>
                        </a:lnSpc>
                        <a:spcBef>
                          <a:spcPts val="500"/>
                        </a:spcBef>
                        <a:buClrTx/>
                        <a:buSzTx/>
                        <a:buFont typeface="Arial" panose="020B0604020202020204" pitchFamily="34" charset="0"/>
                        <a:buChar char="•"/>
                        <a:defRPr sz="1800" kern="1200">
                          <a:solidFill>
                            <a:schemeClr val="tx1"/>
                          </a:solidFill>
                          <a:latin typeface="Calibri" panose="020F0502020204030204" charset="0"/>
                          <a:ea typeface="宋体" panose="02010600030101010101" pitchFamily="2" charset="-122"/>
                          <a:sym typeface="Calibri" panose="020F0502020204030204" charset="0"/>
                        </a:defRPr>
                      </a:lvl4pPr>
                      <a:lvl5pPr marL="2057400" lvl="4" indent="-228600" algn="l" defTabSz="914400" eaLnBrk="1" fontAlgn="base" latinLnBrk="0" hangingPunct="1">
                        <a:lnSpc>
                          <a:spcPct val="90000"/>
                        </a:lnSpc>
                        <a:spcBef>
                          <a:spcPts val="500"/>
                        </a:spcBef>
                        <a:buClrTx/>
                        <a:buSzTx/>
                        <a:buFont typeface="Arial" panose="020B0604020202020204" pitchFamily="34" charset="0"/>
                        <a:buChar char="•"/>
                        <a:defRPr sz="1800" kern="1200">
                          <a:solidFill>
                            <a:schemeClr val="tx1"/>
                          </a:solidFill>
                          <a:latin typeface="Calibri" panose="020F0502020204030204" charset="0"/>
                          <a:ea typeface="宋体" panose="02010600030101010101" pitchFamily="2" charset="-122"/>
                          <a:sym typeface="Calibri" panose="020F0502020204030204" charset="0"/>
                        </a:defRPr>
                      </a:lvl5pPr>
                    </a:lstStyle>
                    <a:p>
                      <a:pPr marL="0" lvl="0" indent="0" algn="l" eaLnBrk="1" fontAlgn="base" latinLnBrk="0" hangingPunct="1">
                        <a:lnSpc>
                          <a:spcPct val="100000"/>
                        </a:lnSpc>
                        <a:spcBef>
                          <a:spcPct val="0"/>
                        </a:spcBef>
                        <a:spcAft>
                          <a:spcPct val="0"/>
                        </a:spcAft>
                        <a:buFontTx/>
                        <a:buNone/>
                      </a:pPr>
                      <a:r>
                        <a:rPr lang="zh-CN" altLang="en-US" sz="1800">
                          <a:solidFill>
                            <a:srgbClr val="000000"/>
                          </a:solidFill>
                          <a:latin typeface="微软雅黑" panose="020B0503020204020204" charset="-122"/>
                          <a:ea typeface="宋体" panose="02010600030101010101" pitchFamily="2" charset="-122"/>
                          <a:sym typeface="微软雅黑" panose="020B0503020204020204" charset="-122"/>
                        </a:rPr>
                        <a:t>代表内联文本，通常是斜体，没有传递表示重要的意思</a:t>
                      </a:r>
                      <a:endParaRPr lang="zh-CN" altLang="en-US"/>
                    </a:p>
                  </a:txBody>
                  <a:tcPr vert="horz" anchor="t">
                    <a:lnL>
                      <a:noFill/>
                    </a:lnL>
                    <a:lnR>
                      <a:noFill/>
                    </a:lnR>
                    <a:lnT>
                      <a:noFill/>
                    </a:lnT>
                    <a:lnB>
                      <a:noFill/>
                    </a:lnB>
                    <a:lnTlToBr>
                      <a:noFill/>
                    </a:lnTlToBr>
                    <a:lnBlToTr>
                      <a:noFill/>
                    </a:lnBlToTr>
                    <a:noFill/>
                  </a:tcPr>
                </a:tc>
              </a:tr>
              <a:tr h="369887">
                <a:tc>
                  <a:txBody>
                    <a:bodyPr wrap="square"/>
                    <a:lstStyle>
                      <a:lvl1pPr marL="228600" lvl="0" indent="-228600" algn="l" defTabSz="914400" eaLnBrk="1" fontAlgn="base" latinLnBrk="0" hangingPunct="1">
                        <a:lnSpc>
                          <a:spcPct val="90000"/>
                        </a:lnSpc>
                        <a:spcBef>
                          <a:spcPts val="1000"/>
                        </a:spcBef>
                        <a:buClrTx/>
                        <a:buSzTx/>
                        <a:buFont typeface="Arial" panose="020B0604020202020204" pitchFamily="34" charset="0"/>
                        <a:buChar char="•"/>
                        <a:defRPr sz="2800" kern="1200">
                          <a:solidFill>
                            <a:schemeClr val="tx1"/>
                          </a:solidFill>
                          <a:latin typeface="Calibri" panose="020F0502020204030204" charset="0"/>
                          <a:ea typeface="宋体" panose="02010600030101010101" pitchFamily="2" charset="-122"/>
                          <a:sym typeface="Calibri" panose="020F0502020204030204" charset="0"/>
                        </a:defRPr>
                      </a:lvl1pPr>
                      <a:lvl2pPr marL="685800" lvl="1" indent="-228600" algn="l" defTabSz="914400" eaLnBrk="1" fontAlgn="base" latinLnBrk="0" hangingPunct="1">
                        <a:lnSpc>
                          <a:spcPct val="90000"/>
                        </a:lnSpc>
                        <a:spcBef>
                          <a:spcPts val="500"/>
                        </a:spcBef>
                        <a:buClrTx/>
                        <a:buSzTx/>
                        <a:buFont typeface="Arial" panose="020B0604020202020204" pitchFamily="34" charset="0"/>
                        <a:buChar char="•"/>
                        <a:defRPr sz="2400" kern="1200">
                          <a:solidFill>
                            <a:schemeClr val="tx1"/>
                          </a:solidFill>
                          <a:latin typeface="Calibri" panose="020F0502020204030204" charset="0"/>
                          <a:ea typeface="宋体" panose="02010600030101010101" pitchFamily="2" charset="-122"/>
                          <a:sym typeface="Calibri" panose="020F0502020204030204" charset="0"/>
                        </a:defRPr>
                      </a:lvl2pPr>
                      <a:lvl3pPr marL="1143000" lvl="2" indent="-228600" algn="l" defTabSz="914400" eaLnBrk="1" fontAlgn="base" latinLnBrk="0" hangingPunct="1">
                        <a:lnSpc>
                          <a:spcPct val="90000"/>
                        </a:lnSpc>
                        <a:spcBef>
                          <a:spcPts val="500"/>
                        </a:spcBef>
                        <a:buClrTx/>
                        <a:buSzTx/>
                        <a:buFont typeface="Arial" panose="020B0604020202020204" pitchFamily="34" charset="0"/>
                        <a:buChar char="•"/>
                        <a:defRPr sz="2000" kern="1200">
                          <a:solidFill>
                            <a:schemeClr val="tx1"/>
                          </a:solidFill>
                          <a:latin typeface="Calibri" panose="020F0502020204030204" charset="0"/>
                          <a:ea typeface="宋体" panose="02010600030101010101" pitchFamily="2" charset="-122"/>
                          <a:sym typeface="Calibri" panose="020F0502020204030204" charset="0"/>
                        </a:defRPr>
                      </a:lvl3pPr>
                      <a:lvl4pPr marL="1600200" lvl="3" indent="-228600" algn="l" defTabSz="914400" eaLnBrk="1" fontAlgn="base" latinLnBrk="0" hangingPunct="1">
                        <a:lnSpc>
                          <a:spcPct val="90000"/>
                        </a:lnSpc>
                        <a:spcBef>
                          <a:spcPts val="500"/>
                        </a:spcBef>
                        <a:buClrTx/>
                        <a:buSzTx/>
                        <a:buFont typeface="Arial" panose="020B0604020202020204" pitchFamily="34" charset="0"/>
                        <a:buChar char="•"/>
                        <a:defRPr sz="1800" kern="1200">
                          <a:solidFill>
                            <a:schemeClr val="tx1"/>
                          </a:solidFill>
                          <a:latin typeface="Calibri" panose="020F0502020204030204" charset="0"/>
                          <a:ea typeface="宋体" panose="02010600030101010101" pitchFamily="2" charset="-122"/>
                          <a:sym typeface="Calibri" panose="020F0502020204030204" charset="0"/>
                        </a:defRPr>
                      </a:lvl4pPr>
                      <a:lvl5pPr marL="2057400" lvl="4" indent="-228600" algn="l" defTabSz="914400" eaLnBrk="1" fontAlgn="base" latinLnBrk="0" hangingPunct="1">
                        <a:lnSpc>
                          <a:spcPct val="90000"/>
                        </a:lnSpc>
                        <a:spcBef>
                          <a:spcPts val="500"/>
                        </a:spcBef>
                        <a:buClrTx/>
                        <a:buSzTx/>
                        <a:buFont typeface="Arial" panose="020B0604020202020204" pitchFamily="34" charset="0"/>
                        <a:buChar char="•"/>
                        <a:defRPr sz="1800" kern="1200">
                          <a:solidFill>
                            <a:schemeClr val="tx1"/>
                          </a:solidFill>
                          <a:latin typeface="Calibri" panose="020F0502020204030204" charset="0"/>
                          <a:ea typeface="宋体" panose="02010600030101010101" pitchFamily="2" charset="-122"/>
                          <a:sym typeface="Calibri" panose="020F0502020204030204" charset="0"/>
                        </a:defRPr>
                      </a:lvl5pPr>
                    </a:lstStyle>
                    <a:p>
                      <a:pPr marL="0" lvl="0" indent="0">
                        <a:lnSpc>
                          <a:spcPct val="100000"/>
                        </a:lnSpc>
                        <a:spcBef>
                          <a:spcPct val="0"/>
                        </a:spcBef>
                        <a:buFontTx/>
                        <a:buNone/>
                      </a:pPr>
                      <a:r>
                        <a:rPr lang="en-US" altLang="zh-CN" sz="1800" dirty="0">
                          <a:solidFill>
                            <a:srgbClr val="000000"/>
                          </a:solidFill>
                          <a:latin typeface="微软雅黑" panose="020B0503020204020204" charset="-122"/>
                          <a:ea typeface="宋体" panose="02010600030101010101" pitchFamily="2" charset="-122"/>
                          <a:sym typeface="微软雅黑" panose="020B0503020204020204" charset="-122"/>
                        </a:rPr>
                        <a:t>&lt;</a:t>
                      </a:r>
                      <a:r>
                        <a:rPr lang="en-US" altLang="zh-CN" sz="1800" dirty="0">
                          <a:solidFill>
                            <a:srgbClr val="000000"/>
                          </a:solidFill>
                          <a:latin typeface="微软雅黑" panose="020B0503020204020204" charset="-122"/>
                          <a:ea typeface="宋体" panose="02010600030101010101" pitchFamily="2" charset="-122"/>
                          <a:sym typeface="微软雅黑" panose="020B0503020204020204" charset="-122"/>
                        </a:rPr>
                        <a:t>dd</a:t>
                      </a:r>
                      <a:r>
                        <a:rPr lang="en-US" altLang="zh-CN" sz="1800" dirty="0">
                          <a:solidFill>
                            <a:srgbClr val="000000"/>
                          </a:solidFill>
                          <a:latin typeface="微软雅黑" panose="020B0503020204020204" charset="-122"/>
                          <a:ea typeface="宋体" panose="02010600030101010101" pitchFamily="2" charset="-122"/>
                          <a:sym typeface="微软雅黑" panose="020B0503020204020204" charset="-122"/>
                        </a:rPr>
                        <a:t>&gt;</a:t>
                      </a:r>
                      <a:endParaRPr lang="zh-CN" altLang="en-US" sz="1800" dirty="0">
                        <a:solidFill>
                          <a:srgbClr val="000000"/>
                        </a:solidFill>
                        <a:latin typeface="微软雅黑" panose="020B0503020204020204" charset="-122"/>
                        <a:ea typeface="宋体" panose="02010600030101010101" pitchFamily="2" charset="-122"/>
                        <a:sym typeface="微软雅黑" panose="020B0503020204020204" charset="-122"/>
                      </a:endParaRPr>
                    </a:p>
                  </a:txBody>
                  <a:tcPr vert="horz" anchor="t">
                    <a:lnL>
                      <a:noFill/>
                    </a:lnL>
                    <a:lnR>
                      <a:noFill/>
                    </a:lnR>
                    <a:lnT>
                      <a:noFill/>
                    </a:lnT>
                    <a:lnB>
                      <a:noFill/>
                    </a:lnB>
                    <a:lnTlToBr>
                      <a:noFill/>
                    </a:lnTlToBr>
                    <a:lnBlToTr>
                      <a:noFill/>
                    </a:lnBlToTr>
                    <a:noFill/>
                  </a:tcPr>
                </a:tc>
                <a:tc>
                  <a:txBody>
                    <a:bodyPr wrap="square"/>
                    <a:lstStyle>
                      <a:lvl1pPr marL="228600" lvl="0" indent="-228600" algn="l" defTabSz="914400" eaLnBrk="1" fontAlgn="base" latinLnBrk="0" hangingPunct="1">
                        <a:lnSpc>
                          <a:spcPct val="90000"/>
                        </a:lnSpc>
                        <a:spcBef>
                          <a:spcPts val="1000"/>
                        </a:spcBef>
                        <a:buClrTx/>
                        <a:buSzTx/>
                        <a:buFont typeface="Arial" panose="020B0604020202020204" pitchFamily="34" charset="0"/>
                        <a:buChar char="•"/>
                        <a:defRPr sz="2800" kern="1200">
                          <a:solidFill>
                            <a:schemeClr val="tx1"/>
                          </a:solidFill>
                          <a:latin typeface="Calibri" panose="020F0502020204030204" charset="0"/>
                          <a:ea typeface="宋体" panose="02010600030101010101" pitchFamily="2" charset="-122"/>
                          <a:sym typeface="Calibri" panose="020F0502020204030204" charset="0"/>
                        </a:defRPr>
                      </a:lvl1pPr>
                      <a:lvl2pPr marL="685800" lvl="1" indent="-228600" algn="l" defTabSz="914400" eaLnBrk="1" fontAlgn="base" latinLnBrk="0" hangingPunct="1">
                        <a:lnSpc>
                          <a:spcPct val="90000"/>
                        </a:lnSpc>
                        <a:spcBef>
                          <a:spcPts val="500"/>
                        </a:spcBef>
                        <a:buClrTx/>
                        <a:buSzTx/>
                        <a:buFont typeface="Arial" panose="020B0604020202020204" pitchFamily="34" charset="0"/>
                        <a:buChar char="•"/>
                        <a:defRPr sz="2400" kern="1200">
                          <a:solidFill>
                            <a:schemeClr val="tx1"/>
                          </a:solidFill>
                          <a:latin typeface="Calibri" panose="020F0502020204030204" charset="0"/>
                          <a:ea typeface="宋体" panose="02010600030101010101" pitchFamily="2" charset="-122"/>
                          <a:sym typeface="Calibri" panose="020F0502020204030204" charset="0"/>
                        </a:defRPr>
                      </a:lvl2pPr>
                      <a:lvl3pPr marL="1143000" lvl="2" indent="-228600" algn="l" defTabSz="914400" eaLnBrk="1" fontAlgn="base" latinLnBrk="0" hangingPunct="1">
                        <a:lnSpc>
                          <a:spcPct val="90000"/>
                        </a:lnSpc>
                        <a:spcBef>
                          <a:spcPts val="500"/>
                        </a:spcBef>
                        <a:buClrTx/>
                        <a:buSzTx/>
                        <a:buFont typeface="Arial" panose="020B0604020202020204" pitchFamily="34" charset="0"/>
                        <a:buChar char="•"/>
                        <a:defRPr sz="2000" kern="1200">
                          <a:solidFill>
                            <a:schemeClr val="tx1"/>
                          </a:solidFill>
                          <a:latin typeface="Calibri" panose="020F0502020204030204" charset="0"/>
                          <a:ea typeface="宋体" panose="02010600030101010101" pitchFamily="2" charset="-122"/>
                          <a:sym typeface="Calibri" panose="020F0502020204030204" charset="0"/>
                        </a:defRPr>
                      </a:lvl3pPr>
                      <a:lvl4pPr marL="1600200" lvl="3" indent="-228600" algn="l" defTabSz="914400" eaLnBrk="1" fontAlgn="base" latinLnBrk="0" hangingPunct="1">
                        <a:lnSpc>
                          <a:spcPct val="90000"/>
                        </a:lnSpc>
                        <a:spcBef>
                          <a:spcPts val="500"/>
                        </a:spcBef>
                        <a:buClrTx/>
                        <a:buSzTx/>
                        <a:buFont typeface="Arial" panose="020B0604020202020204" pitchFamily="34" charset="0"/>
                        <a:buChar char="•"/>
                        <a:defRPr sz="1800" kern="1200">
                          <a:solidFill>
                            <a:schemeClr val="tx1"/>
                          </a:solidFill>
                          <a:latin typeface="Calibri" panose="020F0502020204030204" charset="0"/>
                          <a:ea typeface="宋体" panose="02010600030101010101" pitchFamily="2" charset="-122"/>
                          <a:sym typeface="Calibri" panose="020F0502020204030204" charset="0"/>
                        </a:defRPr>
                      </a:lvl4pPr>
                      <a:lvl5pPr marL="2057400" lvl="4" indent="-228600" algn="l" defTabSz="914400" eaLnBrk="1" fontAlgn="base" latinLnBrk="0" hangingPunct="1">
                        <a:lnSpc>
                          <a:spcPct val="90000"/>
                        </a:lnSpc>
                        <a:spcBef>
                          <a:spcPts val="500"/>
                        </a:spcBef>
                        <a:buClrTx/>
                        <a:buSzTx/>
                        <a:buFont typeface="Arial" panose="020B0604020202020204" pitchFamily="34" charset="0"/>
                        <a:buChar char="•"/>
                        <a:defRPr sz="1800" kern="1200">
                          <a:solidFill>
                            <a:schemeClr val="tx1"/>
                          </a:solidFill>
                          <a:latin typeface="Calibri" panose="020F0502020204030204" charset="0"/>
                          <a:ea typeface="宋体" panose="02010600030101010101" pitchFamily="2" charset="-122"/>
                          <a:sym typeface="Calibri" panose="020F0502020204030204" charset="0"/>
                        </a:defRPr>
                      </a:lvl5pPr>
                    </a:lstStyle>
                    <a:p>
                      <a:pPr marL="0" lvl="0" indent="0">
                        <a:lnSpc>
                          <a:spcPct val="100000"/>
                        </a:lnSpc>
                        <a:spcBef>
                          <a:spcPct val="0"/>
                        </a:spcBef>
                        <a:buFontTx/>
                        <a:buNone/>
                      </a:pPr>
                      <a:r>
                        <a:rPr lang="zh-CN" altLang="en-US" sz="1800" dirty="0">
                          <a:solidFill>
                            <a:srgbClr val="000000"/>
                          </a:solidFill>
                          <a:latin typeface="微软雅黑" panose="020B0503020204020204" charset="-122"/>
                          <a:ea typeface="宋体" panose="02010600030101010101" pitchFamily="2" charset="-122"/>
                          <a:sym typeface="微软雅黑" panose="020B0503020204020204" charset="-122"/>
                        </a:rPr>
                        <a:t>可以同</a:t>
                      </a:r>
                      <a:r>
                        <a:rPr lang="en-US" altLang="zh-CN" sz="1800" dirty="0">
                          <a:solidFill>
                            <a:srgbClr val="000000"/>
                          </a:solidFill>
                          <a:latin typeface="微软雅黑" panose="020B0503020204020204" charset="-122"/>
                          <a:ea typeface="宋体" panose="02010600030101010101" pitchFamily="2" charset="-122"/>
                          <a:sym typeface="微软雅黑" panose="020B0503020204020204" charset="-122"/>
                        </a:rPr>
                        <a:t>details</a:t>
                      </a:r>
                      <a:r>
                        <a:rPr lang="zh-CN" altLang="en-US" sz="1800" dirty="0">
                          <a:solidFill>
                            <a:srgbClr val="000000"/>
                          </a:solidFill>
                          <a:latin typeface="微软雅黑" panose="020B0503020204020204" charset="-122"/>
                          <a:ea typeface="宋体" panose="02010600030101010101" pitchFamily="2" charset="-122"/>
                          <a:sym typeface="微软雅黑" panose="020B0503020204020204" charset="-122"/>
                        </a:rPr>
                        <a:t>与</a:t>
                      </a:r>
                      <a:r>
                        <a:rPr lang="en-US" altLang="zh-CN" sz="1800" dirty="0">
                          <a:solidFill>
                            <a:srgbClr val="000000"/>
                          </a:solidFill>
                          <a:latin typeface="微软雅黑" panose="020B0503020204020204" charset="-122"/>
                          <a:ea typeface="宋体" panose="02010600030101010101" pitchFamily="2" charset="-122"/>
                          <a:sym typeface="微软雅黑" panose="020B0503020204020204" charset="-122"/>
                        </a:rPr>
                        <a:t>figure</a:t>
                      </a:r>
                      <a:r>
                        <a:rPr lang="zh-CN" altLang="en-US" sz="1800" dirty="0">
                          <a:solidFill>
                            <a:srgbClr val="000000"/>
                          </a:solidFill>
                          <a:latin typeface="微软雅黑" panose="020B0503020204020204" charset="-122"/>
                          <a:ea typeface="宋体" panose="02010600030101010101" pitchFamily="2" charset="-122"/>
                          <a:sym typeface="微软雅黑" panose="020B0503020204020204" charset="-122"/>
                        </a:rPr>
                        <a:t>一同使用，定义包含文本，</a:t>
                      </a:r>
                      <a:r>
                        <a:rPr lang="en-US" altLang="zh-CN" sz="1800" dirty="0">
                          <a:solidFill>
                            <a:srgbClr val="000000"/>
                          </a:solidFill>
                          <a:latin typeface="微软雅黑" panose="020B0503020204020204" charset="-122"/>
                          <a:ea typeface="宋体" panose="02010600030101010101" pitchFamily="2" charset="-122"/>
                          <a:sym typeface="微软雅黑" panose="020B0503020204020204" charset="-122"/>
                        </a:rPr>
                        <a:t>dialog</a:t>
                      </a:r>
                      <a:r>
                        <a:rPr lang="zh-CN" altLang="en-US" sz="1800" dirty="0">
                          <a:solidFill>
                            <a:srgbClr val="000000"/>
                          </a:solidFill>
                          <a:latin typeface="微软雅黑" panose="020B0503020204020204" charset="-122"/>
                          <a:ea typeface="宋体" panose="02010600030101010101" pitchFamily="2" charset="-122"/>
                          <a:sym typeface="微软雅黑" panose="020B0503020204020204" charset="-122"/>
                        </a:rPr>
                        <a:t>也可用</a:t>
                      </a:r>
                      <a:endParaRPr lang="zh-CN" altLang="en-US" sz="1800" dirty="0">
                        <a:solidFill>
                          <a:srgbClr val="000000"/>
                        </a:solidFill>
                        <a:latin typeface="微软雅黑" panose="020B0503020204020204" charset="-122"/>
                        <a:ea typeface="宋体" panose="02010600030101010101" pitchFamily="2" charset="-122"/>
                        <a:sym typeface="微软雅黑" panose="020B0503020204020204" charset="-122"/>
                      </a:endParaRPr>
                    </a:p>
                  </a:txBody>
                  <a:tcPr vert="horz" anchor="t">
                    <a:lnL>
                      <a:noFill/>
                    </a:lnL>
                    <a:lnR>
                      <a:noFill/>
                    </a:lnR>
                    <a:lnT>
                      <a:noFill/>
                    </a:lnT>
                    <a:lnB>
                      <a:noFill/>
                    </a:lnB>
                    <a:lnTlToBr>
                      <a:noFill/>
                    </a:lnTlToBr>
                    <a:lnBlToTr>
                      <a:noFill/>
                    </a:lnBlToTr>
                    <a:noFill/>
                  </a:tcPr>
                </a:tc>
              </a:tr>
              <a:tr h="371475">
                <a:tc>
                  <a:txBody>
                    <a:bodyPr wrap="square"/>
                    <a:lstStyle>
                      <a:lvl1pPr marL="228600" lvl="0" indent="-228600" algn="l" defTabSz="914400" eaLnBrk="1" fontAlgn="base" latinLnBrk="0" hangingPunct="1">
                        <a:lnSpc>
                          <a:spcPct val="90000"/>
                        </a:lnSpc>
                        <a:spcBef>
                          <a:spcPts val="1000"/>
                        </a:spcBef>
                        <a:buClrTx/>
                        <a:buSzTx/>
                        <a:buFont typeface="Arial" panose="020B0604020202020204" pitchFamily="34" charset="0"/>
                        <a:buChar char="•"/>
                        <a:defRPr sz="2800" kern="1200">
                          <a:solidFill>
                            <a:schemeClr val="tx1"/>
                          </a:solidFill>
                          <a:latin typeface="Calibri" panose="020F0502020204030204" charset="0"/>
                          <a:ea typeface="宋体" panose="02010600030101010101" pitchFamily="2" charset="-122"/>
                          <a:sym typeface="Calibri" panose="020F0502020204030204" charset="0"/>
                        </a:defRPr>
                      </a:lvl1pPr>
                      <a:lvl2pPr marL="685800" lvl="1" indent="-228600" algn="l" defTabSz="914400" eaLnBrk="1" fontAlgn="base" latinLnBrk="0" hangingPunct="1">
                        <a:lnSpc>
                          <a:spcPct val="90000"/>
                        </a:lnSpc>
                        <a:spcBef>
                          <a:spcPts val="500"/>
                        </a:spcBef>
                        <a:buClrTx/>
                        <a:buSzTx/>
                        <a:buFont typeface="Arial" panose="020B0604020202020204" pitchFamily="34" charset="0"/>
                        <a:buChar char="•"/>
                        <a:defRPr sz="2400" kern="1200">
                          <a:solidFill>
                            <a:schemeClr val="tx1"/>
                          </a:solidFill>
                          <a:latin typeface="Calibri" panose="020F0502020204030204" charset="0"/>
                          <a:ea typeface="宋体" panose="02010600030101010101" pitchFamily="2" charset="-122"/>
                          <a:sym typeface="Calibri" panose="020F0502020204030204" charset="0"/>
                        </a:defRPr>
                      </a:lvl2pPr>
                      <a:lvl3pPr marL="1143000" lvl="2" indent="-228600" algn="l" defTabSz="914400" eaLnBrk="1" fontAlgn="base" latinLnBrk="0" hangingPunct="1">
                        <a:lnSpc>
                          <a:spcPct val="90000"/>
                        </a:lnSpc>
                        <a:spcBef>
                          <a:spcPts val="500"/>
                        </a:spcBef>
                        <a:buClrTx/>
                        <a:buSzTx/>
                        <a:buFont typeface="Arial" panose="020B0604020202020204" pitchFamily="34" charset="0"/>
                        <a:buChar char="•"/>
                        <a:defRPr sz="2000" kern="1200">
                          <a:solidFill>
                            <a:schemeClr val="tx1"/>
                          </a:solidFill>
                          <a:latin typeface="Calibri" panose="020F0502020204030204" charset="0"/>
                          <a:ea typeface="宋体" panose="02010600030101010101" pitchFamily="2" charset="-122"/>
                          <a:sym typeface="Calibri" panose="020F0502020204030204" charset="0"/>
                        </a:defRPr>
                      </a:lvl3pPr>
                      <a:lvl4pPr marL="1600200" lvl="3" indent="-228600" algn="l" defTabSz="914400" eaLnBrk="1" fontAlgn="base" latinLnBrk="0" hangingPunct="1">
                        <a:lnSpc>
                          <a:spcPct val="90000"/>
                        </a:lnSpc>
                        <a:spcBef>
                          <a:spcPts val="500"/>
                        </a:spcBef>
                        <a:buClrTx/>
                        <a:buSzTx/>
                        <a:buFont typeface="Arial" panose="020B0604020202020204" pitchFamily="34" charset="0"/>
                        <a:buChar char="•"/>
                        <a:defRPr sz="1800" kern="1200">
                          <a:solidFill>
                            <a:schemeClr val="tx1"/>
                          </a:solidFill>
                          <a:latin typeface="Calibri" panose="020F0502020204030204" charset="0"/>
                          <a:ea typeface="宋体" panose="02010600030101010101" pitchFamily="2" charset="-122"/>
                          <a:sym typeface="Calibri" panose="020F0502020204030204" charset="0"/>
                        </a:defRPr>
                      </a:lvl4pPr>
                      <a:lvl5pPr marL="2057400" lvl="4" indent="-228600" algn="l" defTabSz="914400" eaLnBrk="1" fontAlgn="base" latinLnBrk="0" hangingPunct="1">
                        <a:lnSpc>
                          <a:spcPct val="90000"/>
                        </a:lnSpc>
                        <a:spcBef>
                          <a:spcPts val="500"/>
                        </a:spcBef>
                        <a:buClrTx/>
                        <a:buSzTx/>
                        <a:buFont typeface="Arial" panose="020B0604020202020204" pitchFamily="34" charset="0"/>
                        <a:buChar char="•"/>
                        <a:defRPr sz="1800" kern="1200">
                          <a:solidFill>
                            <a:schemeClr val="tx1"/>
                          </a:solidFill>
                          <a:latin typeface="Calibri" panose="020F0502020204030204" charset="0"/>
                          <a:ea typeface="宋体" panose="02010600030101010101" pitchFamily="2" charset="-122"/>
                          <a:sym typeface="Calibri" panose="020F0502020204030204" charset="0"/>
                        </a:defRPr>
                      </a:lvl5pPr>
                    </a:lstStyle>
                    <a:p>
                      <a:pPr marL="0" lvl="0" indent="0">
                        <a:lnSpc>
                          <a:spcPct val="100000"/>
                        </a:lnSpc>
                        <a:spcBef>
                          <a:spcPct val="0"/>
                        </a:spcBef>
                        <a:buFontTx/>
                        <a:buNone/>
                      </a:pPr>
                      <a:r>
                        <a:rPr lang="en-US" altLang="zh-CN" sz="1800" dirty="0">
                          <a:solidFill>
                            <a:srgbClr val="000000"/>
                          </a:solidFill>
                          <a:latin typeface="微软雅黑" panose="020B0503020204020204" charset="-122"/>
                          <a:ea typeface="宋体" panose="02010600030101010101" pitchFamily="2" charset="-122"/>
                          <a:sym typeface="微软雅黑" panose="020B0503020204020204" charset="-122"/>
                        </a:rPr>
                        <a:t>&lt;</a:t>
                      </a:r>
                      <a:r>
                        <a:rPr lang="en-US" altLang="zh-CN" sz="1800" dirty="0">
                          <a:solidFill>
                            <a:srgbClr val="000000"/>
                          </a:solidFill>
                          <a:latin typeface="微软雅黑" panose="020B0503020204020204" charset="-122"/>
                          <a:ea typeface="宋体" panose="02010600030101010101" pitchFamily="2" charset="-122"/>
                          <a:sym typeface="微软雅黑" panose="020B0503020204020204" charset="-122"/>
                        </a:rPr>
                        <a:t>dt</a:t>
                      </a:r>
                      <a:r>
                        <a:rPr lang="en-US" altLang="zh-CN" sz="1800" dirty="0">
                          <a:solidFill>
                            <a:srgbClr val="000000"/>
                          </a:solidFill>
                          <a:latin typeface="微软雅黑" panose="020B0503020204020204" charset="-122"/>
                          <a:ea typeface="宋体" panose="02010600030101010101" pitchFamily="2" charset="-122"/>
                          <a:sym typeface="微软雅黑" panose="020B0503020204020204" charset="-122"/>
                        </a:rPr>
                        <a:t>&gt;</a:t>
                      </a:r>
                      <a:endParaRPr lang="zh-CN" altLang="en-US" sz="1800" dirty="0">
                        <a:solidFill>
                          <a:srgbClr val="000000"/>
                        </a:solidFill>
                        <a:latin typeface="微软雅黑" panose="020B0503020204020204" charset="-122"/>
                        <a:ea typeface="宋体" panose="02010600030101010101" pitchFamily="2" charset="-122"/>
                        <a:sym typeface="微软雅黑" panose="020B0503020204020204" charset="-122"/>
                      </a:endParaRPr>
                    </a:p>
                  </a:txBody>
                  <a:tcPr vert="horz" anchor="t">
                    <a:lnL>
                      <a:noFill/>
                    </a:lnL>
                    <a:lnR>
                      <a:noFill/>
                    </a:lnR>
                    <a:lnT>
                      <a:noFill/>
                    </a:lnT>
                    <a:lnB>
                      <a:noFill/>
                    </a:lnB>
                    <a:lnTlToBr>
                      <a:noFill/>
                    </a:lnTlToBr>
                    <a:lnBlToTr>
                      <a:noFill/>
                    </a:lnBlToTr>
                    <a:noFill/>
                  </a:tcPr>
                </a:tc>
                <a:tc>
                  <a:txBody>
                    <a:bodyPr wrap="square"/>
                    <a:lstStyle>
                      <a:lvl1pPr marL="228600" lvl="0" indent="-228600" algn="l" defTabSz="914400" eaLnBrk="1" fontAlgn="base" latinLnBrk="0" hangingPunct="1">
                        <a:lnSpc>
                          <a:spcPct val="90000"/>
                        </a:lnSpc>
                        <a:spcBef>
                          <a:spcPts val="1000"/>
                        </a:spcBef>
                        <a:buClrTx/>
                        <a:buSzTx/>
                        <a:buFont typeface="Arial" panose="020B0604020202020204" pitchFamily="34" charset="0"/>
                        <a:buChar char="•"/>
                        <a:defRPr sz="2800" kern="1200">
                          <a:solidFill>
                            <a:schemeClr val="tx1"/>
                          </a:solidFill>
                          <a:latin typeface="Calibri" panose="020F0502020204030204" charset="0"/>
                          <a:ea typeface="宋体" panose="02010600030101010101" pitchFamily="2" charset="-122"/>
                          <a:sym typeface="Calibri" panose="020F0502020204030204" charset="0"/>
                        </a:defRPr>
                      </a:lvl1pPr>
                      <a:lvl2pPr marL="685800" lvl="1" indent="-228600" algn="l" defTabSz="914400" eaLnBrk="1" fontAlgn="base" latinLnBrk="0" hangingPunct="1">
                        <a:lnSpc>
                          <a:spcPct val="90000"/>
                        </a:lnSpc>
                        <a:spcBef>
                          <a:spcPts val="500"/>
                        </a:spcBef>
                        <a:buClrTx/>
                        <a:buSzTx/>
                        <a:buFont typeface="Arial" panose="020B0604020202020204" pitchFamily="34" charset="0"/>
                        <a:buChar char="•"/>
                        <a:defRPr sz="2400" kern="1200">
                          <a:solidFill>
                            <a:schemeClr val="tx1"/>
                          </a:solidFill>
                          <a:latin typeface="Calibri" panose="020F0502020204030204" charset="0"/>
                          <a:ea typeface="宋体" panose="02010600030101010101" pitchFamily="2" charset="-122"/>
                          <a:sym typeface="Calibri" panose="020F0502020204030204" charset="0"/>
                        </a:defRPr>
                      </a:lvl2pPr>
                      <a:lvl3pPr marL="1143000" lvl="2" indent="-228600" algn="l" defTabSz="914400" eaLnBrk="1" fontAlgn="base" latinLnBrk="0" hangingPunct="1">
                        <a:lnSpc>
                          <a:spcPct val="90000"/>
                        </a:lnSpc>
                        <a:spcBef>
                          <a:spcPts val="500"/>
                        </a:spcBef>
                        <a:buClrTx/>
                        <a:buSzTx/>
                        <a:buFont typeface="Arial" panose="020B0604020202020204" pitchFamily="34" charset="0"/>
                        <a:buChar char="•"/>
                        <a:defRPr sz="2000" kern="1200">
                          <a:solidFill>
                            <a:schemeClr val="tx1"/>
                          </a:solidFill>
                          <a:latin typeface="Calibri" panose="020F0502020204030204" charset="0"/>
                          <a:ea typeface="宋体" panose="02010600030101010101" pitchFamily="2" charset="-122"/>
                          <a:sym typeface="Calibri" panose="020F0502020204030204" charset="0"/>
                        </a:defRPr>
                      </a:lvl3pPr>
                      <a:lvl4pPr marL="1600200" lvl="3" indent="-228600" algn="l" defTabSz="914400" eaLnBrk="1" fontAlgn="base" latinLnBrk="0" hangingPunct="1">
                        <a:lnSpc>
                          <a:spcPct val="90000"/>
                        </a:lnSpc>
                        <a:spcBef>
                          <a:spcPts val="500"/>
                        </a:spcBef>
                        <a:buClrTx/>
                        <a:buSzTx/>
                        <a:buFont typeface="Arial" panose="020B0604020202020204" pitchFamily="34" charset="0"/>
                        <a:buChar char="•"/>
                        <a:defRPr sz="1800" kern="1200">
                          <a:solidFill>
                            <a:schemeClr val="tx1"/>
                          </a:solidFill>
                          <a:latin typeface="Calibri" panose="020F0502020204030204" charset="0"/>
                          <a:ea typeface="宋体" panose="02010600030101010101" pitchFamily="2" charset="-122"/>
                          <a:sym typeface="Calibri" panose="020F0502020204030204" charset="0"/>
                        </a:defRPr>
                      </a:lvl4pPr>
                      <a:lvl5pPr marL="2057400" lvl="4" indent="-228600" algn="l" defTabSz="914400" eaLnBrk="1" fontAlgn="base" latinLnBrk="0" hangingPunct="1">
                        <a:lnSpc>
                          <a:spcPct val="90000"/>
                        </a:lnSpc>
                        <a:spcBef>
                          <a:spcPts val="500"/>
                        </a:spcBef>
                        <a:buClrTx/>
                        <a:buSzTx/>
                        <a:buFont typeface="Arial" panose="020B0604020202020204" pitchFamily="34" charset="0"/>
                        <a:buChar char="•"/>
                        <a:defRPr sz="1800" kern="1200">
                          <a:solidFill>
                            <a:schemeClr val="tx1"/>
                          </a:solidFill>
                          <a:latin typeface="Calibri" panose="020F0502020204030204" charset="0"/>
                          <a:ea typeface="宋体" panose="02010600030101010101" pitchFamily="2" charset="-122"/>
                          <a:sym typeface="Calibri" panose="020F0502020204030204" charset="0"/>
                        </a:defRPr>
                      </a:lvl5pPr>
                    </a:lstStyle>
                    <a:p>
                      <a:pPr marL="0" lvl="0" indent="0" algn="l" eaLnBrk="1" fontAlgn="base" latinLnBrk="0" hangingPunct="1">
                        <a:lnSpc>
                          <a:spcPct val="100000"/>
                        </a:lnSpc>
                        <a:spcBef>
                          <a:spcPct val="0"/>
                        </a:spcBef>
                        <a:spcAft>
                          <a:spcPct val="0"/>
                        </a:spcAft>
                        <a:buFontTx/>
                        <a:buNone/>
                      </a:pPr>
                      <a:r>
                        <a:rPr lang="zh-CN" altLang="en-US" sz="1800" dirty="0">
                          <a:solidFill>
                            <a:srgbClr val="000000"/>
                          </a:solidFill>
                          <a:latin typeface="微软雅黑" panose="020B0503020204020204" charset="-122"/>
                          <a:ea typeface="宋体" panose="02010600030101010101" pitchFamily="2" charset="-122"/>
                          <a:sym typeface="微软雅黑" panose="020B0503020204020204" charset="-122"/>
                        </a:rPr>
                        <a:t>可以同</a:t>
                      </a:r>
                      <a:r>
                        <a:rPr lang="en-US" altLang="zh-CN" sz="1800" dirty="0">
                          <a:solidFill>
                            <a:srgbClr val="000000"/>
                          </a:solidFill>
                          <a:latin typeface="微软雅黑" panose="020B0503020204020204" charset="-122"/>
                          <a:ea typeface="宋体" panose="02010600030101010101" pitchFamily="2" charset="-122"/>
                          <a:sym typeface="微软雅黑" panose="020B0503020204020204" charset="-122"/>
                        </a:rPr>
                        <a:t>details</a:t>
                      </a:r>
                      <a:r>
                        <a:rPr lang="zh-CN" altLang="en-US" sz="1800" dirty="0">
                          <a:solidFill>
                            <a:srgbClr val="000000"/>
                          </a:solidFill>
                          <a:latin typeface="微软雅黑" panose="020B0503020204020204" charset="-122"/>
                          <a:ea typeface="宋体" panose="02010600030101010101" pitchFamily="2" charset="-122"/>
                          <a:sym typeface="微软雅黑" panose="020B0503020204020204" charset="-122"/>
                        </a:rPr>
                        <a:t>与</a:t>
                      </a:r>
                      <a:r>
                        <a:rPr lang="en-US" altLang="zh-CN" sz="1800" dirty="0">
                          <a:solidFill>
                            <a:srgbClr val="000000"/>
                          </a:solidFill>
                          <a:latin typeface="微软雅黑" panose="020B0503020204020204" charset="-122"/>
                          <a:ea typeface="宋体" panose="02010600030101010101" pitchFamily="2" charset="-122"/>
                          <a:sym typeface="微软雅黑" panose="020B0503020204020204" charset="-122"/>
                        </a:rPr>
                        <a:t>figure</a:t>
                      </a:r>
                      <a:r>
                        <a:rPr lang="zh-CN" altLang="en-US" sz="1800" dirty="0">
                          <a:solidFill>
                            <a:srgbClr val="000000"/>
                          </a:solidFill>
                          <a:latin typeface="微软雅黑" panose="020B0503020204020204" charset="-122"/>
                          <a:ea typeface="宋体" panose="02010600030101010101" pitchFamily="2" charset="-122"/>
                          <a:sym typeface="微软雅黑" panose="020B0503020204020204" charset="-122"/>
                        </a:rPr>
                        <a:t>一同使用，汇总细节，</a:t>
                      </a:r>
                      <a:r>
                        <a:rPr lang="en-US" altLang="zh-CN" sz="1800" dirty="0">
                          <a:solidFill>
                            <a:srgbClr val="000000"/>
                          </a:solidFill>
                          <a:latin typeface="微软雅黑" panose="020B0503020204020204" charset="-122"/>
                          <a:ea typeface="宋体" panose="02010600030101010101" pitchFamily="2" charset="-122"/>
                          <a:sym typeface="微软雅黑" panose="020B0503020204020204" charset="-122"/>
                        </a:rPr>
                        <a:t>dialog</a:t>
                      </a:r>
                      <a:r>
                        <a:rPr lang="zh-CN" altLang="en-US" sz="1800" dirty="0">
                          <a:solidFill>
                            <a:srgbClr val="000000"/>
                          </a:solidFill>
                          <a:latin typeface="微软雅黑" panose="020B0503020204020204" charset="-122"/>
                          <a:ea typeface="宋体" panose="02010600030101010101" pitchFamily="2" charset="-122"/>
                          <a:sym typeface="微软雅黑" panose="020B0503020204020204" charset="-122"/>
                        </a:rPr>
                        <a:t>也可用</a:t>
                      </a:r>
                      <a:endParaRPr lang="zh-CN" altLang="en-US" dirty="0"/>
                    </a:p>
                  </a:txBody>
                  <a:tcPr vert="horz" anchor="t">
                    <a:lnL>
                      <a:noFill/>
                    </a:lnL>
                    <a:lnR>
                      <a:noFill/>
                    </a:lnR>
                    <a:lnT>
                      <a:noFill/>
                    </a:lnT>
                    <a:lnB>
                      <a:noFill/>
                    </a:lnB>
                    <a:lnTlToBr>
                      <a:noFill/>
                    </a:lnTlToBr>
                    <a:lnBlToTr>
                      <a:noFill/>
                    </a:lnBlToTr>
                    <a:noFill/>
                  </a:tcPr>
                </a:tc>
              </a:tr>
              <a:tr h="371475">
                <a:tc>
                  <a:txBody>
                    <a:bodyPr wrap="square"/>
                    <a:lstStyle>
                      <a:lvl1pPr marL="228600" lvl="0" indent="-228600" algn="l" defTabSz="914400" eaLnBrk="1" fontAlgn="base" latinLnBrk="0" hangingPunct="1">
                        <a:lnSpc>
                          <a:spcPct val="90000"/>
                        </a:lnSpc>
                        <a:spcBef>
                          <a:spcPts val="1000"/>
                        </a:spcBef>
                        <a:buClrTx/>
                        <a:buSzTx/>
                        <a:buFont typeface="Arial" panose="020B0604020202020204" pitchFamily="34" charset="0"/>
                        <a:buChar char="•"/>
                        <a:defRPr sz="2800" kern="1200">
                          <a:solidFill>
                            <a:schemeClr val="tx1"/>
                          </a:solidFill>
                          <a:latin typeface="Calibri" panose="020F0502020204030204" charset="0"/>
                          <a:ea typeface="宋体" panose="02010600030101010101" pitchFamily="2" charset="-122"/>
                          <a:sym typeface="Calibri" panose="020F0502020204030204" charset="0"/>
                        </a:defRPr>
                      </a:lvl1pPr>
                      <a:lvl2pPr marL="685800" lvl="1" indent="-228600" algn="l" defTabSz="914400" eaLnBrk="1" fontAlgn="base" latinLnBrk="0" hangingPunct="1">
                        <a:lnSpc>
                          <a:spcPct val="90000"/>
                        </a:lnSpc>
                        <a:spcBef>
                          <a:spcPts val="500"/>
                        </a:spcBef>
                        <a:buClrTx/>
                        <a:buSzTx/>
                        <a:buFont typeface="Arial" panose="020B0604020202020204" pitchFamily="34" charset="0"/>
                        <a:buChar char="•"/>
                        <a:defRPr sz="2400" kern="1200">
                          <a:solidFill>
                            <a:schemeClr val="tx1"/>
                          </a:solidFill>
                          <a:latin typeface="Calibri" panose="020F0502020204030204" charset="0"/>
                          <a:ea typeface="宋体" panose="02010600030101010101" pitchFamily="2" charset="-122"/>
                          <a:sym typeface="Calibri" panose="020F0502020204030204" charset="0"/>
                        </a:defRPr>
                      </a:lvl2pPr>
                      <a:lvl3pPr marL="1143000" lvl="2" indent="-228600" algn="l" defTabSz="914400" eaLnBrk="1" fontAlgn="base" latinLnBrk="0" hangingPunct="1">
                        <a:lnSpc>
                          <a:spcPct val="90000"/>
                        </a:lnSpc>
                        <a:spcBef>
                          <a:spcPts val="500"/>
                        </a:spcBef>
                        <a:buClrTx/>
                        <a:buSzTx/>
                        <a:buFont typeface="Arial" panose="020B0604020202020204" pitchFamily="34" charset="0"/>
                        <a:buChar char="•"/>
                        <a:defRPr sz="2000" kern="1200">
                          <a:solidFill>
                            <a:schemeClr val="tx1"/>
                          </a:solidFill>
                          <a:latin typeface="Calibri" panose="020F0502020204030204" charset="0"/>
                          <a:ea typeface="宋体" panose="02010600030101010101" pitchFamily="2" charset="-122"/>
                          <a:sym typeface="Calibri" panose="020F0502020204030204" charset="0"/>
                        </a:defRPr>
                      </a:lvl3pPr>
                      <a:lvl4pPr marL="1600200" lvl="3" indent="-228600" algn="l" defTabSz="914400" eaLnBrk="1" fontAlgn="base" latinLnBrk="0" hangingPunct="1">
                        <a:lnSpc>
                          <a:spcPct val="90000"/>
                        </a:lnSpc>
                        <a:spcBef>
                          <a:spcPts val="500"/>
                        </a:spcBef>
                        <a:buClrTx/>
                        <a:buSzTx/>
                        <a:buFont typeface="Arial" panose="020B0604020202020204" pitchFamily="34" charset="0"/>
                        <a:buChar char="•"/>
                        <a:defRPr sz="1800" kern="1200">
                          <a:solidFill>
                            <a:schemeClr val="tx1"/>
                          </a:solidFill>
                          <a:latin typeface="Calibri" panose="020F0502020204030204" charset="0"/>
                          <a:ea typeface="宋体" panose="02010600030101010101" pitchFamily="2" charset="-122"/>
                          <a:sym typeface="Calibri" panose="020F0502020204030204" charset="0"/>
                        </a:defRPr>
                      </a:lvl4pPr>
                      <a:lvl5pPr marL="2057400" lvl="4" indent="-228600" algn="l" defTabSz="914400" eaLnBrk="1" fontAlgn="base" latinLnBrk="0" hangingPunct="1">
                        <a:lnSpc>
                          <a:spcPct val="90000"/>
                        </a:lnSpc>
                        <a:spcBef>
                          <a:spcPts val="500"/>
                        </a:spcBef>
                        <a:buClrTx/>
                        <a:buSzTx/>
                        <a:buFont typeface="Arial" panose="020B0604020202020204" pitchFamily="34" charset="0"/>
                        <a:buChar char="•"/>
                        <a:defRPr sz="1800" kern="1200">
                          <a:solidFill>
                            <a:schemeClr val="tx1"/>
                          </a:solidFill>
                          <a:latin typeface="Calibri" panose="020F0502020204030204" charset="0"/>
                          <a:ea typeface="宋体" panose="02010600030101010101" pitchFamily="2" charset="-122"/>
                          <a:sym typeface="Calibri" panose="020F0502020204030204" charset="0"/>
                        </a:defRPr>
                      </a:lvl5pPr>
                    </a:lstStyle>
                    <a:p>
                      <a:pPr marL="0" lvl="0" indent="0">
                        <a:lnSpc>
                          <a:spcPct val="100000"/>
                        </a:lnSpc>
                        <a:spcBef>
                          <a:spcPct val="0"/>
                        </a:spcBef>
                        <a:buFontTx/>
                        <a:buNone/>
                      </a:pPr>
                      <a:r>
                        <a:rPr lang="en-US" altLang="zh-CN" sz="1800" dirty="0">
                          <a:solidFill>
                            <a:srgbClr val="000000"/>
                          </a:solidFill>
                          <a:latin typeface="微软雅黑" panose="020B0503020204020204" charset="-122"/>
                          <a:ea typeface="宋体" panose="02010600030101010101" pitchFamily="2" charset="-122"/>
                          <a:sym typeface="微软雅黑" panose="020B0503020204020204" charset="-122"/>
                        </a:rPr>
                        <a:t>&lt;</a:t>
                      </a:r>
                      <a:r>
                        <a:rPr lang="en-US" altLang="zh-CN" sz="1800" dirty="0">
                          <a:solidFill>
                            <a:srgbClr val="000000"/>
                          </a:solidFill>
                          <a:latin typeface="微软雅黑" panose="020B0503020204020204" charset="-122"/>
                          <a:ea typeface="宋体" panose="02010600030101010101" pitchFamily="2" charset="-122"/>
                          <a:sym typeface="微软雅黑" panose="020B0503020204020204" charset="-122"/>
                        </a:rPr>
                        <a:t>hr</a:t>
                      </a:r>
                      <a:r>
                        <a:rPr lang="en-US" altLang="zh-CN" sz="1800" dirty="0">
                          <a:solidFill>
                            <a:srgbClr val="000000"/>
                          </a:solidFill>
                          <a:latin typeface="微软雅黑" panose="020B0503020204020204" charset="-122"/>
                          <a:ea typeface="宋体" panose="02010600030101010101" pitchFamily="2" charset="-122"/>
                          <a:sym typeface="微软雅黑" panose="020B0503020204020204" charset="-122"/>
                        </a:rPr>
                        <a:t>&gt;</a:t>
                      </a:r>
                      <a:endParaRPr lang="zh-CN" altLang="en-US" sz="1800" dirty="0">
                        <a:solidFill>
                          <a:srgbClr val="000000"/>
                        </a:solidFill>
                        <a:latin typeface="微软雅黑" panose="020B0503020204020204" charset="-122"/>
                        <a:ea typeface="宋体" panose="02010600030101010101" pitchFamily="2" charset="-122"/>
                        <a:sym typeface="微软雅黑" panose="020B0503020204020204" charset="-122"/>
                      </a:endParaRPr>
                    </a:p>
                  </a:txBody>
                  <a:tcPr vert="horz" anchor="t">
                    <a:lnL>
                      <a:noFill/>
                    </a:lnL>
                    <a:lnR>
                      <a:noFill/>
                    </a:lnR>
                    <a:lnT>
                      <a:noFill/>
                    </a:lnT>
                    <a:lnB>
                      <a:noFill/>
                    </a:lnB>
                    <a:lnTlToBr>
                      <a:noFill/>
                    </a:lnTlToBr>
                    <a:lnBlToTr>
                      <a:noFill/>
                    </a:lnBlToTr>
                    <a:noFill/>
                  </a:tcPr>
                </a:tc>
                <a:tc>
                  <a:txBody>
                    <a:bodyPr wrap="square"/>
                    <a:lstStyle>
                      <a:lvl1pPr marL="228600" lvl="0" indent="-228600" algn="l" defTabSz="914400" eaLnBrk="1" fontAlgn="base" latinLnBrk="0" hangingPunct="1">
                        <a:lnSpc>
                          <a:spcPct val="90000"/>
                        </a:lnSpc>
                        <a:spcBef>
                          <a:spcPts val="1000"/>
                        </a:spcBef>
                        <a:buClrTx/>
                        <a:buSzTx/>
                        <a:buFont typeface="Arial" panose="020B0604020202020204" pitchFamily="34" charset="0"/>
                        <a:buChar char="•"/>
                        <a:defRPr sz="2800" kern="1200">
                          <a:solidFill>
                            <a:schemeClr val="tx1"/>
                          </a:solidFill>
                          <a:latin typeface="Calibri" panose="020F0502020204030204" charset="0"/>
                          <a:ea typeface="宋体" panose="02010600030101010101" pitchFamily="2" charset="-122"/>
                          <a:sym typeface="Calibri" panose="020F0502020204030204" charset="0"/>
                        </a:defRPr>
                      </a:lvl1pPr>
                      <a:lvl2pPr marL="685800" lvl="1" indent="-228600" algn="l" defTabSz="914400" eaLnBrk="1" fontAlgn="base" latinLnBrk="0" hangingPunct="1">
                        <a:lnSpc>
                          <a:spcPct val="90000"/>
                        </a:lnSpc>
                        <a:spcBef>
                          <a:spcPts val="500"/>
                        </a:spcBef>
                        <a:buClrTx/>
                        <a:buSzTx/>
                        <a:buFont typeface="Arial" panose="020B0604020202020204" pitchFamily="34" charset="0"/>
                        <a:buChar char="•"/>
                        <a:defRPr sz="2400" kern="1200">
                          <a:solidFill>
                            <a:schemeClr val="tx1"/>
                          </a:solidFill>
                          <a:latin typeface="Calibri" panose="020F0502020204030204" charset="0"/>
                          <a:ea typeface="宋体" panose="02010600030101010101" pitchFamily="2" charset="-122"/>
                          <a:sym typeface="Calibri" panose="020F0502020204030204" charset="0"/>
                        </a:defRPr>
                      </a:lvl2pPr>
                      <a:lvl3pPr marL="1143000" lvl="2" indent="-228600" algn="l" defTabSz="914400" eaLnBrk="1" fontAlgn="base" latinLnBrk="0" hangingPunct="1">
                        <a:lnSpc>
                          <a:spcPct val="90000"/>
                        </a:lnSpc>
                        <a:spcBef>
                          <a:spcPts val="500"/>
                        </a:spcBef>
                        <a:buClrTx/>
                        <a:buSzTx/>
                        <a:buFont typeface="Arial" panose="020B0604020202020204" pitchFamily="34" charset="0"/>
                        <a:buChar char="•"/>
                        <a:defRPr sz="2000" kern="1200">
                          <a:solidFill>
                            <a:schemeClr val="tx1"/>
                          </a:solidFill>
                          <a:latin typeface="Calibri" panose="020F0502020204030204" charset="0"/>
                          <a:ea typeface="宋体" panose="02010600030101010101" pitchFamily="2" charset="-122"/>
                          <a:sym typeface="Calibri" panose="020F0502020204030204" charset="0"/>
                        </a:defRPr>
                      </a:lvl3pPr>
                      <a:lvl4pPr marL="1600200" lvl="3" indent="-228600" algn="l" defTabSz="914400" eaLnBrk="1" fontAlgn="base" latinLnBrk="0" hangingPunct="1">
                        <a:lnSpc>
                          <a:spcPct val="90000"/>
                        </a:lnSpc>
                        <a:spcBef>
                          <a:spcPts val="500"/>
                        </a:spcBef>
                        <a:buClrTx/>
                        <a:buSzTx/>
                        <a:buFont typeface="Arial" panose="020B0604020202020204" pitchFamily="34" charset="0"/>
                        <a:buChar char="•"/>
                        <a:defRPr sz="1800" kern="1200">
                          <a:solidFill>
                            <a:schemeClr val="tx1"/>
                          </a:solidFill>
                          <a:latin typeface="Calibri" panose="020F0502020204030204" charset="0"/>
                          <a:ea typeface="宋体" panose="02010600030101010101" pitchFamily="2" charset="-122"/>
                          <a:sym typeface="Calibri" panose="020F0502020204030204" charset="0"/>
                        </a:defRPr>
                      </a:lvl4pPr>
                      <a:lvl5pPr marL="2057400" lvl="4" indent="-228600" algn="l" defTabSz="914400" eaLnBrk="1" fontAlgn="base" latinLnBrk="0" hangingPunct="1">
                        <a:lnSpc>
                          <a:spcPct val="90000"/>
                        </a:lnSpc>
                        <a:spcBef>
                          <a:spcPts val="500"/>
                        </a:spcBef>
                        <a:buClrTx/>
                        <a:buSzTx/>
                        <a:buFont typeface="Arial" panose="020B0604020202020204" pitchFamily="34" charset="0"/>
                        <a:buChar char="•"/>
                        <a:defRPr sz="1800" kern="1200">
                          <a:solidFill>
                            <a:schemeClr val="tx1"/>
                          </a:solidFill>
                          <a:latin typeface="Calibri" panose="020F0502020204030204" charset="0"/>
                          <a:ea typeface="宋体" panose="02010600030101010101" pitchFamily="2" charset="-122"/>
                          <a:sym typeface="Calibri" panose="020F0502020204030204" charset="0"/>
                        </a:defRPr>
                      </a:lvl5pPr>
                    </a:lstStyle>
                    <a:p>
                      <a:pPr marL="0" lvl="0" indent="0">
                        <a:lnSpc>
                          <a:spcPct val="100000"/>
                        </a:lnSpc>
                        <a:spcBef>
                          <a:spcPct val="0"/>
                        </a:spcBef>
                        <a:buFontTx/>
                        <a:buNone/>
                      </a:pPr>
                      <a:r>
                        <a:rPr lang="zh-CN" altLang="en-US" sz="1800">
                          <a:solidFill>
                            <a:srgbClr val="000000"/>
                          </a:solidFill>
                          <a:latin typeface="微软雅黑" panose="020B0503020204020204" charset="-122"/>
                          <a:ea typeface="宋体" panose="02010600030101010101" pitchFamily="2" charset="-122"/>
                          <a:sym typeface="微软雅黑" panose="020B0503020204020204" charset="-122"/>
                        </a:rPr>
                        <a:t>表示主题结束，而不是水平线，虽然显示相同</a:t>
                      </a:r>
                      <a:endParaRPr lang="zh-CN" altLang="en-US" sz="1800">
                        <a:solidFill>
                          <a:srgbClr val="000000"/>
                        </a:solidFill>
                        <a:latin typeface="微软雅黑" panose="020B0503020204020204" charset="-122"/>
                        <a:ea typeface="宋体" panose="02010600030101010101" pitchFamily="2" charset="-122"/>
                        <a:sym typeface="微软雅黑" panose="020B0503020204020204" charset="-122"/>
                      </a:endParaRPr>
                    </a:p>
                  </a:txBody>
                  <a:tcPr vert="horz" anchor="t">
                    <a:lnL>
                      <a:noFill/>
                    </a:lnL>
                    <a:lnR>
                      <a:noFill/>
                    </a:lnR>
                    <a:lnT>
                      <a:noFill/>
                    </a:lnT>
                    <a:lnB>
                      <a:noFill/>
                    </a:lnB>
                    <a:lnTlToBr>
                      <a:noFill/>
                    </a:lnTlToBr>
                    <a:lnBlToTr>
                      <a:noFill/>
                    </a:lnBlToTr>
                    <a:noFill/>
                  </a:tcPr>
                </a:tc>
              </a:tr>
              <a:tr h="369888">
                <a:tc>
                  <a:txBody>
                    <a:bodyPr wrap="square"/>
                    <a:lstStyle>
                      <a:lvl1pPr marL="228600" lvl="0" indent="-228600" algn="l" defTabSz="914400" eaLnBrk="1" fontAlgn="base" latinLnBrk="0" hangingPunct="1">
                        <a:lnSpc>
                          <a:spcPct val="90000"/>
                        </a:lnSpc>
                        <a:spcBef>
                          <a:spcPts val="1000"/>
                        </a:spcBef>
                        <a:buClrTx/>
                        <a:buSzTx/>
                        <a:buFont typeface="Arial" panose="020B0604020202020204" pitchFamily="34" charset="0"/>
                        <a:buChar char="•"/>
                        <a:defRPr sz="2800" kern="1200">
                          <a:solidFill>
                            <a:schemeClr val="tx1"/>
                          </a:solidFill>
                          <a:latin typeface="Calibri" panose="020F0502020204030204" charset="0"/>
                          <a:ea typeface="宋体" panose="02010600030101010101" pitchFamily="2" charset="-122"/>
                          <a:sym typeface="Calibri" panose="020F0502020204030204" charset="0"/>
                        </a:defRPr>
                      </a:lvl1pPr>
                      <a:lvl2pPr marL="685800" lvl="1" indent="-228600" algn="l" defTabSz="914400" eaLnBrk="1" fontAlgn="base" latinLnBrk="0" hangingPunct="1">
                        <a:lnSpc>
                          <a:spcPct val="90000"/>
                        </a:lnSpc>
                        <a:spcBef>
                          <a:spcPts val="500"/>
                        </a:spcBef>
                        <a:buClrTx/>
                        <a:buSzTx/>
                        <a:buFont typeface="Arial" panose="020B0604020202020204" pitchFamily="34" charset="0"/>
                        <a:buChar char="•"/>
                        <a:defRPr sz="2400" kern="1200">
                          <a:solidFill>
                            <a:schemeClr val="tx1"/>
                          </a:solidFill>
                          <a:latin typeface="Calibri" panose="020F0502020204030204" charset="0"/>
                          <a:ea typeface="宋体" panose="02010600030101010101" pitchFamily="2" charset="-122"/>
                          <a:sym typeface="Calibri" panose="020F0502020204030204" charset="0"/>
                        </a:defRPr>
                      </a:lvl2pPr>
                      <a:lvl3pPr marL="1143000" lvl="2" indent="-228600" algn="l" defTabSz="914400" eaLnBrk="1" fontAlgn="base" latinLnBrk="0" hangingPunct="1">
                        <a:lnSpc>
                          <a:spcPct val="90000"/>
                        </a:lnSpc>
                        <a:spcBef>
                          <a:spcPts val="500"/>
                        </a:spcBef>
                        <a:buClrTx/>
                        <a:buSzTx/>
                        <a:buFont typeface="Arial" panose="020B0604020202020204" pitchFamily="34" charset="0"/>
                        <a:buChar char="•"/>
                        <a:defRPr sz="2000" kern="1200">
                          <a:solidFill>
                            <a:schemeClr val="tx1"/>
                          </a:solidFill>
                          <a:latin typeface="Calibri" panose="020F0502020204030204" charset="0"/>
                          <a:ea typeface="宋体" panose="02010600030101010101" pitchFamily="2" charset="-122"/>
                          <a:sym typeface="Calibri" panose="020F0502020204030204" charset="0"/>
                        </a:defRPr>
                      </a:lvl3pPr>
                      <a:lvl4pPr marL="1600200" lvl="3" indent="-228600" algn="l" defTabSz="914400" eaLnBrk="1" fontAlgn="base" latinLnBrk="0" hangingPunct="1">
                        <a:lnSpc>
                          <a:spcPct val="90000"/>
                        </a:lnSpc>
                        <a:spcBef>
                          <a:spcPts val="500"/>
                        </a:spcBef>
                        <a:buClrTx/>
                        <a:buSzTx/>
                        <a:buFont typeface="Arial" panose="020B0604020202020204" pitchFamily="34" charset="0"/>
                        <a:buChar char="•"/>
                        <a:defRPr sz="1800" kern="1200">
                          <a:solidFill>
                            <a:schemeClr val="tx1"/>
                          </a:solidFill>
                          <a:latin typeface="Calibri" panose="020F0502020204030204" charset="0"/>
                          <a:ea typeface="宋体" panose="02010600030101010101" pitchFamily="2" charset="-122"/>
                          <a:sym typeface="Calibri" panose="020F0502020204030204" charset="0"/>
                        </a:defRPr>
                      </a:lvl4pPr>
                      <a:lvl5pPr marL="2057400" lvl="4" indent="-228600" algn="l" defTabSz="914400" eaLnBrk="1" fontAlgn="base" latinLnBrk="0" hangingPunct="1">
                        <a:lnSpc>
                          <a:spcPct val="90000"/>
                        </a:lnSpc>
                        <a:spcBef>
                          <a:spcPts val="500"/>
                        </a:spcBef>
                        <a:buClrTx/>
                        <a:buSzTx/>
                        <a:buFont typeface="Arial" panose="020B0604020202020204" pitchFamily="34" charset="0"/>
                        <a:buChar char="•"/>
                        <a:defRPr sz="1800" kern="1200">
                          <a:solidFill>
                            <a:schemeClr val="tx1"/>
                          </a:solidFill>
                          <a:latin typeface="Calibri" panose="020F0502020204030204" charset="0"/>
                          <a:ea typeface="宋体" panose="02010600030101010101" pitchFamily="2" charset="-122"/>
                          <a:sym typeface="Calibri" panose="020F0502020204030204" charset="0"/>
                        </a:defRPr>
                      </a:lvl5pPr>
                    </a:lstStyle>
                    <a:p>
                      <a:pPr marL="0" lvl="0" indent="0">
                        <a:lnSpc>
                          <a:spcPct val="100000"/>
                        </a:lnSpc>
                        <a:spcBef>
                          <a:spcPct val="0"/>
                        </a:spcBef>
                        <a:buFontTx/>
                        <a:buNone/>
                      </a:pPr>
                      <a:r>
                        <a:rPr lang="en-US" altLang="zh-CN" sz="1800" dirty="0">
                          <a:solidFill>
                            <a:srgbClr val="000000"/>
                          </a:solidFill>
                          <a:latin typeface="微软雅黑" panose="020B0503020204020204" charset="-122"/>
                          <a:ea typeface="宋体" panose="02010600030101010101" pitchFamily="2" charset="-122"/>
                          <a:sym typeface="微软雅黑" panose="020B0503020204020204" charset="-122"/>
                        </a:rPr>
                        <a:t>&lt;menu&gt;</a:t>
                      </a:r>
                      <a:endParaRPr lang="zh-CN" altLang="en-US" sz="1800" dirty="0">
                        <a:solidFill>
                          <a:srgbClr val="000000"/>
                        </a:solidFill>
                        <a:latin typeface="微软雅黑" panose="020B0503020204020204" charset="-122"/>
                        <a:ea typeface="宋体" panose="02010600030101010101" pitchFamily="2" charset="-122"/>
                        <a:sym typeface="微软雅黑" panose="020B0503020204020204" charset="-122"/>
                      </a:endParaRPr>
                    </a:p>
                  </a:txBody>
                  <a:tcPr vert="horz" anchor="t">
                    <a:lnL>
                      <a:noFill/>
                    </a:lnL>
                    <a:lnR>
                      <a:noFill/>
                    </a:lnR>
                    <a:lnT>
                      <a:noFill/>
                    </a:lnT>
                    <a:lnB>
                      <a:noFill/>
                    </a:lnB>
                    <a:lnTlToBr>
                      <a:noFill/>
                    </a:lnTlToBr>
                    <a:lnBlToTr>
                      <a:noFill/>
                    </a:lnBlToTr>
                    <a:noFill/>
                  </a:tcPr>
                </a:tc>
                <a:tc>
                  <a:txBody>
                    <a:bodyPr wrap="square"/>
                    <a:lstStyle>
                      <a:lvl1pPr marL="228600" lvl="0" indent="-228600" algn="l" defTabSz="914400" eaLnBrk="1" fontAlgn="base" latinLnBrk="0" hangingPunct="1">
                        <a:lnSpc>
                          <a:spcPct val="90000"/>
                        </a:lnSpc>
                        <a:spcBef>
                          <a:spcPts val="1000"/>
                        </a:spcBef>
                        <a:buClrTx/>
                        <a:buSzTx/>
                        <a:buFont typeface="Arial" panose="020B0604020202020204" pitchFamily="34" charset="0"/>
                        <a:buChar char="•"/>
                        <a:defRPr sz="2800" kern="1200">
                          <a:solidFill>
                            <a:schemeClr val="tx1"/>
                          </a:solidFill>
                          <a:latin typeface="Calibri" panose="020F0502020204030204" charset="0"/>
                          <a:ea typeface="宋体" panose="02010600030101010101" pitchFamily="2" charset="-122"/>
                          <a:sym typeface="Calibri" panose="020F0502020204030204" charset="0"/>
                        </a:defRPr>
                      </a:lvl1pPr>
                      <a:lvl2pPr marL="685800" lvl="1" indent="-228600" algn="l" defTabSz="914400" eaLnBrk="1" fontAlgn="base" latinLnBrk="0" hangingPunct="1">
                        <a:lnSpc>
                          <a:spcPct val="90000"/>
                        </a:lnSpc>
                        <a:spcBef>
                          <a:spcPts val="500"/>
                        </a:spcBef>
                        <a:buClrTx/>
                        <a:buSzTx/>
                        <a:buFont typeface="Arial" panose="020B0604020202020204" pitchFamily="34" charset="0"/>
                        <a:buChar char="•"/>
                        <a:defRPr sz="2400" kern="1200">
                          <a:solidFill>
                            <a:schemeClr val="tx1"/>
                          </a:solidFill>
                          <a:latin typeface="Calibri" panose="020F0502020204030204" charset="0"/>
                          <a:ea typeface="宋体" panose="02010600030101010101" pitchFamily="2" charset="-122"/>
                          <a:sym typeface="Calibri" panose="020F0502020204030204" charset="0"/>
                        </a:defRPr>
                      </a:lvl2pPr>
                      <a:lvl3pPr marL="1143000" lvl="2" indent="-228600" algn="l" defTabSz="914400" eaLnBrk="1" fontAlgn="base" latinLnBrk="0" hangingPunct="1">
                        <a:lnSpc>
                          <a:spcPct val="90000"/>
                        </a:lnSpc>
                        <a:spcBef>
                          <a:spcPts val="500"/>
                        </a:spcBef>
                        <a:buClrTx/>
                        <a:buSzTx/>
                        <a:buFont typeface="Arial" panose="020B0604020202020204" pitchFamily="34" charset="0"/>
                        <a:buChar char="•"/>
                        <a:defRPr sz="2000" kern="1200">
                          <a:solidFill>
                            <a:schemeClr val="tx1"/>
                          </a:solidFill>
                          <a:latin typeface="Calibri" panose="020F0502020204030204" charset="0"/>
                          <a:ea typeface="宋体" panose="02010600030101010101" pitchFamily="2" charset="-122"/>
                          <a:sym typeface="Calibri" panose="020F0502020204030204" charset="0"/>
                        </a:defRPr>
                      </a:lvl3pPr>
                      <a:lvl4pPr marL="1600200" lvl="3" indent="-228600" algn="l" defTabSz="914400" eaLnBrk="1" fontAlgn="base" latinLnBrk="0" hangingPunct="1">
                        <a:lnSpc>
                          <a:spcPct val="90000"/>
                        </a:lnSpc>
                        <a:spcBef>
                          <a:spcPts val="500"/>
                        </a:spcBef>
                        <a:buClrTx/>
                        <a:buSzTx/>
                        <a:buFont typeface="Arial" panose="020B0604020202020204" pitchFamily="34" charset="0"/>
                        <a:buChar char="•"/>
                        <a:defRPr sz="1800" kern="1200">
                          <a:solidFill>
                            <a:schemeClr val="tx1"/>
                          </a:solidFill>
                          <a:latin typeface="Calibri" panose="020F0502020204030204" charset="0"/>
                          <a:ea typeface="宋体" panose="02010600030101010101" pitchFamily="2" charset="-122"/>
                          <a:sym typeface="Calibri" panose="020F0502020204030204" charset="0"/>
                        </a:defRPr>
                      </a:lvl4pPr>
                      <a:lvl5pPr marL="2057400" lvl="4" indent="-228600" algn="l" defTabSz="914400" eaLnBrk="1" fontAlgn="base" latinLnBrk="0" hangingPunct="1">
                        <a:lnSpc>
                          <a:spcPct val="90000"/>
                        </a:lnSpc>
                        <a:spcBef>
                          <a:spcPts val="500"/>
                        </a:spcBef>
                        <a:buClrTx/>
                        <a:buSzTx/>
                        <a:buFont typeface="Arial" panose="020B0604020202020204" pitchFamily="34" charset="0"/>
                        <a:buChar char="•"/>
                        <a:defRPr sz="1800" kern="1200">
                          <a:solidFill>
                            <a:schemeClr val="tx1"/>
                          </a:solidFill>
                          <a:latin typeface="Calibri" panose="020F0502020204030204" charset="0"/>
                          <a:ea typeface="宋体" panose="02010600030101010101" pitchFamily="2" charset="-122"/>
                          <a:sym typeface="Calibri" panose="020F0502020204030204" charset="0"/>
                        </a:defRPr>
                      </a:lvl5pPr>
                    </a:lstStyle>
                    <a:p>
                      <a:pPr marL="0" lvl="0" indent="0">
                        <a:lnSpc>
                          <a:spcPct val="100000"/>
                        </a:lnSpc>
                        <a:spcBef>
                          <a:spcPct val="0"/>
                        </a:spcBef>
                        <a:buFontTx/>
                        <a:buNone/>
                      </a:pPr>
                      <a:r>
                        <a:rPr lang="zh-CN" altLang="en-US" sz="1800" dirty="0">
                          <a:solidFill>
                            <a:srgbClr val="000000"/>
                          </a:solidFill>
                          <a:latin typeface="微软雅黑" panose="020B0503020204020204" charset="-122"/>
                          <a:ea typeface="宋体" panose="02010600030101010101" pitchFamily="2" charset="-122"/>
                          <a:sym typeface="微软雅黑" panose="020B0503020204020204" charset="-122"/>
                        </a:rPr>
                        <a:t>重新定义用户界面的菜单，配合</a:t>
                      </a:r>
                      <a:r>
                        <a:rPr lang="en-US" altLang="zh-CN" sz="1800" dirty="0">
                          <a:solidFill>
                            <a:srgbClr val="000000"/>
                          </a:solidFill>
                          <a:latin typeface="微软雅黑" panose="020B0503020204020204" charset="-122"/>
                          <a:ea typeface="宋体" panose="02010600030101010101" pitchFamily="2" charset="-122"/>
                          <a:sym typeface="微软雅黑" panose="020B0503020204020204" charset="-122"/>
                        </a:rPr>
                        <a:t>commond</a:t>
                      </a:r>
                      <a:r>
                        <a:rPr lang="zh-CN" altLang="en-US" sz="1800" dirty="0">
                          <a:solidFill>
                            <a:srgbClr val="000000"/>
                          </a:solidFill>
                          <a:latin typeface="微软雅黑" panose="020B0503020204020204" charset="-122"/>
                          <a:ea typeface="宋体" panose="02010600030101010101" pitchFamily="2" charset="-122"/>
                          <a:sym typeface="微软雅黑" panose="020B0503020204020204" charset="-122"/>
                        </a:rPr>
                        <a:t>或者</a:t>
                      </a:r>
                      <a:r>
                        <a:rPr lang="en-US" altLang="zh-CN" sz="1800" dirty="0">
                          <a:solidFill>
                            <a:srgbClr val="000000"/>
                          </a:solidFill>
                          <a:latin typeface="微软雅黑" panose="020B0503020204020204" charset="-122"/>
                          <a:ea typeface="宋体" panose="02010600030101010101" pitchFamily="2" charset="-122"/>
                          <a:sym typeface="微软雅黑" panose="020B0503020204020204" charset="-122"/>
                        </a:rPr>
                        <a:t>menuitem</a:t>
                      </a:r>
                      <a:r>
                        <a:rPr lang="zh-CN" altLang="en-US" sz="1800" dirty="0">
                          <a:solidFill>
                            <a:srgbClr val="000000"/>
                          </a:solidFill>
                          <a:latin typeface="微软雅黑" panose="020B0503020204020204" charset="-122"/>
                          <a:ea typeface="宋体" panose="02010600030101010101" pitchFamily="2" charset="-122"/>
                          <a:sym typeface="微软雅黑" panose="020B0503020204020204" charset="-122"/>
                        </a:rPr>
                        <a:t>使用</a:t>
                      </a:r>
                      <a:endParaRPr lang="zh-CN" altLang="en-US" sz="1800" dirty="0">
                        <a:solidFill>
                          <a:srgbClr val="000000"/>
                        </a:solidFill>
                        <a:latin typeface="微软雅黑" panose="020B0503020204020204" charset="-122"/>
                        <a:ea typeface="宋体" panose="02010600030101010101" pitchFamily="2" charset="-122"/>
                        <a:sym typeface="微软雅黑" panose="020B0503020204020204" charset="-122"/>
                      </a:endParaRPr>
                    </a:p>
                  </a:txBody>
                  <a:tcPr vert="horz" anchor="t">
                    <a:lnL>
                      <a:noFill/>
                    </a:lnL>
                    <a:lnR>
                      <a:noFill/>
                    </a:lnR>
                    <a:lnT>
                      <a:noFill/>
                    </a:lnT>
                    <a:lnB>
                      <a:noFill/>
                    </a:lnB>
                    <a:lnTlToBr>
                      <a:noFill/>
                    </a:lnTlToBr>
                    <a:lnBlToTr>
                      <a:noFill/>
                    </a:lnBlToTr>
                    <a:noFill/>
                  </a:tcPr>
                </a:tc>
              </a:tr>
              <a:tr h="371475">
                <a:tc>
                  <a:txBody>
                    <a:bodyPr wrap="square"/>
                    <a:lstStyle>
                      <a:lvl1pPr marL="228600" lvl="0" indent="-228600" algn="l" defTabSz="914400" eaLnBrk="1" fontAlgn="base" latinLnBrk="0" hangingPunct="1">
                        <a:lnSpc>
                          <a:spcPct val="90000"/>
                        </a:lnSpc>
                        <a:spcBef>
                          <a:spcPts val="1000"/>
                        </a:spcBef>
                        <a:buClrTx/>
                        <a:buSzTx/>
                        <a:buFont typeface="Arial" panose="020B0604020202020204" pitchFamily="34" charset="0"/>
                        <a:buChar char="•"/>
                        <a:defRPr sz="2800" kern="1200">
                          <a:solidFill>
                            <a:schemeClr val="tx1"/>
                          </a:solidFill>
                          <a:latin typeface="Calibri" panose="020F0502020204030204" charset="0"/>
                          <a:ea typeface="宋体" panose="02010600030101010101" pitchFamily="2" charset="-122"/>
                          <a:sym typeface="Calibri" panose="020F0502020204030204" charset="0"/>
                        </a:defRPr>
                      </a:lvl1pPr>
                      <a:lvl2pPr marL="685800" lvl="1" indent="-228600" algn="l" defTabSz="914400" eaLnBrk="1" fontAlgn="base" latinLnBrk="0" hangingPunct="1">
                        <a:lnSpc>
                          <a:spcPct val="90000"/>
                        </a:lnSpc>
                        <a:spcBef>
                          <a:spcPts val="500"/>
                        </a:spcBef>
                        <a:buClrTx/>
                        <a:buSzTx/>
                        <a:buFont typeface="Arial" panose="020B0604020202020204" pitchFamily="34" charset="0"/>
                        <a:buChar char="•"/>
                        <a:defRPr sz="2400" kern="1200">
                          <a:solidFill>
                            <a:schemeClr val="tx1"/>
                          </a:solidFill>
                          <a:latin typeface="Calibri" panose="020F0502020204030204" charset="0"/>
                          <a:ea typeface="宋体" panose="02010600030101010101" pitchFamily="2" charset="-122"/>
                          <a:sym typeface="Calibri" panose="020F0502020204030204" charset="0"/>
                        </a:defRPr>
                      </a:lvl2pPr>
                      <a:lvl3pPr marL="1143000" lvl="2" indent="-228600" algn="l" defTabSz="914400" eaLnBrk="1" fontAlgn="base" latinLnBrk="0" hangingPunct="1">
                        <a:lnSpc>
                          <a:spcPct val="90000"/>
                        </a:lnSpc>
                        <a:spcBef>
                          <a:spcPts val="500"/>
                        </a:spcBef>
                        <a:buClrTx/>
                        <a:buSzTx/>
                        <a:buFont typeface="Arial" panose="020B0604020202020204" pitchFamily="34" charset="0"/>
                        <a:buChar char="•"/>
                        <a:defRPr sz="2000" kern="1200">
                          <a:solidFill>
                            <a:schemeClr val="tx1"/>
                          </a:solidFill>
                          <a:latin typeface="Calibri" panose="020F0502020204030204" charset="0"/>
                          <a:ea typeface="宋体" panose="02010600030101010101" pitchFamily="2" charset="-122"/>
                          <a:sym typeface="Calibri" panose="020F0502020204030204" charset="0"/>
                        </a:defRPr>
                      </a:lvl3pPr>
                      <a:lvl4pPr marL="1600200" lvl="3" indent="-228600" algn="l" defTabSz="914400" eaLnBrk="1" fontAlgn="base" latinLnBrk="0" hangingPunct="1">
                        <a:lnSpc>
                          <a:spcPct val="90000"/>
                        </a:lnSpc>
                        <a:spcBef>
                          <a:spcPts val="500"/>
                        </a:spcBef>
                        <a:buClrTx/>
                        <a:buSzTx/>
                        <a:buFont typeface="Arial" panose="020B0604020202020204" pitchFamily="34" charset="0"/>
                        <a:buChar char="•"/>
                        <a:defRPr sz="1800" kern="1200">
                          <a:solidFill>
                            <a:schemeClr val="tx1"/>
                          </a:solidFill>
                          <a:latin typeface="Calibri" panose="020F0502020204030204" charset="0"/>
                          <a:ea typeface="宋体" panose="02010600030101010101" pitchFamily="2" charset="-122"/>
                          <a:sym typeface="Calibri" panose="020F0502020204030204" charset="0"/>
                        </a:defRPr>
                      </a:lvl4pPr>
                      <a:lvl5pPr marL="2057400" lvl="4" indent="-228600" algn="l" defTabSz="914400" eaLnBrk="1" fontAlgn="base" latinLnBrk="0" hangingPunct="1">
                        <a:lnSpc>
                          <a:spcPct val="90000"/>
                        </a:lnSpc>
                        <a:spcBef>
                          <a:spcPts val="500"/>
                        </a:spcBef>
                        <a:buClrTx/>
                        <a:buSzTx/>
                        <a:buFont typeface="Arial" panose="020B0604020202020204" pitchFamily="34" charset="0"/>
                        <a:buChar char="•"/>
                        <a:defRPr sz="1800" kern="1200">
                          <a:solidFill>
                            <a:schemeClr val="tx1"/>
                          </a:solidFill>
                          <a:latin typeface="Calibri" panose="020F0502020204030204" charset="0"/>
                          <a:ea typeface="宋体" panose="02010600030101010101" pitchFamily="2" charset="-122"/>
                          <a:sym typeface="Calibri" panose="020F0502020204030204" charset="0"/>
                        </a:defRPr>
                      </a:lvl5pPr>
                    </a:lstStyle>
                    <a:p>
                      <a:pPr marL="0" lvl="0" indent="0">
                        <a:lnSpc>
                          <a:spcPct val="100000"/>
                        </a:lnSpc>
                        <a:spcBef>
                          <a:spcPct val="0"/>
                        </a:spcBef>
                        <a:buFontTx/>
                        <a:buNone/>
                      </a:pPr>
                      <a:r>
                        <a:rPr lang="en-US" altLang="zh-CN" sz="1800" dirty="0">
                          <a:solidFill>
                            <a:srgbClr val="000000"/>
                          </a:solidFill>
                          <a:latin typeface="微软雅黑" panose="020B0503020204020204" charset="-122"/>
                          <a:ea typeface="宋体" panose="02010600030101010101" pitchFamily="2" charset="-122"/>
                          <a:sym typeface="微软雅黑" panose="020B0503020204020204" charset="-122"/>
                        </a:rPr>
                        <a:t>&lt;small&gt;</a:t>
                      </a:r>
                      <a:endParaRPr lang="zh-CN" altLang="en-US" sz="1800" dirty="0">
                        <a:solidFill>
                          <a:srgbClr val="000000"/>
                        </a:solidFill>
                        <a:latin typeface="微软雅黑" panose="020B0503020204020204" charset="-122"/>
                        <a:ea typeface="宋体" panose="02010600030101010101" pitchFamily="2" charset="-122"/>
                        <a:sym typeface="微软雅黑" panose="020B0503020204020204" charset="-122"/>
                      </a:endParaRPr>
                    </a:p>
                  </a:txBody>
                  <a:tcPr vert="horz" anchor="t">
                    <a:lnL>
                      <a:noFill/>
                    </a:lnL>
                    <a:lnR>
                      <a:noFill/>
                    </a:lnR>
                    <a:lnT>
                      <a:noFill/>
                    </a:lnT>
                    <a:lnB>
                      <a:noFill/>
                    </a:lnB>
                    <a:lnTlToBr>
                      <a:noFill/>
                    </a:lnTlToBr>
                    <a:lnBlToTr>
                      <a:noFill/>
                    </a:lnBlToTr>
                    <a:noFill/>
                  </a:tcPr>
                </a:tc>
                <a:tc>
                  <a:txBody>
                    <a:bodyPr wrap="square"/>
                    <a:lstStyle>
                      <a:lvl1pPr marL="228600" lvl="0" indent="-228600" algn="l" defTabSz="914400" eaLnBrk="1" fontAlgn="base" latinLnBrk="0" hangingPunct="1">
                        <a:lnSpc>
                          <a:spcPct val="90000"/>
                        </a:lnSpc>
                        <a:spcBef>
                          <a:spcPts val="1000"/>
                        </a:spcBef>
                        <a:buClrTx/>
                        <a:buSzTx/>
                        <a:buFont typeface="Arial" panose="020B0604020202020204" pitchFamily="34" charset="0"/>
                        <a:buChar char="•"/>
                        <a:defRPr sz="2800" kern="1200">
                          <a:solidFill>
                            <a:schemeClr val="tx1"/>
                          </a:solidFill>
                          <a:latin typeface="Calibri" panose="020F0502020204030204" charset="0"/>
                          <a:ea typeface="宋体" panose="02010600030101010101" pitchFamily="2" charset="-122"/>
                          <a:sym typeface="Calibri" panose="020F0502020204030204" charset="0"/>
                        </a:defRPr>
                      </a:lvl1pPr>
                      <a:lvl2pPr marL="685800" lvl="1" indent="-228600" algn="l" defTabSz="914400" eaLnBrk="1" fontAlgn="base" latinLnBrk="0" hangingPunct="1">
                        <a:lnSpc>
                          <a:spcPct val="90000"/>
                        </a:lnSpc>
                        <a:spcBef>
                          <a:spcPts val="500"/>
                        </a:spcBef>
                        <a:buClrTx/>
                        <a:buSzTx/>
                        <a:buFont typeface="Arial" panose="020B0604020202020204" pitchFamily="34" charset="0"/>
                        <a:buChar char="•"/>
                        <a:defRPr sz="2400" kern="1200">
                          <a:solidFill>
                            <a:schemeClr val="tx1"/>
                          </a:solidFill>
                          <a:latin typeface="Calibri" panose="020F0502020204030204" charset="0"/>
                          <a:ea typeface="宋体" panose="02010600030101010101" pitchFamily="2" charset="-122"/>
                          <a:sym typeface="Calibri" panose="020F0502020204030204" charset="0"/>
                        </a:defRPr>
                      </a:lvl2pPr>
                      <a:lvl3pPr marL="1143000" lvl="2" indent="-228600" algn="l" defTabSz="914400" eaLnBrk="1" fontAlgn="base" latinLnBrk="0" hangingPunct="1">
                        <a:lnSpc>
                          <a:spcPct val="90000"/>
                        </a:lnSpc>
                        <a:spcBef>
                          <a:spcPts val="500"/>
                        </a:spcBef>
                        <a:buClrTx/>
                        <a:buSzTx/>
                        <a:buFont typeface="Arial" panose="020B0604020202020204" pitchFamily="34" charset="0"/>
                        <a:buChar char="•"/>
                        <a:defRPr sz="2000" kern="1200">
                          <a:solidFill>
                            <a:schemeClr val="tx1"/>
                          </a:solidFill>
                          <a:latin typeface="Calibri" panose="020F0502020204030204" charset="0"/>
                          <a:ea typeface="宋体" panose="02010600030101010101" pitchFamily="2" charset="-122"/>
                          <a:sym typeface="Calibri" panose="020F0502020204030204" charset="0"/>
                        </a:defRPr>
                      </a:lvl3pPr>
                      <a:lvl4pPr marL="1600200" lvl="3" indent="-228600" algn="l" defTabSz="914400" eaLnBrk="1" fontAlgn="base" latinLnBrk="0" hangingPunct="1">
                        <a:lnSpc>
                          <a:spcPct val="90000"/>
                        </a:lnSpc>
                        <a:spcBef>
                          <a:spcPts val="500"/>
                        </a:spcBef>
                        <a:buClrTx/>
                        <a:buSzTx/>
                        <a:buFont typeface="Arial" panose="020B0604020202020204" pitchFamily="34" charset="0"/>
                        <a:buChar char="•"/>
                        <a:defRPr sz="1800" kern="1200">
                          <a:solidFill>
                            <a:schemeClr val="tx1"/>
                          </a:solidFill>
                          <a:latin typeface="Calibri" panose="020F0502020204030204" charset="0"/>
                          <a:ea typeface="宋体" panose="02010600030101010101" pitchFamily="2" charset="-122"/>
                          <a:sym typeface="Calibri" panose="020F0502020204030204" charset="0"/>
                        </a:defRPr>
                      </a:lvl4pPr>
                      <a:lvl5pPr marL="2057400" lvl="4" indent="-228600" algn="l" defTabSz="914400" eaLnBrk="1" fontAlgn="base" latinLnBrk="0" hangingPunct="1">
                        <a:lnSpc>
                          <a:spcPct val="90000"/>
                        </a:lnSpc>
                        <a:spcBef>
                          <a:spcPts val="500"/>
                        </a:spcBef>
                        <a:buClrTx/>
                        <a:buSzTx/>
                        <a:buFont typeface="Arial" panose="020B0604020202020204" pitchFamily="34" charset="0"/>
                        <a:buChar char="•"/>
                        <a:defRPr sz="1800" kern="1200">
                          <a:solidFill>
                            <a:schemeClr val="tx1"/>
                          </a:solidFill>
                          <a:latin typeface="Calibri" panose="020F0502020204030204" charset="0"/>
                          <a:ea typeface="宋体" panose="02010600030101010101" pitchFamily="2" charset="-122"/>
                          <a:sym typeface="Calibri" panose="020F0502020204030204" charset="0"/>
                        </a:defRPr>
                      </a:lvl5pPr>
                    </a:lstStyle>
                    <a:p>
                      <a:pPr marL="0" lvl="0" indent="0">
                        <a:lnSpc>
                          <a:spcPct val="100000"/>
                        </a:lnSpc>
                        <a:spcBef>
                          <a:spcPct val="0"/>
                        </a:spcBef>
                        <a:buFontTx/>
                        <a:buNone/>
                      </a:pPr>
                      <a:r>
                        <a:rPr lang="zh-CN" altLang="en-US" sz="1800">
                          <a:solidFill>
                            <a:srgbClr val="000000"/>
                          </a:solidFill>
                          <a:latin typeface="微软雅黑" panose="020B0503020204020204" charset="-122"/>
                          <a:ea typeface="宋体" panose="02010600030101010101" pitchFamily="2" charset="-122"/>
                          <a:sym typeface="微软雅黑" panose="020B0503020204020204" charset="-122"/>
                        </a:rPr>
                        <a:t>表示小字体，例如打印注释或者法律条款</a:t>
                      </a:r>
                      <a:endParaRPr lang="zh-CN" altLang="en-US" sz="1800">
                        <a:solidFill>
                          <a:srgbClr val="000000"/>
                        </a:solidFill>
                        <a:latin typeface="微软雅黑" panose="020B0503020204020204" charset="-122"/>
                        <a:ea typeface="宋体" panose="02010600030101010101" pitchFamily="2" charset="-122"/>
                        <a:sym typeface="微软雅黑" panose="020B0503020204020204" charset="-122"/>
                      </a:endParaRPr>
                    </a:p>
                  </a:txBody>
                  <a:tcPr vert="horz" anchor="t">
                    <a:lnL>
                      <a:noFill/>
                    </a:lnL>
                    <a:lnR>
                      <a:noFill/>
                    </a:lnR>
                    <a:lnT>
                      <a:noFill/>
                    </a:lnT>
                    <a:lnB>
                      <a:noFill/>
                    </a:lnB>
                    <a:lnTlToBr>
                      <a:noFill/>
                    </a:lnTlToBr>
                    <a:lnBlToTr>
                      <a:noFill/>
                    </a:lnBlToTr>
                    <a:noFill/>
                  </a:tcPr>
                </a:tc>
              </a:tr>
              <a:tr h="369887">
                <a:tc>
                  <a:txBody>
                    <a:bodyPr wrap="square"/>
                    <a:lstStyle>
                      <a:lvl1pPr marL="228600" lvl="0" indent="-228600" algn="l" defTabSz="914400" eaLnBrk="1" fontAlgn="base" latinLnBrk="0" hangingPunct="1">
                        <a:lnSpc>
                          <a:spcPct val="90000"/>
                        </a:lnSpc>
                        <a:spcBef>
                          <a:spcPts val="1000"/>
                        </a:spcBef>
                        <a:buClrTx/>
                        <a:buSzTx/>
                        <a:buFont typeface="Arial" panose="020B0604020202020204" pitchFamily="34" charset="0"/>
                        <a:buChar char="•"/>
                        <a:defRPr sz="2800" kern="1200">
                          <a:solidFill>
                            <a:schemeClr val="tx1"/>
                          </a:solidFill>
                          <a:latin typeface="Calibri" panose="020F0502020204030204" charset="0"/>
                          <a:ea typeface="宋体" panose="02010600030101010101" pitchFamily="2" charset="-122"/>
                          <a:sym typeface="Calibri" panose="020F0502020204030204" charset="0"/>
                        </a:defRPr>
                      </a:lvl1pPr>
                      <a:lvl2pPr marL="685800" lvl="1" indent="-228600" algn="l" defTabSz="914400" eaLnBrk="1" fontAlgn="base" latinLnBrk="0" hangingPunct="1">
                        <a:lnSpc>
                          <a:spcPct val="90000"/>
                        </a:lnSpc>
                        <a:spcBef>
                          <a:spcPts val="500"/>
                        </a:spcBef>
                        <a:buClrTx/>
                        <a:buSzTx/>
                        <a:buFont typeface="Arial" panose="020B0604020202020204" pitchFamily="34" charset="0"/>
                        <a:buChar char="•"/>
                        <a:defRPr sz="2400" kern="1200">
                          <a:solidFill>
                            <a:schemeClr val="tx1"/>
                          </a:solidFill>
                          <a:latin typeface="Calibri" panose="020F0502020204030204" charset="0"/>
                          <a:ea typeface="宋体" panose="02010600030101010101" pitchFamily="2" charset="-122"/>
                          <a:sym typeface="Calibri" panose="020F0502020204030204" charset="0"/>
                        </a:defRPr>
                      </a:lvl2pPr>
                      <a:lvl3pPr marL="1143000" lvl="2" indent="-228600" algn="l" defTabSz="914400" eaLnBrk="1" fontAlgn="base" latinLnBrk="0" hangingPunct="1">
                        <a:lnSpc>
                          <a:spcPct val="90000"/>
                        </a:lnSpc>
                        <a:spcBef>
                          <a:spcPts val="500"/>
                        </a:spcBef>
                        <a:buClrTx/>
                        <a:buSzTx/>
                        <a:buFont typeface="Arial" panose="020B0604020202020204" pitchFamily="34" charset="0"/>
                        <a:buChar char="•"/>
                        <a:defRPr sz="2000" kern="1200">
                          <a:solidFill>
                            <a:schemeClr val="tx1"/>
                          </a:solidFill>
                          <a:latin typeface="Calibri" panose="020F0502020204030204" charset="0"/>
                          <a:ea typeface="宋体" panose="02010600030101010101" pitchFamily="2" charset="-122"/>
                          <a:sym typeface="Calibri" panose="020F0502020204030204" charset="0"/>
                        </a:defRPr>
                      </a:lvl3pPr>
                      <a:lvl4pPr marL="1600200" lvl="3" indent="-228600" algn="l" defTabSz="914400" eaLnBrk="1" fontAlgn="base" latinLnBrk="0" hangingPunct="1">
                        <a:lnSpc>
                          <a:spcPct val="90000"/>
                        </a:lnSpc>
                        <a:spcBef>
                          <a:spcPts val="500"/>
                        </a:spcBef>
                        <a:buClrTx/>
                        <a:buSzTx/>
                        <a:buFont typeface="Arial" panose="020B0604020202020204" pitchFamily="34" charset="0"/>
                        <a:buChar char="•"/>
                        <a:defRPr sz="1800" kern="1200">
                          <a:solidFill>
                            <a:schemeClr val="tx1"/>
                          </a:solidFill>
                          <a:latin typeface="Calibri" panose="020F0502020204030204" charset="0"/>
                          <a:ea typeface="宋体" panose="02010600030101010101" pitchFamily="2" charset="-122"/>
                          <a:sym typeface="Calibri" panose="020F0502020204030204" charset="0"/>
                        </a:defRPr>
                      </a:lvl4pPr>
                      <a:lvl5pPr marL="2057400" lvl="4" indent="-228600" algn="l" defTabSz="914400" eaLnBrk="1" fontAlgn="base" latinLnBrk="0" hangingPunct="1">
                        <a:lnSpc>
                          <a:spcPct val="90000"/>
                        </a:lnSpc>
                        <a:spcBef>
                          <a:spcPts val="500"/>
                        </a:spcBef>
                        <a:buClrTx/>
                        <a:buSzTx/>
                        <a:buFont typeface="Arial" panose="020B0604020202020204" pitchFamily="34" charset="0"/>
                        <a:buChar char="•"/>
                        <a:defRPr sz="1800" kern="1200">
                          <a:solidFill>
                            <a:schemeClr val="tx1"/>
                          </a:solidFill>
                          <a:latin typeface="Calibri" panose="020F0502020204030204" charset="0"/>
                          <a:ea typeface="宋体" panose="02010600030101010101" pitchFamily="2" charset="-122"/>
                          <a:sym typeface="Calibri" panose="020F0502020204030204" charset="0"/>
                        </a:defRPr>
                      </a:lvl5pPr>
                    </a:lstStyle>
                    <a:p>
                      <a:pPr marL="0" lvl="0" indent="0">
                        <a:lnSpc>
                          <a:spcPct val="100000"/>
                        </a:lnSpc>
                        <a:spcBef>
                          <a:spcPct val="0"/>
                        </a:spcBef>
                        <a:buFontTx/>
                        <a:buNone/>
                      </a:pPr>
                      <a:r>
                        <a:rPr lang="en-US" altLang="zh-CN" sz="1800" dirty="0">
                          <a:solidFill>
                            <a:srgbClr val="000000"/>
                          </a:solidFill>
                          <a:latin typeface="微软雅黑" panose="020B0503020204020204" charset="-122"/>
                          <a:ea typeface="宋体" panose="02010600030101010101" pitchFamily="2" charset="-122"/>
                          <a:sym typeface="微软雅黑" panose="020B0503020204020204" charset="-122"/>
                        </a:rPr>
                        <a:t>&lt;strong&gt;</a:t>
                      </a:r>
                      <a:endParaRPr lang="zh-CN" altLang="en-US" sz="1800" dirty="0">
                        <a:solidFill>
                          <a:srgbClr val="000000"/>
                        </a:solidFill>
                        <a:latin typeface="微软雅黑" panose="020B0503020204020204" charset="-122"/>
                        <a:ea typeface="宋体" panose="02010600030101010101" pitchFamily="2" charset="-122"/>
                        <a:sym typeface="微软雅黑" panose="020B0503020204020204" charset="-122"/>
                      </a:endParaRPr>
                    </a:p>
                  </a:txBody>
                  <a:tcPr vert="horz" anchor="t">
                    <a:lnL>
                      <a:noFill/>
                    </a:lnL>
                    <a:lnR>
                      <a:noFill/>
                    </a:lnR>
                    <a:lnT>
                      <a:noFill/>
                    </a:lnT>
                    <a:lnB>
                      <a:noFill/>
                    </a:lnB>
                    <a:lnTlToBr>
                      <a:noFill/>
                    </a:lnTlToBr>
                    <a:lnBlToTr>
                      <a:noFill/>
                    </a:lnBlToTr>
                    <a:noFill/>
                  </a:tcPr>
                </a:tc>
                <a:tc>
                  <a:txBody>
                    <a:bodyPr wrap="square"/>
                    <a:lstStyle>
                      <a:lvl1pPr marL="228600" lvl="0" indent="-228600" algn="l" defTabSz="914400" eaLnBrk="1" fontAlgn="base" latinLnBrk="0" hangingPunct="1">
                        <a:lnSpc>
                          <a:spcPct val="90000"/>
                        </a:lnSpc>
                        <a:spcBef>
                          <a:spcPts val="1000"/>
                        </a:spcBef>
                        <a:buClrTx/>
                        <a:buSzTx/>
                        <a:buFont typeface="Arial" panose="020B0604020202020204" pitchFamily="34" charset="0"/>
                        <a:buChar char="•"/>
                        <a:defRPr sz="2800" kern="1200">
                          <a:solidFill>
                            <a:schemeClr val="tx1"/>
                          </a:solidFill>
                          <a:latin typeface="Calibri" panose="020F0502020204030204" charset="0"/>
                          <a:ea typeface="宋体" panose="02010600030101010101" pitchFamily="2" charset="-122"/>
                          <a:sym typeface="Calibri" panose="020F0502020204030204" charset="0"/>
                        </a:defRPr>
                      </a:lvl1pPr>
                      <a:lvl2pPr marL="685800" lvl="1" indent="-228600" algn="l" defTabSz="914400" eaLnBrk="1" fontAlgn="base" latinLnBrk="0" hangingPunct="1">
                        <a:lnSpc>
                          <a:spcPct val="90000"/>
                        </a:lnSpc>
                        <a:spcBef>
                          <a:spcPts val="500"/>
                        </a:spcBef>
                        <a:buClrTx/>
                        <a:buSzTx/>
                        <a:buFont typeface="Arial" panose="020B0604020202020204" pitchFamily="34" charset="0"/>
                        <a:buChar char="•"/>
                        <a:defRPr sz="2400" kern="1200">
                          <a:solidFill>
                            <a:schemeClr val="tx1"/>
                          </a:solidFill>
                          <a:latin typeface="Calibri" panose="020F0502020204030204" charset="0"/>
                          <a:ea typeface="宋体" panose="02010600030101010101" pitchFamily="2" charset="-122"/>
                          <a:sym typeface="Calibri" panose="020F0502020204030204" charset="0"/>
                        </a:defRPr>
                      </a:lvl2pPr>
                      <a:lvl3pPr marL="1143000" lvl="2" indent="-228600" algn="l" defTabSz="914400" eaLnBrk="1" fontAlgn="base" latinLnBrk="0" hangingPunct="1">
                        <a:lnSpc>
                          <a:spcPct val="90000"/>
                        </a:lnSpc>
                        <a:spcBef>
                          <a:spcPts val="500"/>
                        </a:spcBef>
                        <a:buClrTx/>
                        <a:buSzTx/>
                        <a:buFont typeface="Arial" panose="020B0604020202020204" pitchFamily="34" charset="0"/>
                        <a:buChar char="•"/>
                        <a:defRPr sz="2000" kern="1200">
                          <a:solidFill>
                            <a:schemeClr val="tx1"/>
                          </a:solidFill>
                          <a:latin typeface="Calibri" panose="020F0502020204030204" charset="0"/>
                          <a:ea typeface="宋体" panose="02010600030101010101" pitchFamily="2" charset="-122"/>
                          <a:sym typeface="Calibri" panose="020F0502020204030204" charset="0"/>
                        </a:defRPr>
                      </a:lvl3pPr>
                      <a:lvl4pPr marL="1600200" lvl="3" indent="-228600" algn="l" defTabSz="914400" eaLnBrk="1" fontAlgn="base" latinLnBrk="0" hangingPunct="1">
                        <a:lnSpc>
                          <a:spcPct val="90000"/>
                        </a:lnSpc>
                        <a:spcBef>
                          <a:spcPts val="500"/>
                        </a:spcBef>
                        <a:buClrTx/>
                        <a:buSzTx/>
                        <a:buFont typeface="Arial" panose="020B0604020202020204" pitchFamily="34" charset="0"/>
                        <a:buChar char="•"/>
                        <a:defRPr sz="1800" kern="1200">
                          <a:solidFill>
                            <a:schemeClr val="tx1"/>
                          </a:solidFill>
                          <a:latin typeface="Calibri" panose="020F0502020204030204" charset="0"/>
                          <a:ea typeface="宋体" panose="02010600030101010101" pitchFamily="2" charset="-122"/>
                          <a:sym typeface="Calibri" panose="020F0502020204030204" charset="0"/>
                        </a:defRPr>
                      </a:lvl4pPr>
                      <a:lvl5pPr marL="2057400" lvl="4" indent="-228600" algn="l" defTabSz="914400" eaLnBrk="1" fontAlgn="base" latinLnBrk="0" hangingPunct="1">
                        <a:lnSpc>
                          <a:spcPct val="90000"/>
                        </a:lnSpc>
                        <a:spcBef>
                          <a:spcPts val="500"/>
                        </a:spcBef>
                        <a:buClrTx/>
                        <a:buSzTx/>
                        <a:buFont typeface="Arial" panose="020B0604020202020204" pitchFamily="34" charset="0"/>
                        <a:buChar char="•"/>
                        <a:defRPr sz="1800" kern="1200">
                          <a:solidFill>
                            <a:schemeClr val="tx1"/>
                          </a:solidFill>
                          <a:latin typeface="Calibri" panose="020F0502020204030204" charset="0"/>
                          <a:ea typeface="宋体" panose="02010600030101010101" pitchFamily="2" charset="-122"/>
                          <a:sym typeface="Calibri" panose="020F0502020204030204" charset="0"/>
                        </a:defRPr>
                      </a:lvl5pPr>
                    </a:lstStyle>
                    <a:p>
                      <a:pPr marL="0" lvl="0" indent="0">
                        <a:lnSpc>
                          <a:spcPct val="100000"/>
                        </a:lnSpc>
                        <a:spcBef>
                          <a:spcPct val="0"/>
                        </a:spcBef>
                        <a:buFontTx/>
                        <a:buNone/>
                      </a:pPr>
                      <a:r>
                        <a:rPr lang="zh-CN" altLang="en-US" sz="1800">
                          <a:solidFill>
                            <a:srgbClr val="000000"/>
                          </a:solidFill>
                          <a:latin typeface="微软雅黑" panose="020B0503020204020204" charset="-122"/>
                          <a:ea typeface="宋体" panose="02010600030101010101" pitchFamily="2" charset="-122"/>
                          <a:sym typeface="微软雅黑" panose="020B0503020204020204" charset="-122"/>
                        </a:rPr>
                        <a:t>表示重要性而不是强调符号</a:t>
                      </a:r>
                      <a:endParaRPr lang="zh-CN" altLang="en-US" sz="1800">
                        <a:solidFill>
                          <a:srgbClr val="000000"/>
                        </a:solidFill>
                        <a:latin typeface="微软雅黑" panose="020B0503020204020204" charset="-122"/>
                        <a:ea typeface="宋体" panose="02010600030101010101" pitchFamily="2" charset="-122"/>
                        <a:sym typeface="微软雅黑" panose="020B0503020204020204" charset="-122"/>
                      </a:endParaRPr>
                    </a:p>
                  </a:txBody>
                  <a:tcPr vert="horz" anchor="t">
                    <a:lnL>
                      <a:noFill/>
                    </a:lnL>
                    <a:lnR>
                      <a:noFill/>
                    </a:lnR>
                    <a:lnT>
                      <a:noFill/>
                    </a:lnT>
                    <a:lnB>
                      <a:noFill/>
                    </a:lnB>
                    <a:lnTlToBr>
                      <a:noFill/>
                    </a:lnTlToBr>
                    <a:lnBlToTr>
                      <a:noFill/>
                    </a:lnBlToTr>
                    <a:noFill/>
                  </a:tcPr>
                </a:tc>
              </a:tr>
            </a:tbl>
          </a:graphicData>
        </a:graphic>
      </p:graphicFrame>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6386" name="标题 6"/>
          <p:cNvSpPr>
            <a:spLocks noGrp="1"/>
          </p:cNvSpPr>
          <p:nvPr>
            <p:ph type="title"/>
          </p:nvPr>
        </p:nvSpPr>
        <p:spPr>
          <a:xfrm>
            <a:off x="2279650" y="2133600"/>
            <a:ext cx="7772400" cy="1362075"/>
          </a:xfrm>
        </p:spPr>
        <p:txBody>
          <a:bodyPr vert="horz" anchor="t">
            <a:normAutofit/>
          </a:bodyPr>
          <a:p>
            <a:r>
              <a:rPr lang="en-US" altLang="zh-CN" sz="4000" b="1" kern="1200" dirty="0">
                <a:solidFill>
                  <a:srgbClr val="FF0000"/>
                </a:solidFill>
                <a:latin typeface="Calibri Light" panose="020F0302020204030204" charset="0"/>
                <a:ea typeface="宋体" panose="02010600030101010101" pitchFamily="2" charset="-122"/>
                <a:sym typeface="Calibri Light" panose="020F0302020204030204" charset="0"/>
              </a:rPr>
              <a:t>5</a:t>
            </a:r>
            <a:r>
              <a:rPr lang="zh-CN" altLang="en-US" sz="4000" b="1" kern="1200" dirty="0">
                <a:solidFill>
                  <a:srgbClr val="FF0000"/>
                </a:solidFill>
                <a:latin typeface="Calibri Light" panose="020F0302020204030204" charset="0"/>
                <a:ea typeface="宋体" panose="02010600030101010101" pitchFamily="2" charset="-122"/>
                <a:sym typeface="Calibri Light" panose="020F0302020204030204" charset="0"/>
              </a:rPr>
              <a:t>、崭新新的页面布局</a:t>
            </a:r>
            <a:endParaRPr lang="zh-CN" altLang="en-US" sz="4000" b="1" kern="1200" dirty="0">
              <a:solidFill>
                <a:srgbClr val="FF0000"/>
              </a:solidFill>
              <a:latin typeface="Calibri Light" panose="020F0302020204030204" charset="0"/>
              <a:ea typeface="宋体" panose="02010600030101010101" pitchFamily="2" charset="-122"/>
              <a:sym typeface="Calibri Light" panose="020F030202020403020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2"/>
          <p:cNvSpPr>
            <a:spLocks noGrp="1"/>
          </p:cNvSpPr>
          <p:nvPr>
            <p:ph type="title"/>
          </p:nvPr>
        </p:nvSpPr>
        <p:spPr/>
        <p:txBody>
          <a:bodyPr/>
          <a:lstStyle/>
          <a:p>
            <a:r>
              <a:rPr dirty="0"/>
              <a:t>一.HTML基础(html)</a:t>
            </a:r>
            <a:endParaRPr dirty="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7410" name="矩形 3"/>
          <p:cNvSpPr/>
          <p:nvPr/>
        </p:nvSpPr>
        <p:spPr>
          <a:xfrm>
            <a:off x="2640013" y="549275"/>
            <a:ext cx="7561262" cy="5830888"/>
          </a:xfrm>
          <a:prstGeom prst="rect">
            <a:avLst/>
          </a:prstGeom>
          <a:solidFill>
            <a:srgbClr val="92D050"/>
          </a:solidFill>
          <a:ln w="25400" cap="flat" cmpd="sng">
            <a:solidFill>
              <a:srgbClr val="88A3A6"/>
            </a:solidFill>
            <a:prstDash val="solid"/>
            <a:bevel/>
            <a:headEnd type="none" w="med" len="med"/>
            <a:tailEnd type="none" w="med" len="med"/>
          </a:ln>
        </p:spPr>
        <p:txBody>
          <a:bodyPr anchor="ctr"/>
          <a:p>
            <a:pPr algn="ctr"/>
            <a:r>
              <a:rPr lang="en-US" altLang="zh-CN" dirty="0">
                <a:solidFill>
                  <a:srgbClr val="FFFFFF"/>
                </a:solidFill>
                <a:latin typeface="微软雅黑" panose="020B0503020204020204" charset="-122"/>
                <a:ea typeface="微软雅黑" panose="020B0503020204020204" charset="-122"/>
                <a:sym typeface="微软雅黑" panose="020B0503020204020204" charset="-122"/>
              </a:rPr>
              <a:t>Body</a:t>
            </a: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ea typeface="宋体" panose="02010600030101010101" pitchFamily="2" charset="-122"/>
            </a:endParaRPr>
          </a:p>
        </p:txBody>
      </p:sp>
      <p:sp>
        <p:nvSpPr>
          <p:cNvPr id="17411" name="矩形 4"/>
          <p:cNvSpPr/>
          <p:nvPr/>
        </p:nvSpPr>
        <p:spPr>
          <a:xfrm>
            <a:off x="2773363" y="871538"/>
            <a:ext cx="7283450" cy="901700"/>
          </a:xfrm>
          <a:prstGeom prst="rect">
            <a:avLst/>
          </a:prstGeom>
          <a:solidFill>
            <a:schemeClr val="accent2"/>
          </a:solidFill>
          <a:ln w="38100" cap="flat" cmpd="sng">
            <a:solidFill>
              <a:srgbClr val="FFFFFF"/>
            </a:solidFill>
            <a:prstDash val="solid"/>
            <a:bevel/>
            <a:headEnd type="none" w="med" len="med"/>
            <a:tailEnd type="none" w="med" len="med"/>
          </a:ln>
        </p:spPr>
        <p:txBody>
          <a:bodyPr anchor="ctr"/>
          <a:p>
            <a:pPr algn="ctr"/>
            <a:r>
              <a:rPr lang="en-US" altLang="zh-CN" dirty="0">
                <a:solidFill>
                  <a:srgbClr val="FFFFFF"/>
                </a:solidFill>
                <a:latin typeface="微软雅黑" panose="020B0503020204020204" charset="-122"/>
                <a:ea typeface="微软雅黑" panose="020B0503020204020204" charset="-122"/>
                <a:sym typeface="微软雅黑" panose="020B0503020204020204" charset="-122"/>
              </a:rPr>
              <a:t>&lt;div id="header"&gt;&lt;/div&gt;</a:t>
            </a: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ea typeface="宋体" panose="02010600030101010101" pitchFamily="2" charset="-122"/>
            </a:endParaRPr>
          </a:p>
        </p:txBody>
      </p:sp>
      <p:sp>
        <p:nvSpPr>
          <p:cNvPr id="17412" name="矩形 5"/>
          <p:cNvSpPr/>
          <p:nvPr/>
        </p:nvSpPr>
        <p:spPr>
          <a:xfrm>
            <a:off x="2838450" y="1268413"/>
            <a:ext cx="7145338" cy="450850"/>
          </a:xfrm>
          <a:prstGeom prst="rect">
            <a:avLst/>
          </a:prstGeom>
          <a:solidFill>
            <a:srgbClr val="3C8C92"/>
          </a:solidFill>
          <a:ln w="3175" cap="flat" cmpd="sng">
            <a:solidFill>
              <a:srgbClr val="FFFFFF"/>
            </a:solidFill>
            <a:prstDash val="solid"/>
            <a:bevel/>
            <a:headEnd type="none" w="med" len="med"/>
            <a:tailEnd type="none" w="med" len="med"/>
          </a:ln>
        </p:spPr>
        <p:txBody>
          <a:bodyPr anchor="ctr"/>
          <a:p>
            <a:pPr algn="ctr"/>
            <a:r>
              <a:rPr lang="en-US" altLang="zh-CN" dirty="0">
                <a:solidFill>
                  <a:srgbClr val="FFFFFF"/>
                </a:solidFill>
                <a:latin typeface="微软雅黑" panose="020B0503020204020204" charset="-122"/>
                <a:ea typeface="微软雅黑" panose="020B0503020204020204" charset="-122"/>
                <a:sym typeface="微软雅黑" panose="020B0503020204020204" charset="-122"/>
              </a:rPr>
              <a:t>&lt;div id="nav"&gt;&lt;/div&gt;</a:t>
            </a:r>
            <a:endParaRPr lang="zh-CN" altLang="en-US" dirty="0">
              <a:ea typeface="宋体" panose="02010600030101010101" pitchFamily="2" charset="-122"/>
            </a:endParaRPr>
          </a:p>
        </p:txBody>
      </p:sp>
      <p:sp>
        <p:nvSpPr>
          <p:cNvPr id="17413" name="矩形 6"/>
          <p:cNvSpPr/>
          <p:nvPr/>
        </p:nvSpPr>
        <p:spPr>
          <a:xfrm>
            <a:off x="2773363" y="1917700"/>
            <a:ext cx="4619625" cy="3454400"/>
          </a:xfrm>
          <a:prstGeom prst="rect">
            <a:avLst/>
          </a:prstGeom>
          <a:solidFill>
            <a:schemeClr val="accent2"/>
          </a:solidFill>
          <a:ln w="38100" cap="flat" cmpd="sng">
            <a:solidFill>
              <a:srgbClr val="FFFFFF"/>
            </a:solidFill>
            <a:prstDash val="solid"/>
            <a:bevel/>
            <a:headEnd type="none" w="med" len="med"/>
            <a:tailEnd type="none" w="med" len="med"/>
          </a:ln>
        </p:spPr>
        <p:txBody>
          <a:bodyPr anchor="ctr"/>
          <a:p>
            <a:pPr algn="ctr"/>
            <a:r>
              <a:rPr lang="en-US" altLang="zh-CN" sz="1600" dirty="0">
                <a:solidFill>
                  <a:srgbClr val="FFFFFF"/>
                </a:solidFill>
                <a:latin typeface="微软雅黑" panose="020B0503020204020204" charset="-122"/>
                <a:ea typeface="微软雅黑" panose="020B0503020204020204" charset="-122"/>
                <a:sym typeface="微软雅黑" panose="020B0503020204020204" charset="-122"/>
              </a:rPr>
              <a:t>&lt;div id="section"&gt;&lt;/div&gt;</a:t>
            </a:r>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rgbClr val="FFFFFF"/>
              </a:solidFill>
              <a:ea typeface="宋体" panose="02010600030101010101" pitchFamily="2" charset="-122"/>
            </a:endParaRPr>
          </a:p>
          <a:p>
            <a:pPr algn="ctr"/>
            <a:endParaRPr lang="zh-CN" altLang="en-US" sz="1600" dirty="0">
              <a:solidFill>
                <a:srgbClr val="FFFFFF"/>
              </a:solidFill>
              <a:ea typeface="宋体" panose="02010600030101010101" pitchFamily="2" charset="-122"/>
            </a:endParaRPr>
          </a:p>
        </p:txBody>
      </p:sp>
      <p:sp>
        <p:nvSpPr>
          <p:cNvPr id="17414" name="矩形 7"/>
          <p:cNvSpPr/>
          <p:nvPr/>
        </p:nvSpPr>
        <p:spPr>
          <a:xfrm>
            <a:off x="2773363" y="5611813"/>
            <a:ext cx="7283450" cy="623887"/>
          </a:xfrm>
          <a:prstGeom prst="rect">
            <a:avLst/>
          </a:prstGeom>
          <a:solidFill>
            <a:schemeClr val="accent2"/>
          </a:solidFill>
          <a:ln w="38100" cap="flat" cmpd="sng">
            <a:solidFill>
              <a:srgbClr val="FFFFFF"/>
            </a:solidFill>
            <a:prstDash val="solid"/>
            <a:bevel/>
            <a:headEnd type="none" w="med" len="med"/>
            <a:tailEnd type="none" w="med" len="med"/>
          </a:ln>
        </p:spPr>
        <p:txBody>
          <a:bodyPr anchor="ctr"/>
          <a:p>
            <a:pPr algn="ctr"/>
            <a:r>
              <a:rPr lang="en-US" altLang="zh-CN" dirty="0">
                <a:solidFill>
                  <a:srgbClr val="FFFFFF"/>
                </a:solidFill>
                <a:latin typeface="微软雅黑" panose="020B0503020204020204" charset="-122"/>
                <a:ea typeface="微软雅黑" panose="020B0503020204020204" charset="-122"/>
                <a:sym typeface="微软雅黑" panose="020B0503020204020204" charset="-122"/>
              </a:rPr>
              <a:t>&lt;div id="footer"&gt;&lt;/div&gt;</a:t>
            </a:r>
            <a:endParaRPr lang="en-US" altLang="zh-CN" dirty="0">
              <a:solidFill>
                <a:srgbClr val="FFFFFF"/>
              </a:solidFill>
              <a:latin typeface="微软雅黑" panose="020B0503020204020204" charset="-122"/>
              <a:ea typeface="微软雅黑" panose="020B0503020204020204" charset="-122"/>
              <a:sym typeface="微软雅黑" panose="020B0503020204020204" charset="-122"/>
            </a:endParaRPr>
          </a:p>
        </p:txBody>
      </p:sp>
      <p:sp>
        <p:nvSpPr>
          <p:cNvPr id="17415" name="矩形 8"/>
          <p:cNvSpPr/>
          <p:nvPr/>
        </p:nvSpPr>
        <p:spPr>
          <a:xfrm>
            <a:off x="7485063" y="1917700"/>
            <a:ext cx="2571750" cy="3454400"/>
          </a:xfrm>
          <a:prstGeom prst="rect">
            <a:avLst/>
          </a:prstGeom>
          <a:solidFill>
            <a:schemeClr val="accent2"/>
          </a:solidFill>
          <a:ln w="38100" cap="flat" cmpd="sng">
            <a:solidFill>
              <a:srgbClr val="FFFFFF"/>
            </a:solidFill>
            <a:prstDash val="solid"/>
            <a:bevel/>
            <a:headEnd type="none" w="med" len="med"/>
            <a:tailEnd type="none" w="med" len="med"/>
          </a:ln>
        </p:spPr>
        <p:txBody>
          <a:bodyPr anchor="ctr"/>
          <a:p>
            <a:r>
              <a:rPr lang="en-US" altLang="zh-CN" sz="1600" dirty="0">
                <a:solidFill>
                  <a:srgbClr val="FFFFFF"/>
                </a:solidFill>
                <a:latin typeface="微软雅黑" panose="020B0503020204020204" charset="-122"/>
                <a:ea typeface="微软雅黑" panose="020B0503020204020204" charset="-122"/>
                <a:sym typeface="微软雅黑" panose="020B0503020204020204" charset="-122"/>
              </a:rPr>
              <a:t>&lt;div id="aside"&gt;&lt;/div&gt;</a:t>
            </a:r>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rgbClr val="FFFFFF"/>
              </a:solidFill>
              <a:ea typeface="宋体" panose="02010600030101010101" pitchFamily="2" charset="-122"/>
            </a:endParaRPr>
          </a:p>
        </p:txBody>
      </p:sp>
      <p:sp>
        <p:nvSpPr>
          <p:cNvPr id="17416" name="矩形 9"/>
          <p:cNvSpPr/>
          <p:nvPr/>
        </p:nvSpPr>
        <p:spPr>
          <a:xfrm>
            <a:off x="2927350" y="2389188"/>
            <a:ext cx="4365625" cy="2909887"/>
          </a:xfrm>
          <a:prstGeom prst="rect">
            <a:avLst/>
          </a:prstGeom>
          <a:solidFill>
            <a:srgbClr val="3C8C92"/>
          </a:solidFill>
          <a:ln w="25400" cap="flat" cmpd="sng">
            <a:solidFill>
              <a:schemeClr val="accent1"/>
            </a:solidFill>
            <a:prstDash val="solid"/>
            <a:bevel/>
            <a:headEnd type="none" w="med" len="med"/>
            <a:tailEnd type="none" w="med" len="med"/>
          </a:ln>
        </p:spPr>
        <p:txBody>
          <a:bodyPr anchor="ctr"/>
          <a:p>
            <a:pPr algn="ctr"/>
            <a:r>
              <a:rPr lang="en-US" altLang="zh-CN" sz="1600" dirty="0">
                <a:solidFill>
                  <a:schemeClr val="bg1"/>
                </a:solidFill>
                <a:latin typeface="微软雅黑" panose="020B0503020204020204" charset="-122"/>
                <a:ea typeface="微软雅黑" panose="020B0503020204020204" charset="-122"/>
                <a:sym typeface="微软雅黑" panose="020B0503020204020204" charset="-122"/>
              </a:rPr>
              <a:t>&lt;div id="article"&gt;&lt;/div&gt;</a:t>
            </a:r>
            <a:endParaRPr lang="zh-CN" altLang="en-US" sz="1600" dirty="0">
              <a:solidFill>
                <a:schemeClr val="bg1"/>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chemeClr val="bg1"/>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chemeClr val="bg1"/>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chemeClr val="bg1"/>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chemeClr val="bg1"/>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chemeClr val="bg1"/>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chemeClr val="bg1"/>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chemeClr val="bg1"/>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chemeClr val="bg1"/>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chemeClr val="bg1"/>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chemeClr val="bg1"/>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chemeClr val="bg1"/>
              </a:solidFill>
              <a:ea typeface="宋体" panose="02010600030101010101" pitchFamily="2" charset="-122"/>
            </a:endParaRPr>
          </a:p>
        </p:txBody>
      </p:sp>
      <p:sp>
        <p:nvSpPr>
          <p:cNvPr id="17417" name="矩形 10"/>
          <p:cNvSpPr/>
          <p:nvPr/>
        </p:nvSpPr>
        <p:spPr>
          <a:xfrm>
            <a:off x="3157538" y="2649538"/>
            <a:ext cx="4017962" cy="346075"/>
          </a:xfrm>
          <a:prstGeom prst="rect">
            <a:avLst/>
          </a:prstGeom>
          <a:solidFill>
            <a:srgbClr val="00B0F0"/>
          </a:solidFill>
          <a:ln w="25400" cap="flat" cmpd="sng">
            <a:solidFill>
              <a:srgbClr val="88A3A6"/>
            </a:solidFill>
            <a:prstDash val="solid"/>
            <a:bevel/>
            <a:headEnd type="none" w="med" len="med"/>
            <a:tailEnd type="none" w="med" len="med"/>
          </a:ln>
        </p:spPr>
        <p:txBody>
          <a:bodyPr anchor="ctr"/>
          <a:p>
            <a:pPr algn="ctr"/>
            <a:r>
              <a:rPr lang="en-US" altLang="zh-CN" dirty="0">
                <a:solidFill>
                  <a:srgbClr val="FFFFFF"/>
                </a:solidFill>
                <a:latin typeface="微软雅黑" panose="020B0503020204020204" charset="-122"/>
                <a:ea typeface="微软雅黑" panose="020B0503020204020204" charset="-122"/>
                <a:sym typeface="微软雅黑" panose="020B0503020204020204" charset="-122"/>
              </a:rPr>
              <a:t>&lt;div class="header"&gt;&lt;/div&gt;</a:t>
            </a:r>
            <a:endParaRPr lang="en-US" altLang="zh-CN" dirty="0">
              <a:solidFill>
                <a:srgbClr val="FFFFFF"/>
              </a:solidFill>
              <a:latin typeface="微软雅黑" panose="020B0503020204020204" charset="-122"/>
              <a:ea typeface="微软雅黑" panose="020B0503020204020204" charset="-122"/>
              <a:sym typeface="微软雅黑" panose="020B0503020204020204" charset="-122"/>
            </a:endParaRPr>
          </a:p>
        </p:txBody>
      </p:sp>
      <p:sp>
        <p:nvSpPr>
          <p:cNvPr id="17418" name="矩形 11"/>
          <p:cNvSpPr/>
          <p:nvPr/>
        </p:nvSpPr>
        <p:spPr>
          <a:xfrm>
            <a:off x="3157538" y="3197225"/>
            <a:ext cx="4017962" cy="1454150"/>
          </a:xfrm>
          <a:prstGeom prst="rect">
            <a:avLst/>
          </a:prstGeom>
          <a:solidFill>
            <a:srgbClr val="00B0F0"/>
          </a:solidFill>
          <a:ln w="25400" cap="flat" cmpd="sng">
            <a:solidFill>
              <a:srgbClr val="88A3A6"/>
            </a:solidFill>
            <a:prstDash val="solid"/>
            <a:bevel/>
            <a:headEnd type="none" w="med" len="med"/>
            <a:tailEnd type="none" w="med" len="med"/>
          </a:ln>
        </p:spPr>
        <p:txBody>
          <a:bodyPr anchor="ctr"/>
          <a:p>
            <a:pPr algn="ctr"/>
            <a:r>
              <a:rPr lang="en-US" altLang="zh-CN" dirty="0">
                <a:solidFill>
                  <a:srgbClr val="FFFFFF"/>
                </a:solidFill>
                <a:latin typeface="微软雅黑" panose="020B0503020204020204" charset="-122"/>
                <a:ea typeface="微软雅黑" panose="020B0503020204020204" charset="-122"/>
                <a:sym typeface="微软雅黑" panose="020B0503020204020204" charset="-122"/>
              </a:rPr>
              <a:t>&lt;p&gt;</a:t>
            </a:r>
            <a:endParaRPr lang="zh-CN" altLang="en-US" dirty="0">
              <a:solidFill>
                <a:srgbClr val="FFFFFF"/>
              </a:solidFill>
              <a:ea typeface="宋体" panose="02010600030101010101" pitchFamily="2" charset="-122"/>
            </a:endParaRPr>
          </a:p>
        </p:txBody>
      </p:sp>
      <p:sp>
        <p:nvSpPr>
          <p:cNvPr id="17419" name="矩形 13"/>
          <p:cNvSpPr/>
          <p:nvPr/>
        </p:nvSpPr>
        <p:spPr>
          <a:xfrm>
            <a:off x="3157538" y="4811713"/>
            <a:ext cx="4017962" cy="415925"/>
          </a:xfrm>
          <a:prstGeom prst="rect">
            <a:avLst/>
          </a:prstGeom>
          <a:solidFill>
            <a:srgbClr val="00B0F0"/>
          </a:solidFill>
          <a:ln w="25400" cap="flat" cmpd="sng">
            <a:solidFill>
              <a:srgbClr val="88A3A6"/>
            </a:solidFill>
            <a:prstDash val="solid"/>
            <a:bevel/>
            <a:headEnd type="none" w="med" len="med"/>
            <a:tailEnd type="none" w="med" len="med"/>
          </a:ln>
        </p:spPr>
        <p:txBody>
          <a:bodyPr anchor="ctr"/>
          <a:p>
            <a:pPr algn="ctr"/>
            <a:r>
              <a:rPr lang="en-US" altLang="zh-CN" dirty="0">
                <a:solidFill>
                  <a:srgbClr val="FFFFFF"/>
                </a:solidFill>
                <a:latin typeface="微软雅黑" panose="020B0503020204020204" charset="-122"/>
                <a:ea typeface="微软雅黑" panose="020B0503020204020204" charset="-122"/>
                <a:sym typeface="微软雅黑" panose="020B0503020204020204" charset="-122"/>
              </a:rPr>
              <a:t>&lt;div class="footer"&gt;&lt;/div&gt;</a:t>
            </a:r>
            <a:endParaRPr lang="zh-CN" altLang="en-US" dirty="0">
              <a:solidFill>
                <a:srgbClr val="FFFFFF"/>
              </a:solidFill>
              <a:ea typeface="宋体" panose="02010600030101010101" pitchFamily="2" charset="-122"/>
            </a:endParaRPr>
          </a:p>
        </p:txBody>
      </p:sp>
      <p:sp>
        <p:nvSpPr>
          <p:cNvPr id="17420" name="TextBox 14"/>
          <p:cNvSpPr/>
          <p:nvPr/>
        </p:nvSpPr>
        <p:spPr>
          <a:xfrm>
            <a:off x="1703388" y="1751013"/>
            <a:ext cx="461962" cy="3692525"/>
          </a:xfrm>
          <a:prstGeom prst="rect">
            <a:avLst/>
          </a:prstGeom>
          <a:noFill/>
          <a:ln w="9525">
            <a:noFill/>
          </a:ln>
        </p:spPr>
        <p:txBody>
          <a:bodyPr wrap="square">
            <a:spAutoFit/>
          </a:bodyPr>
          <a:p>
            <a:r>
              <a:rPr lang="zh-CN" altLang="en-US" dirty="0">
                <a:solidFill>
                  <a:srgbClr val="000000"/>
                </a:solidFill>
                <a:latin typeface="微软雅黑" panose="020B0503020204020204" charset="-122"/>
                <a:ea typeface="宋体" panose="02010600030101010101" pitchFamily="2" charset="-122"/>
                <a:sym typeface="微软雅黑" panose="020B0503020204020204" charset="-122"/>
              </a:rPr>
              <a:t>传统</a:t>
            </a:r>
            <a:r>
              <a:rPr lang="en-US" altLang="zh-CN" dirty="0">
                <a:solidFill>
                  <a:srgbClr val="000000"/>
                </a:solidFill>
                <a:latin typeface="微软雅黑" panose="020B0503020204020204" charset="-122"/>
                <a:ea typeface="宋体" panose="02010600030101010101" pitchFamily="2" charset="-122"/>
                <a:sym typeface="微软雅黑" panose="020B0503020204020204" charset="-122"/>
              </a:rPr>
              <a:t>div+CSS</a:t>
            </a:r>
            <a:r>
              <a:rPr lang="zh-CN" altLang="en-US" dirty="0">
                <a:solidFill>
                  <a:srgbClr val="000000"/>
                </a:solidFill>
                <a:latin typeface="微软雅黑" panose="020B0503020204020204" charset="-122"/>
                <a:ea typeface="宋体" panose="02010600030101010101" pitchFamily="2" charset="-122"/>
                <a:sym typeface="微软雅黑" panose="020B0503020204020204" charset="-122"/>
              </a:rPr>
              <a:t>页面布局方式</a:t>
            </a:r>
            <a:endParaRPr lang="en-US" altLang="zh-CN" dirty="0">
              <a:solidFill>
                <a:srgbClr val="000000"/>
              </a:solidFill>
              <a:latin typeface="微软雅黑" panose="020B0503020204020204" charset="-122"/>
              <a:ea typeface="宋体" panose="02010600030101010101" pitchFamily="2" charset="-122"/>
              <a:sym typeface="微软雅黑" panose="020B0503020204020204" charset="-122"/>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8434" name="矩形 3"/>
          <p:cNvSpPr/>
          <p:nvPr/>
        </p:nvSpPr>
        <p:spPr>
          <a:xfrm>
            <a:off x="2640013" y="549275"/>
            <a:ext cx="7561262" cy="5830888"/>
          </a:xfrm>
          <a:prstGeom prst="rect">
            <a:avLst/>
          </a:prstGeom>
          <a:solidFill>
            <a:srgbClr val="92D050"/>
          </a:solidFill>
          <a:ln w="25400" cap="flat" cmpd="sng">
            <a:solidFill>
              <a:srgbClr val="88A3A6"/>
            </a:solidFill>
            <a:prstDash val="solid"/>
            <a:bevel/>
            <a:headEnd type="none" w="med" len="med"/>
            <a:tailEnd type="none" w="med" len="med"/>
          </a:ln>
        </p:spPr>
        <p:txBody>
          <a:bodyPr anchor="ctr"/>
          <a:p>
            <a:pPr algn="ctr"/>
            <a:r>
              <a:rPr lang="en-US" altLang="zh-CN" dirty="0">
                <a:solidFill>
                  <a:srgbClr val="FFFFFF"/>
                </a:solidFill>
                <a:latin typeface="微软雅黑" panose="020B0503020204020204" charset="-122"/>
                <a:ea typeface="微软雅黑" panose="020B0503020204020204" charset="-122"/>
                <a:sym typeface="微软雅黑" panose="020B0503020204020204" charset="-122"/>
              </a:rPr>
              <a:t>Body</a:t>
            </a: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ea typeface="宋体" panose="02010600030101010101" pitchFamily="2" charset="-122"/>
            </a:endParaRPr>
          </a:p>
        </p:txBody>
      </p:sp>
      <p:sp>
        <p:nvSpPr>
          <p:cNvPr id="18435" name="矩形 4"/>
          <p:cNvSpPr/>
          <p:nvPr/>
        </p:nvSpPr>
        <p:spPr>
          <a:xfrm>
            <a:off x="2773363" y="871538"/>
            <a:ext cx="7283450" cy="901700"/>
          </a:xfrm>
          <a:prstGeom prst="rect">
            <a:avLst/>
          </a:prstGeom>
          <a:solidFill>
            <a:schemeClr val="accent2"/>
          </a:solidFill>
          <a:ln w="38100" cap="flat" cmpd="sng">
            <a:solidFill>
              <a:srgbClr val="FFFFFF"/>
            </a:solidFill>
            <a:prstDash val="solid"/>
            <a:bevel/>
            <a:headEnd type="none" w="med" len="med"/>
            <a:tailEnd type="none" w="med" len="med"/>
          </a:ln>
        </p:spPr>
        <p:txBody>
          <a:bodyPr anchor="ctr"/>
          <a:p>
            <a:pPr algn="ctr"/>
            <a:r>
              <a:rPr lang="en-US" altLang="zh-CN" dirty="0">
                <a:solidFill>
                  <a:srgbClr val="FFFFFF"/>
                </a:solidFill>
                <a:latin typeface="微软雅黑" panose="020B0503020204020204" charset="-122"/>
                <a:ea typeface="微软雅黑" panose="020B0503020204020204" charset="-122"/>
                <a:sym typeface="微软雅黑" panose="020B0503020204020204" charset="-122"/>
              </a:rPr>
              <a:t>&lt;header&gt;</a:t>
            </a: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dirty="0">
              <a:solidFill>
                <a:srgbClr val="FFFFFF"/>
              </a:solidFill>
              <a:ea typeface="宋体" panose="02010600030101010101" pitchFamily="2" charset="-122"/>
            </a:endParaRPr>
          </a:p>
        </p:txBody>
      </p:sp>
      <p:sp>
        <p:nvSpPr>
          <p:cNvPr id="18436" name="矩形 5"/>
          <p:cNvSpPr/>
          <p:nvPr/>
        </p:nvSpPr>
        <p:spPr>
          <a:xfrm>
            <a:off x="2838450" y="1268413"/>
            <a:ext cx="7145338" cy="450850"/>
          </a:xfrm>
          <a:prstGeom prst="rect">
            <a:avLst/>
          </a:prstGeom>
          <a:solidFill>
            <a:srgbClr val="3C8C92"/>
          </a:solidFill>
          <a:ln w="3175" cap="flat" cmpd="sng">
            <a:solidFill>
              <a:srgbClr val="FFFFFF"/>
            </a:solidFill>
            <a:prstDash val="solid"/>
            <a:bevel/>
            <a:headEnd type="none" w="med" len="med"/>
            <a:tailEnd type="none" w="med" len="med"/>
          </a:ln>
        </p:spPr>
        <p:txBody>
          <a:bodyPr anchor="ctr"/>
          <a:p>
            <a:pPr algn="ctr"/>
            <a:r>
              <a:rPr lang="en-US" altLang="zh-CN" dirty="0">
                <a:solidFill>
                  <a:srgbClr val="FFFFFF"/>
                </a:solidFill>
                <a:latin typeface="微软雅黑" panose="020B0503020204020204" charset="-122"/>
                <a:ea typeface="微软雅黑" panose="020B0503020204020204" charset="-122"/>
                <a:sym typeface="微软雅黑" panose="020B0503020204020204" charset="-122"/>
              </a:rPr>
              <a:t>&lt;nav&gt;</a:t>
            </a:r>
            <a:endParaRPr lang="en-US" altLang="zh-CN" dirty="0">
              <a:solidFill>
                <a:srgbClr val="FFFFFF"/>
              </a:solidFill>
              <a:latin typeface="微软雅黑" panose="020B0503020204020204" charset="-122"/>
              <a:ea typeface="微软雅黑" panose="020B0503020204020204" charset="-122"/>
              <a:sym typeface="微软雅黑" panose="020B0503020204020204" charset="-122"/>
            </a:endParaRPr>
          </a:p>
        </p:txBody>
      </p:sp>
      <p:sp>
        <p:nvSpPr>
          <p:cNvPr id="18437" name="矩形 6"/>
          <p:cNvSpPr/>
          <p:nvPr/>
        </p:nvSpPr>
        <p:spPr>
          <a:xfrm>
            <a:off x="2773363" y="1917700"/>
            <a:ext cx="4619625" cy="3454400"/>
          </a:xfrm>
          <a:prstGeom prst="rect">
            <a:avLst/>
          </a:prstGeom>
          <a:solidFill>
            <a:schemeClr val="accent2"/>
          </a:solidFill>
          <a:ln w="38100" cap="flat" cmpd="sng">
            <a:solidFill>
              <a:srgbClr val="FFFFFF"/>
            </a:solidFill>
            <a:prstDash val="solid"/>
            <a:bevel/>
            <a:headEnd type="none" w="med" len="med"/>
            <a:tailEnd type="none" w="med" len="med"/>
          </a:ln>
        </p:spPr>
        <p:txBody>
          <a:bodyPr anchor="ctr"/>
          <a:p>
            <a:pPr algn="ctr"/>
            <a:r>
              <a:rPr lang="en-US" altLang="zh-CN" sz="1600" dirty="0">
                <a:solidFill>
                  <a:srgbClr val="FFFFFF"/>
                </a:solidFill>
                <a:latin typeface="微软雅黑" panose="020B0503020204020204" charset="-122"/>
                <a:ea typeface="微软雅黑" panose="020B0503020204020204" charset="-122"/>
                <a:sym typeface="微软雅黑" panose="020B0503020204020204" charset="-122"/>
              </a:rPr>
              <a:t>&lt;section&gt;</a:t>
            </a:r>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rgbClr val="FFFFFF"/>
              </a:solidFill>
              <a:ea typeface="宋体" panose="02010600030101010101" pitchFamily="2" charset="-122"/>
            </a:endParaRPr>
          </a:p>
        </p:txBody>
      </p:sp>
      <p:sp>
        <p:nvSpPr>
          <p:cNvPr id="18438" name="矩形 7"/>
          <p:cNvSpPr/>
          <p:nvPr/>
        </p:nvSpPr>
        <p:spPr>
          <a:xfrm>
            <a:off x="2773363" y="5611813"/>
            <a:ext cx="7283450" cy="623887"/>
          </a:xfrm>
          <a:prstGeom prst="rect">
            <a:avLst/>
          </a:prstGeom>
          <a:solidFill>
            <a:schemeClr val="accent2"/>
          </a:solidFill>
          <a:ln w="38100" cap="flat" cmpd="sng">
            <a:solidFill>
              <a:srgbClr val="FFFFFF"/>
            </a:solidFill>
            <a:prstDash val="solid"/>
            <a:bevel/>
            <a:headEnd type="none" w="med" len="med"/>
            <a:tailEnd type="none" w="med" len="med"/>
          </a:ln>
        </p:spPr>
        <p:txBody>
          <a:bodyPr anchor="ctr"/>
          <a:p>
            <a:pPr algn="ctr"/>
            <a:r>
              <a:rPr lang="en-US" altLang="zh-CN" dirty="0">
                <a:solidFill>
                  <a:srgbClr val="FFFFFF"/>
                </a:solidFill>
                <a:latin typeface="微软雅黑" panose="020B0503020204020204" charset="-122"/>
                <a:ea typeface="微软雅黑" panose="020B0503020204020204" charset="-122"/>
                <a:sym typeface="微软雅黑" panose="020B0503020204020204" charset="-122"/>
              </a:rPr>
              <a:t>&lt;footer&gt;</a:t>
            </a:r>
            <a:endParaRPr lang="en-US" altLang="zh-CN" dirty="0">
              <a:solidFill>
                <a:srgbClr val="FFFFFF"/>
              </a:solidFill>
              <a:latin typeface="微软雅黑" panose="020B0503020204020204" charset="-122"/>
              <a:ea typeface="微软雅黑" panose="020B0503020204020204" charset="-122"/>
              <a:sym typeface="微软雅黑" panose="020B0503020204020204" charset="-122"/>
            </a:endParaRPr>
          </a:p>
        </p:txBody>
      </p:sp>
      <p:sp>
        <p:nvSpPr>
          <p:cNvPr id="18439" name="矩形 8"/>
          <p:cNvSpPr/>
          <p:nvPr/>
        </p:nvSpPr>
        <p:spPr>
          <a:xfrm>
            <a:off x="7485063" y="1917700"/>
            <a:ext cx="2571750" cy="3454400"/>
          </a:xfrm>
          <a:prstGeom prst="rect">
            <a:avLst/>
          </a:prstGeom>
          <a:solidFill>
            <a:schemeClr val="accent2"/>
          </a:solidFill>
          <a:ln w="38100" cap="flat" cmpd="sng">
            <a:solidFill>
              <a:srgbClr val="FFFFFF"/>
            </a:solidFill>
            <a:prstDash val="solid"/>
            <a:bevel/>
            <a:headEnd type="none" w="med" len="med"/>
            <a:tailEnd type="none" w="med" len="med"/>
          </a:ln>
        </p:spPr>
        <p:txBody>
          <a:bodyPr anchor="ctr"/>
          <a:p>
            <a:r>
              <a:rPr lang="en-US" altLang="zh-CN" sz="1600" dirty="0">
                <a:solidFill>
                  <a:srgbClr val="FFFFFF"/>
                </a:solidFill>
                <a:latin typeface="微软雅黑" panose="020B0503020204020204" charset="-122"/>
                <a:ea typeface="微软雅黑" panose="020B0503020204020204" charset="-122"/>
                <a:sym typeface="微软雅黑" panose="020B0503020204020204" charset="-122"/>
              </a:rPr>
              <a:t>&lt;aside&gt;</a:t>
            </a:r>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endParaRPr lang="zh-CN" altLang="en-US" sz="1600" dirty="0">
              <a:solidFill>
                <a:srgbClr val="FFFFFF"/>
              </a:solidFill>
              <a:latin typeface="微软雅黑" panose="020B0503020204020204" charset="-122"/>
              <a:ea typeface="微软雅黑" panose="020B0503020204020204" charset="-122"/>
              <a:sym typeface="微软雅黑" panose="020B0503020204020204" charset="-122"/>
            </a:endParaRPr>
          </a:p>
          <a:p>
            <a:endParaRPr lang="zh-CN" altLang="en-US" sz="1600" dirty="0">
              <a:solidFill>
                <a:srgbClr val="FFFFFF"/>
              </a:solidFill>
              <a:ea typeface="宋体" panose="02010600030101010101" pitchFamily="2" charset="-122"/>
            </a:endParaRPr>
          </a:p>
        </p:txBody>
      </p:sp>
      <p:sp>
        <p:nvSpPr>
          <p:cNvPr id="18440" name="矩形 9"/>
          <p:cNvSpPr/>
          <p:nvPr/>
        </p:nvSpPr>
        <p:spPr>
          <a:xfrm>
            <a:off x="2927350" y="2389188"/>
            <a:ext cx="4365625" cy="2909887"/>
          </a:xfrm>
          <a:prstGeom prst="rect">
            <a:avLst/>
          </a:prstGeom>
          <a:solidFill>
            <a:srgbClr val="3C8C92"/>
          </a:solidFill>
          <a:ln w="25400" cap="flat" cmpd="sng">
            <a:solidFill>
              <a:schemeClr val="accent1"/>
            </a:solidFill>
            <a:prstDash val="solid"/>
            <a:bevel/>
            <a:headEnd type="none" w="med" len="med"/>
            <a:tailEnd type="none" w="med" len="med"/>
          </a:ln>
        </p:spPr>
        <p:txBody>
          <a:bodyPr anchor="ctr"/>
          <a:p>
            <a:pPr algn="ctr"/>
            <a:r>
              <a:rPr lang="en-US" altLang="zh-CN" sz="1600" dirty="0">
                <a:solidFill>
                  <a:schemeClr val="bg1"/>
                </a:solidFill>
                <a:latin typeface="微软雅黑" panose="020B0503020204020204" charset="-122"/>
                <a:ea typeface="微软雅黑" panose="020B0503020204020204" charset="-122"/>
                <a:sym typeface="微软雅黑" panose="020B0503020204020204" charset="-122"/>
              </a:rPr>
              <a:t>&lt;article&gt;</a:t>
            </a:r>
            <a:endParaRPr lang="zh-CN" altLang="en-US" sz="1600" dirty="0">
              <a:solidFill>
                <a:schemeClr val="bg1"/>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chemeClr val="bg1"/>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chemeClr val="bg1"/>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chemeClr val="bg1"/>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chemeClr val="bg1"/>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chemeClr val="bg1"/>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chemeClr val="bg1"/>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chemeClr val="bg1"/>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chemeClr val="bg1"/>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chemeClr val="bg1"/>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chemeClr val="bg1"/>
              </a:solidFill>
              <a:latin typeface="微软雅黑" panose="020B0503020204020204" charset="-122"/>
              <a:ea typeface="微软雅黑" panose="020B0503020204020204" charset="-122"/>
              <a:sym typeface="微软雅黑" panose="020B0503020204020204" charset="-122"/>
            </a:endParaRPr>
          </a:p>
          <a:p>
            <a:pPr algn="ctr"/>
            <a:endParaRPr lang="zh-CN" altLang="en-US" sz="1600" dirty="0">
              <a:solidFill>
                <a:schemeClr val="bg1"/>
              </a:solidFill>
              <a:ea typeface="宋体" panose="02010600030101010101" pitchFamily="2" charset="-122"/>
            </a:endParaRPr>
          </a:p>
        </p:txBody>
      </p:sp>
      <p:sp>
        <p:nvSpPr>
          <p:cNvPr id="18441" name="矩形 10"/>
          <p:cNvSpPr/>
          <p:nvPr/>
        </p:nvSpPr>
        <p:spPr>
          <a:xfrm>
            <a:off x="3157538" y="2649538"/>
            <a:ext cx="4017962" cy="346075"/>
          </a:xfrm>
          <a:prstGeom prst="rect">
            <a:avLst/>
          </a:prstGeom>
          <a:solidFill>
            <a:srgbClr val="00B0F0"/>
          </a:solidFill>
          <a:ln w="25400" cap="flat" cmpd="sng">
            <a:solidFill>
              <a:srgbClr val="88A3A6"/>
            </a:solidFill>
            <a:prstDash val="solid"/>
            <a:bevel/>
            <a:headEnd type="none" w="med" len="med"/>
            <a:tailEnd type="none" w="med" len="med"/>
          </a:ln>
        </p:spPr>
        <p:txBody>
          <a:bodyPr anchor="ctr"/>
          <a:p>
            <a:pPr algn="ctr"/>
            <a:r>
              <a:rPr lang="en-US" altLang="zh-CN" dirty="0">
                <a:solidFill>
                  <a:srgbClr val="FFFFFF"/>
                </a:solidFill>
                <a:latin typeface="微软雅黑" panose="020B0503020204020204" charset="-122"/>
                <a:ea typeface="微软雅黑" panose="020B0503020204020204" charset="-122"/>
                <a:sym typeface="微软雅黑" panose="020B0503020204020204" charset="-122"/>
              </a:rPr>
              <a:t>&lt;header&gt;</a:t>
            </a:r>
            <a:endParaRPr lang="en-US" altLang="zh-CN" dirty="0">
              <a:solidFill>
                <a:srgbClr val="FFFFFF"/>
              </a:solidFill>
              <a:latin typeface="微软雅黑" panose="020B0503020204020204" charset="-122"/>
              <a:ea typeface="微软雅黑" panose="020B0503020204020204" charset="-122"/>
              <a:sym typeface="微软雅黑" panose="020B0503020204020204" charset="-122"/>
            </a:endParaRPr>
          </a:p>
        </p:txBody>
      </p:sp>
      <p:sp>
        <p:nvSpPr>
          <p:cNvPr id="18442" name="矩形 11"/>
          <p:cNvSpPr/>
          <p:nvPr/>
        </p:nvSpPr>
        <p:spPr>
          <a:xfrm>
            <a:off x="3157538" y="3197225"/>
            <a:ext cx="4017962" cy="1454150"/>
          </a:xfrm>
          <a:prstGeom prst="rect">
            <a:avLst/>
          </a:prstGeom>
          <a:solidFill>
            <a:srgbClr val="00B0F0"/>
          </a:solidFill>
          <a:ln w="25400" cap="flat" cmpd="sng">
            <a:solidFill>
              <a:srgbClr val="88A3A6"/>
            </a:solidFill>
            <a:prstDash val="solid"/>
            <a:bevel/>
            <a:headEnd type="none" w="med" len="med"/>
            <a:tailEnd type="none" w="med" len="med"/>
          </a:ln>
        </p:spPr>
        <p:txBody>
          <a:bodyPr anchor="ctr"/>
          <a:p>
            <a:pPr algn="ctr"/>
            <a:r>
              <a:rPr lang="en-US" altLang="zh-CN" dirty="0">
                <a:solidFill>
                  <a:srgbClr val="FFFFFF"/>
                </a:solidFill>
                <a:latin typeface="微软雅黑" panose="020B0503020204020204" charset="-122"/>
                <a:ea typeface="微软雅黑" panose="020B0503020204020204" charset="-122"/>
                <a:sym typeface="微软雅黑" panose="020B0503020204020204" charset="-122"/>
              </a:rPr>
              <a:t>&lt;p&gt;</a:t>
            </a:r>
            <a:endParaRPr lang="zh-CN" altLang="en-US" dirty="0">
              <a:solidFill>
                <a:srgbClr val="FFFFFF"/>
              </a:solidFill>
              <a:ea typeface="宋体" panose="02010600030101010101" pitchFamily="2" charset="-122"/>
            </a:endParaRPr>
          </a:p>
        </p:txBody>
      </p:sp>
      <p:sp>
        <p:nvSpPr>
          <p:cNvPr id="18443" name="矩形 13"/>
          <p:cNvSpPr/>
          <p:nvPr/>
        </p:nvSpPr>
        <p:spPr>
          <a:xfrm>
            <a:off x="3157538" y="4811713"/>
            <a:ext cx="4017962" cy="415925"/>
          </a:xfrm>
          <a:prstGeom prst="rect">
            <a:avLst/>
          </a:prstGeom>
          <a:solidFill>
            <a:srgbClr val="00B0F0"/>
          </a:solidFill>
          <a:ln w="25400" cap="flat" cmpd="sng">
            <a:solidFill>
              <a:srgbClr val="88A3A6"/>
            </a:solidFill>
            <a:prstDash val="solid"/>
            <a:bevel/>
            <a:headEnd type="none" w="med" len="med"/>
            <a:tailEnd type="none" w="med" len="med"/>
          </a:ln>
        </p:spPr>
        <p:txBody>
          <a:bodyPr anchor="ctr"/>
          <a:p>
            <a:pPr algn="ctr"/>
            <a:r>
              <a:rPr lang="en-US" altLang="zh-CN" dirty="0">
                <a:solidFill>
                  <a:srgbClr val="FFFFFF"/>
                </a:solidFill>
                <a:latin typeface="微软雅黑" panose="020B0503020204020204" charset="-122"/>
                <a:ea typeface="微软雅黑" panose="020B0503020204020204" charset="-122"/>
                <a:sym typeface="微软雅黑" panose="020B0503020204020204" charset="-122"/>
              </a:rPr>
              <a:t>&lt;footer&gt;</a:t>
            </a:r>
            <a:endParaRPr lang="zh-CN" altLang="en-US" dirty="0">
              <a:solidFill>
                <a:srgbClr val="FFFFFF"/>
              </a:solidFill>
              <a:ea typeface="宋体" panose="02010600030101010101" pitchFamily="2" charset="-122"/>
            </a:endParaRPr>
          </a:p>
        </p:txBody>
      </p:sp>
      <p:sp>
        <p:nvSpPr>
          <p:cNvPr id="18444" name="TextBox 14"/>
          <p:cNvSpPr/>
          <p:nvPr/>
        </p:nvSpPr>
        <p:spPr>
          <a:xfrm>
            <a:off x="1703388" y="1751013"/>
            <a:ext cx="461962" cy="2306955"/>
          </a:xfrm>
          <a:prstGeom prst="rect">
            <a:avLst/>
          </a:prstGeom>
          <a:noFill/>
          <a:ln w="9525">
            <a:noFill/>
          </a:ln>
        </p:spPr>
        <p:txBody>
          <a:bodyPr wrap="square">
            <a:spAutoFit/>
          </a:bodyPr>
          <a:p>
            <a:r>
              <a:rPr lang="en-US" altLang="zh-CN" dirty="0">
                <a:solidFill>
                  <a:srgbClr val="000000"/>
                </a:solidFill>
                <a:latin typeface="微软雅黑" panose="020B0503020204020204" charset="-122"/>
                <a:ea typeface="宋体" panose="02010600030101010101" pitchFamily="2" charset="-122"/>
                <a:sym typeface="微软雅黑" panose="020B0503020204020204" charset="-122"/>
              </a:rPr>
              <a:t>HTML5</a:t>
            </a:r>
            <a:r>
              <a:rPr lang="zh-CN" altLang="en-US" dirty="0">
                <a:solidFill>
                  <a:srgbClr val="000000"/>
                </a:solidFill>
                <a:latin typeface="微软雅黑" panose="020B0503020204020204" charset="-122"/>
                <a:ea typeface="宋体" panose="02010600030101010101" pitchFamily="2" charset="-122"/>
                <a:sym typeface="微软雅黑" panose="020B0503020204020204" charset="-122"/>
              </a:rPr>
              <a:t>布局方式</a:t>
            </a:r>
            <a:endParaRPr lang="en-US" altLang="zh-CN" dirty="0">
              <a:solidFill>
                <a:srgbClr val="000000"/>
              </a:solidFill>
              <a:latin typeface="微软雅黑" panose="020B0503020204020204" charset="-122"/>
              <a:ea typeface="宋体" panose="02010600030101010101" pitchFamily="2" charset="-122"/>
              <a:sym typeface="微软雅黑" panose="020B0503020204020204" charset="-122"/>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9458" name="标题 1"/>
          <p:cNvSpPr>
            <a:spLocks noGrp="1"/>
          </p:cNvSpPr>
          <p:nvPr>
            <p:ph type="title"/>
          </p:nvPr>
        </p:nvSpPr>
        <p:spPr>
          <a:xfrm>
            <a:off x="1981200" y="914400"/>
            <a:ext cx="8229600" cy="1143000"/>
          </a:xfrm>
        </p:spPr>
        <p:txBody>
          <a:bodyPr vert="horz" anchor="ctr">
            <a:normAutofit/>
          </a:bodyPr>
          <a:p>
            <a:r>
              <a:rPr lang="en-US" altLang="zh-CN" sz="4400" kern="1200" dirty="0">
                <a:latin typeface="Calibri Light" panose="020F0302020204030204" charset="0"/>
                <a:ea typeface="宋体" panose="02010600030101010101" pitchFamily="2" charset="-122"/>
                <a:sym typeface="Calibri Light" panose="020F0302020204030204" charset="0"/>
              </a:rPr>
              <a:t>Div</a:t>
            </a:r>
            <a:r>
              <a:rPr lang="zh-CN" altLang="en-US" sz="4400" kern="1200" dirty="0">
                <a:latin typeface="Calibri Light" panose="020F0302020204030204" charset="0"/>
                <a:ea typeface="宋体" panose="02010600030101010101" pitchFamily="2" charset="-122"/>
                <a:sym typeface="Calibri Light" panose="020F0302020204030204" charset="0"/>
              </a:rPr>
              <a:t>和新结构标签的区别和意义</a:t>
            </a:r>
            <a:endParaRPr lang="zh-CN" altLang="en-US" sz="4400" kern="1200" dirty="0">
              <a:latin typeface="Calibri Light" panose="020F0302020204030204" charset="0"/>
              <a:ea typeface="宋体" panose="02010600030101010101" pitchFamily="2" charset="-122"/>
              <a:sym typeface="Calibri Light" panose="020F0302020204030204" charset="0"/>
            </a:endParaRPr>
          </a:p>
        </p:txBody>
      </p:sp>
      <p:sp>
        <p:nvSpPr>
          <p:cNvPr id="19459" name="内容占位符 2"/>
          <p:cNvSpPr>
            <a:spLocks noGrp="1"/>
          </p:cNvSpPr>
          <p:nvPr>
            <p:ph idx="1"/>
          </p:nvPr>
        </p:nvSpPr>
        <p:spPr>
          <a:xfrm>
            <a:off x="1981200" y="2362200"/>
            <a:ext cx="8229600" cy="3810000"/>
          </a:xfrm>
        </p:spPr>
        <p:txBody>
          <a:bodyPr vert="horz">
            <a:normAutofit/>
          </a:bodyPr>
          <a:p>
            <a:pPr marL="109855" algn="l" defTabSz="914400"/>
            <a:r>
              <a:rPr lang="en-US" altLang="zh-CN" sz="2800" kern="1200" dirty="0">
                <a:latin typeface="Calibri" panose="020F0502020204030204" charset="0"/>
                <a:ea typeface="宋体" panose="02010600030101010101" pitchFamily="2" charset="-122"/>
                <a:sym typeface="Calibri" panose="020F0502020204030204" charset="0"/>
              </a:rPr>
              <a:t> </a:t>
            </a:r>
            <a:endParaRPr lang="zh-CN" altLang="en-US" sz="2800" kern="1200" dirty="0">
              <a:latin typeface="Calibri" panose="020F0502020204030204" charset="0"/>
              <a:ea typeface="宋体" panose="02010600030101010101" pitchFamily="2" charset="-122"/>
              <a:sym typeface="Calibri" panose="020F0502020204030204" charset="0"/>
            </a:endParaRPr>
          </a:p>
        </p:txBody>
      </p:sp>
      <p:sp>
        <p:nvSpPr>
          <p:cNvPr id="19460" name="矩形 3"/>
          <p:cNvSpPr/>
          <p:nvPr/>
        </p:nvSpPr>
        <p:spPr>
          <a:xfrm>
            <a:off x="2968625" y="5111750"/>
            <a:ext cx="1439863" cy="649288"/>
          </a:xfrm>
          <a:prstGeom prst="rect">
            <a:avLst/>
          </a:prstGeom>
          <a:gradFill rotWithShape="1">
            <a:gsLst>
              <a:gs pos="0">
                <a:srgbClr val="000000">
                  <a:alpha val="100000"/>
                </a:srgbClr>
              </a:gs>
              <a:gs pos="79999">
                <a:srgbClr val="000000">
                  <a:alpha val="100000"/>
                </a:srgbClr>
              </a:gs>
              <a:gs pos="100000">
                <a:srgbClr val="000000">
                  <a:alpha val="100000"/>
                </a:srgbClr>
              </a:gs>
            </a:gsLst>
            <a:lin ang="16200000" scaled="1"/>
            <a:tileRect/>
          </a:gradFill>
          <a:ln w="9525" cap="flat" cmpd="sng">
            <a:solidFill>
              <a:srgbClr val="000000"/>
            </a:solidFill>
            <a:prstDash val="solid"/>
            <a:bevel/>
            <a:headEnd type="none" w="med" len="med"/>
            <a:tailEnd type="none" w="med" len="med"/>
          </a:ln>
        </p:spPr>
        <p:txBody>
          <a:bodyPr anchor="ctr"/>
          <a:p>
            <a:pPr algn="ctr"/>
            <a:r>
              <a:rPr lang="en-US" altLang="zh-CN" dirty="0">
                <a:solidFill>
                  <a:srgbClr val="FFFFFF"/>
                </a:solidFill>
                <a:latin typeface="微软雅黑" panose="020B0503020204020204" charset="-122"/>
                <a:ea typeface="微软雅黑" panose="020B0503020204020204" charset="-122"/>
                <a:sym typeface="微软雅黑" panose="020B0503020204020204" charset="-122"/>
              </a:rPr>
              <a:t>xz</a:t>
            </a:r>
            <a:endParaRPr lang="zh-CN" altLang="en-US" dirty="0">
              <a:solidFill>
                <a:srgbClr val="FFFFFF"/>
              </a:solidFill>
              <a:ea typeface="宋体" panose="02010600030101010101" pitchFamily="2" charset="-122"/>
            </a:endParaRPr>
          </a:p>
        </p:txBody>
      </p:sp>
      <p:sp>
        <p:nvSpPr>
          <p:cNvPr id="19461" name="矩形 4"/>
          <p:cNvSpPr/>
          <p:nvPr/>
        </p:nvSpPr>
        <p:spPr>
          <a:xfrm>
            <a:off x="2968625" y="3735388"/>
            <a:ext cx="1439863" cy="647700"/>
          </a:xfrm>
          <a:prstGeom prst="rect">
            <a:avLst/>
          </a:prstGeom>
          <a:gradFill rotWithShape="1">
            <a:gsLst>
              <a:gs pos="0">
                <a:srgbClr val="000000">
                  <a:alpha val="100000"/>
                </a:srgbClr>
              </a:gs>
              <a:gs pos="79999">
                <a:srgbClr val="000000">
                  <a:alpha val="100000"/>
                </a:srgbClr>
              </a:gs>
              <a:gs pos="100000">
                <a:srgbClr val="000000">
                  <a:alpha val="100000"/>
                </a:srgbClr>
              </a:gs>
            </a:gsLst>
            <a:lin ang="16200000" scaled="1"/>
            <a:tileRect/>
          </a:gradFill>
          <a:ln w="9525" cap="flat" cmpd="sng">
            <a:solidFill>
              <a:srgbClr val="000000"/>
            </a:solidFill>
            <a:prstDash val="solid"/>
            <a:bevel/>
            <a:headEnd type="none" w="med" len="med"/>
            <a:tailEnd type="none" w="med" len="med"/>
          </a:ln>
        </p:spPr>
        <p:txBody>
          <a:bodyPr anchor="ctr"/>
          <a:p>
            <a:pPr algn="ctr"/>
            <a:r>
              <a:rPr lang="en-US" altLang="zh-CN" dirty="0">
                <a:solidFill>
                  <a:srgbClr val="FFFFFF"/>
                </a:solidFill>
                <a:latin typeface="微软雅黑" panose="020B0503020204020204" charset="-122"/>
                <a:ea typeface="微软雅黑" panose="020B0503020204020204" charset="-122"/>
                <a:sym typeface="微软雅黑" panose="020B0503020204020204" charset="-122"/>
              </a:rPr>
              <a:t>mz</a:t>
            </a:r>
            <a:endParaRPr lang="zh-CN" altLang="en-US" dirty="0">
              <a:solidFill>
                <a:srgbClr val="FFFFFF"/>
              </a:solidFill>
              <a:ea typeface="宋体" panose="02010600030101010101" pitchFamily="2" charset="-122"/>
            </a:endParaRPr>
          </a:p>
        </p:txBody>
      </p:sp>
      <p:sp>
        <p:nvSpPr>
          <p:cNvPr id="19462" name="矩形 5"/>
          <p:cNvSpPr/>
          <p:nvPr/>
        </p:nvSpPr>
        <p:spPr>
          <a:xfrm>
            <a:off x="2968625" y="4422775"/>
            <a:ext cx="1439863" cy="649288"/>
          </a:xfrm>
          <a:prstGeom prst="rect">
            <a:avLst/>
          </a:prstGeom>
          <a:gradFill rotWithShape="1">
            <a:gsLst>
              <a:gs pos="0">
                <a:srgbClr val="000000">
                  <a:alpha val="100000"/>
                </a:srgbClr>
              </a:gs>
              <a:gs pos="79999">
                <a:srgbClr val="000000">
                  <a:alpha val="100000"/>
                </a:srgbClr>
              </a:gs>
              <a:gs pos="100000">
                <a:srgbClr val="000000">
                  <a:alpha val="100000"/>
                </a:srgbClr>
              </a:gs>
            </a:gsLst>
            <a:lin ang="16200000" scaled="1"/>
            <a:tileRect/>
          </a:gradFill>
          <a:ln w="9525" cap="flat" cmpd="sng">
            <a:solidFill>
              <a:srgbClr val="000000"/>
            </a:solidFill>
            <a:prstDash val="solid"/>
            <a:bevel/>
            <a:headEnd type="none" w="med" len="med"/>
            <a:tailEnd type="none" w="med" len="med"/>
          </a:ln>
        </p:spPr>
        <p:txBody>
          <a:bodyPr anchor="ctr"/>
          <a:p>
            <a:pPr algn="ctr"/>
            <a:r>
              <a:rPr lang="en-US" altLang="zh-CN" dirty="0">
                <a:solidFill>
                  <a:srgbClr val="FFFFFF"/>
                </a:solidFill>
                <a:latin typeface="微软雅黑" panose="020B0503020204020204" charset="-122"/>
                <a:ea typeface="微软雅黑" panose="020B0503020204020204" charset="-122"/>
                <a:sym typeface="微软雅黑" panose="020B0503020204020204" charset="-122"/>
              </a:rPr>
              <a:t>yf</a:t>
            </a:r>
            <a:endParaRPr lang="zh-CN" altLang="en-US" dirty="0">
              <a:solidFill>
                <a:srgbClr val="FFFFFF"/>
              </a:solidFill>
              <a:ea typeface="宋体" panose="02010600030101010101" pitchFamily="2" charset="-122"/>
            </a:endParaRPr>
          </a:p>
        </p:txBody>
      </p:sp>
      <p:sp>
        <p:nvSpPr>
          <p:cNvPr id="19463" name="矩形 7"/>
          <p:cNvSpPr/>
          <p:nvPr/>
        </p:nvSpPr>
        <p:spPr>
          <a:xfrm>
            <a:off x="7535863" y="5111750"/>
            <a:ext cx="1439862" cy="649288"/>
          </a:xfrm>
          <a:prstGeom prst="rect">
            <a:avLst/>
          </a:prstGeom>
          <a:gradFill rotWithShape="1">
            <a:gsLst>
              <a:gs pos="0">
                <a:srgbClr val="19197C">
                  <a:alpha val="100000"/>
                </a:srgbClr>
              </a:gs>
              <a:gs pos="79999">
                <a:srgbClr val="2222A2">
                  <a:alpha val="100000"/>
                </a:srgbClr>
              </a:gs>
              <a:gs pos="100000">
                <a:srgbClr val="1F1FA5">
                  <a:alpha val="100000"/>
                </a:srgbClr>
              </a:gs>
            </a:gsLst>
            <a:lin ang="16200000" scaled="1"/>
            <a:tileRect/>
          </a:gradFill>
          <a:ln w="9525" cap="flat" cmpd="sng">
            <a:solidFill>
              <a:schemeClr val="accent2"/>
            </a:solidFill>
            <a:prstDash val="solid"/>
            <a:bevel/>
            <a:headEnd type="none" w="med" len="med"/>
            <a:tailEnd type="none" w="med" len="med"/>
          </a:ln>
        </p:spPr>
        <p:txBody>
          <a:bodyPr anchor="ctr"/>
          <a:p>
            <a:pPr algn="ctr"/>
            <a:r>
              <a:rPr lang="zh-CN" altLang="en-US" dirty="0">
                <a:solidFill>
                  <a:srgbClr val="FFFFFF"/>
                </a:solidFill>
                <a:ea typeface="宋体" panose="02010600030101010101" pitchFamily="2" charset="-122"/>
              </a:rPr>
              <a:t>鞋子</a:t>
            </a:r>
            <a:endParaRPr lang="zh-CN" altLang="en-US" dirty="0">
              <a:solidFill>
                <a:srgbClr val="FFFFFF"/>
              </a:solidFill>
              <a:ea typeface="宋体" panose="02010600030101010101" pitchFamily="2" charset="-122"/>
            </a:endParaRPr>
          </a:p>
        </p:txBody>
      </p:sp>
      <p:sp>
        <p:nvSpPr>
          <p:cNvPr id="19464" name="矩形 8"/>
          <p:cNvSpPr/>
          <p:nvPr/>
        </p:nvSpPr>
        <p:spPr>
          <a:xfrm>
            <a:off x="7535863" y="3735388"/>
            <a:ext cx="1439862" cy="647700"/>
          </a:xfrm>
          <a:prstGeom prst="rect">
            <a:avLst/>
          </a:prstGeom>
          <a:gradFill rotWithShape="1">
            <a:gsLst>
              <a:gs pos="0">
                <a:srgbClr val="19197C">
                  <a:alpha val="100000"/>
                </a:srgbClr>
              </a:gs>
              <a:gs pos="79999">
                <a:srgbClr val="2222A2">
                  <a:alpha val="100000"/>
                </a:srgbClr>
              </a:gs>
              <a:gs pos="100000">
                <a:srgbClr val="1F1FA5">
                  <a:alpha val="100000"/>
                </a:srgbClr>
              </a:gs>
            </a:gsLst>
            <a:lin ang="16200000" scaled="1"/>
            <a:tileRect/>
          </a:gradFill>
          <a:ln w="9525" cap="flat" cmpd="sng">
            <a:solidFill>
              <a:schemeClr val="accent2"/>
            </a:solidFill>
            <a:prstDash val="solid"/>
            <a:bevel/>
            <a:headEnd type="none" w="med" len="med"/>
            <a:tailEnd type="none" w="med" len="med"/>
          </a:ln>
        </p:spPr>
        <p:txBody>
          <a:bodyPr anchor="ctr"/>
          <a:p>
            <a:pPr algn="ctr"/>
            <a:r>
              <a:rPr lang="zh-CN" altLang="en-US" dirty="0">
                <a:solidFill>
                  <a:srgbClr val="FFFFFF"/>
                </a:solidFill>
                <a:ea typeface="宋体" panose="02010600030101010101" pitchFamily="2" charset="-122"/>
              </a:rPr>
              <a:t>帽子</a:t>
            </a:r>
            <a:endParaRPr lang="zh-CN" altLang="en-US" dirty="0">
              <a:solidFill>
                <a:srgbClr val="FFFFFF"/>
              </a:solidFill>
              <a:ea typeface="宋体" panose="02010600030101010101" pitchFamily="2" charset="-122"/>
            </a:endParaRPr>
          </a:p>
        </p:txBody>
      </p:sp>
      <p:sp>
        <p:nvSpPr>
          <p:cNvPr id="19465" name="矩形 9"/>
          <p:cNvSpPr/>
          <p:nvPr/>
        </p:nvSpPr>
        <p:spPr>
          <a:xfrm>
            <a:off x="7535863" y="4422775"/>
            <a:ext cx="1439862" cy="649288"/>
          </a:xfrm>
          <a:prstGeom prst="rect">
            <a:avLst/>
          </a:prstGeom>
          <a:gradFill rotWithShape="1">
            <a:gsLst>
              <a:gs pos="0">
                <a:srgbClr val="19197C">
                  <a:alpha val="100000"/>
                </a:srgbClr>
              </a:gs>
              <a:gs pos="79999">
                <a:srgbClr val="2222A2">
                  <a:alpha val="100000"/>
                </a:srgbClr>
              </a:gs>
              <a:gs pos="100000">
                <a:srgbClr val="1F1FA5">
                  <a:alpha val="100000"/>
                </a:srgbClr>
              </a:gs>
            </a:gsLst>
            <a:lin ang="16200000" scaled="1"/>
            <a:tileRect/>
          </a:gradFill>
          <a:ln w="9525" cap="flat" cmpd="sng">
            <a:solidFill>
              <a:schemeClr val="accent2"/>
            </a:solidFill>
            <a:prstDash val="solid"/>
            <a:bevel/>
            <a:headEnd type="none" w="med" len="med"/>
            <a:tailEnd type="none" w="med" len="med"/>
          </a:ln>
        </p:spPr>
        <p:txBody>
          <a:bodyPr anchor="ctr"/>
          <a:p>
            <a:pPr algn="ctr"/>
            <a:r>
              <a:rPr lang="zh-CN" altLang="en-US" dirty="0">
                <a:solidFill>
                  <a:srgbClr val="FFFFFF"/>
                </a:solidFill>
                <a:ea typeface="宋体" panose="02010600030101010101" pitchFamily="2" charset="-122"/>
              </a:rPr>
              <a:t>衣服</a:t>
            </a:r>
            <a:endParaRPr lang="zh-CN" altLang="en-US" dirty="0">
              <a:ea typeface="宋体" panose="02010600030101010101" pitchFamily="2" charset="-122"/>
            </a:endParaRPr>
          </a:p>
        </p:txBody>
      </p:sp>
      <p:sp>
        <p:nvSpPr>
          <p:cNvPr id="19466" name="TextBox 6"/>
          <p:cNvSpPr/>
          <p:nvPr/>
        </p:nvSpPr>
        <p:spPr>
          <a:xfrm>
            <a:off x="3406775" y="2771775"/>
            <a:ext cx="578485" cy="368300"/>
          </a:xfrm>
          <a:prstGeom prst="rect">
            <a:avLst/>
          </a:prstGeom>
          <a:noFill/>
          <a:ln w="9525">
            <a:noFill/>
          </a:ln>
        </p:spPr>
        <p:txBody>
          <a:bodyPr wrap="none">
            <a:spAutoFit/>
          </a:bodyPr>
          <a:p>
            <a:r>
              <a:rPr lang="en-US" altLang="zh-CN" dirty="0">
                <a:solidFill>
                  <a:srgbClr val="000000"/>
                </a:solidFill>
                <a:latin typeface="微软雅黑" panose="020B0503020204020204" charset="-122"/>
                <a:ea typeface="宋体" panose="02010600030101010101" pitchFamily="2" charset="-122"/>
                <a:sym typeface="微软雅黑" panose="020B0503020204020204" charset="-122"/>
              </a:rPr>
              <a:t>DIV</a:t>
            </a:r>
            <a:endParaRPr lang="zh-CN" altLang="en-US" dirty="0">
              <a:solidFill>
                <a:srgbClr val="000000"/>
              </a:solidFill>
              <a:latin typeface="微软雅黑" panose="020B0503020204020204" charset="-122"/>
              <a:ea typeface="宋体" panose="02010600030101010101" pitchFamily="2" charset="-122"/>
              <a:sym typeface="微软雅黑" panose="020B0503020204020204" charset="-122"/>
            </a:endParaRPr>
          </a:p>
        </p:txBody>
      </p:sp>
      <p:sp>
        <p:nvSpPr>
          <p:cNvPr id="19467" name="TextBox 10"/>
          <p:cNvSpPr/>
          <p:nvPr/>
        </p:nvSpPr>
        <p:spPr>
          <a:xfrm>
            <a:off x="7751763" y="2781300"/>
            <a:ext cx="965200" cy="368300"/>
          </a:xfrm>
          <a:prstGeom prst="rect">
            <a:avLst/>
          </a:prstGeom>
          <a:noFill/>
          <a:ln w="9525">
            <a:noFill/>
          </a:ln>
        </p:spPr>
        <p:txBody>
          <a:bodyPr wrap="none">
            <a:spAutoFit/>
          </a:bodyPr>
          <a:p>
            <a:r>
              <a:rPr lang="en-US" altLang="zh-CN" dirty="0">
                <a:solidFill>
                  <a:srgbClr val="000000"/>
                </a:solidFill>
                <a:latin typeface="微软雅黑" panose="020B0503020204020204" charset="-122"/>
                <a:ea typeface="宋体" panose="02010600030101010101" pitchFamily="2" charset="-122"/>
                <a:sym typeface="微软雅黑" panose="020B0503020204020204" charset="-122"/>
              </a:rPr>
              <a:t>HTML5</a:t>
            </a:r>
            <a:endParaRPr lang="zh-CN" altLang="en-US" dirty="0">
              <a:solidFill>
                <a:srgbClr val="000000"/>
              </a:solidFill>
              <a:latin typeface="微软雅黑" panose="020B0503020204020204" charset="-122"/>
              <a:ea typeface="宋体" panose="02010600030101010101" pitchFamily="2" charset="-122"/>
              <a:sym typeface="微软雅黑" panose="020B0503020204020204"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9460"/>
                                        </p:tgtEl>
                                        <p:attrNameLst>
                                          <p:attrName>style.visibility</p:attrName>
                                        </p:attrNameLst>
                                      </p:cBhvr>
                                      <p:to>
                                        <p:strVal val="visible"/>
                                      </p:to>
                                    </p:set>
                                    <p:anim calcmode="lin" valueType="num">
                                      <p:cBhvr>
                                        <p:cTn id="7" dur="500" fill="hold"/>
                                        <p:tgtEl>
                                          <p:spTgt spid="19460"/>
                                        </p:tgtEl>
                                        <p:attrNameLst>
                                          <p:attrName>ppt_x</p:attrName>
                                        </p:attrNameLst>
                                      </p:cBhvr>
                                      <p:tavLst>
                                        <p:tav tm="0">
                                          <p:val>
                                            <p:strVal val="#ppt_x"/>
                                          </p:val>
                                        </p:tav>
                                        <p:tav tm="100000">
                                          <p:val>
                                            <p:strVal val="#ppt_x"/>
                                          </p:val>
                                        </p:tav>
                                      </p:tavLst>
                                    </p:anim>
                                    <p:anim calcmode="lin" valueType="num">
                                      <p:cBhvr>
                                        <p:cTn id="8" dur="500" fill="hold"/>
                                        <p:tgtEl>
                                          <p:spTgt spid="19460"/>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9462"/>
                                        </p:tgtEl>
                                        <p:attrNameLst>
                                          <p:attrName>style.visibility</p:attrName>
                                        </p:attrNameLst>
                                      </p:cBhvr>
                                      <p:to>
                                        <p:strVal val="visible"/>
                                      </p:to>
                                    </p:set>
                                    <p:anim calcmode="lin" valueType="num">
                                      <p:cBhvr>
                                        <p:cTn id="13" dur="500" fill="hold"/>
                                        <p:tgtEl>
                                          <p:spTgt spid="19462"/>
                                        </p:tgtEl>
                                        <p:attrNameLst>
                                          <p:attrName>ppt_x</p:attrName>
                                        </p:attrNameLst>
                                      </p:cBhvr>
                                      <p:tavLst>
                                        <p:tav tm="0">
                                          <p:val>
                                            <p:strVal val="#ppt_x"/>
                                          </p:val>
                                        </p:tav>
                                        <p:tav tm="100000">
                                          <p:val>
                                            <p:strVal val="#ppt_x"/>
                                          </p:val>
                                        </p:tav>
                                      </p:tavLst>
                                    </p:anim>
                                    <p:anim calcmode="lin" valueType="num">
                                      <p:cBhvr>
                                        <p:cTn id="14" dur="500" fill="hold"/>
                                        <p:tgtEl>
                                          <p:spTgt spid="19462"/>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9461"/>
                                        </p:tgtEl>
                                        <p:attrNameLst>
                                          <p:attrName>style.visibility</p:attrName>
                                        </p:attrNameLst>
                                      </p:cBhvr>
                                      <p:to>
                                        <p:strVal val="visible"/>
                                      </p:to>
                                    </p:set>
                                    <p:anim calcmode="lin" valueType="num">
                                      <p:cBhvr>
                                        <p:cTn id="19" dur="500" fill="hold"/>
                                        <p:tgtEl>
                                          <p:spTgt spid="19461"/>
                                        </p:tgtEl>
                                        <p:attrNameLst>
                                          <p:attrName>ppt_x</p:attrName>
                                        </p:attrNameLst>
                                      </p:cBhvr>
                                      <p:tavLst>
                                        <p:tav tm="0">
                                          <p:val>
                                            <p:strVal val="#ppt_x"/>
                                          </p:val>
                                        </p:tav>
                                        <p:tav tm="100000">
                                          <p:val>
                                            <p:strVal val="#ppt_x"/>
                                          </p:val>
                                        </p:tav>
                                      </p:tavLst>
                                    </p:anim>
                                    <p:anim calcmode="lin" valueType="num">
                                      <p:cBhvr>
                                        <p:cTn id="20" dur="500" fill="hold"/>
                                        <p:tgtEl>
                                          <p:spTgt spid="19461"/>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42" presetClass="entr" presetSubtype="0" fill="hold" grpId="0" nodeType="clickEffect">
                                  <p:stCondLst>
                                    <p:cond delay="0"/>
                                  </p:stCondLst>
                                  <p:childTnLst>
                                    <p:set>
                                      <p:cBhvr>
                                        <p:cTn id="24" dur="1" fill="hold">
                                          <p:stCondLst>
                                            <p:cond delay="0"/>
                                          </p:stCondLst>
                                        </p:cTn>
                                        <p:tgtEl>
                                          <p:spTgt spid="19463"/>
                                        </p:tgtEl>
                                        <p:attrNameLst>
                                          <p:attrName>style.visibility</p:attrName>
                                        </p:attrNameLst>
                                      </p:cBhvr>
                                      <p:to>
                                        <p:strVal val="visible"/>
                                      </p:to>
                                    </p:set>
                                    <p:animEffect filter="fade">
                                      <p:cBhvr>
                                        <p:cTn id="25" dur="1000"/>
                                        <p:tgtEl>
                                          <p:spTgt spid="19463"/>
                                        </p:tgtEl>
                                      </p:cBhvr>
                                    </p:animEffect>
                                    <p:anim calcmode="lin" valueType="num">
                                      <p:cBhvr>
                                        <p:cTn id="26" dur="1000" fill="hold"/>
                                        <p:tgtEl>
                                          <p:spTgt spid="19463"/>
                                        </p:tgtEl>
                                        <p:attrNameLst>
                                          <p:attrName>ppt_x</p:attrName>
                                        </p:attrNameLst>
                                      </p:cBhvr>
                                      <p:tavLst>
                                        <p:tav tm="0">
                                          <p:val>
                                            <p:strVal val="#ppt_x"/>
                                          </p:val>
                                        </p:tav>
                                        <p:tav tm="100000">
                                          <p:val>
                                            <p:strVal val="#ppt_x"/>
                                          </p:val>
                                        </p:tav>
                                      </p:tavLst>
                                    </p:anim>
                                    <p:anim calcmode="lin" valueType="num">
                                      <p:cBhvr>
                                        <p:cTn id="27" dur="1000" fill="hold"/>
                                        <p:tgtEl>
                                          <p:spTgt spid="19463"/>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42" presetClass="entr" presetSubtype="0" fill="hold" grpId="0" nodeType="clickEffect">
                                  <p:stCondLst>
                                    <p:cond delay="0"/>
                                  </p:stCondLst>
                                  <p:childTnLst>
                                    <p:set>
                                      <p:cBhvr>
                                        <p:cTn id="31" dur="1" fill="hold">
                                          <p:stCondLst>
                                            <p:cond delay="0"/>
                                          </p:stCondLst>
                                        </p:cTn>
                                        <p:tgtEl>
                                          <p:spTgt spid="19465"/>
                                        </p:tgtEl>
                                        <p:attrNameLst>
                                          <p:attrName>style.visibility</p:attrName>
                                        </p:attrNameLst>
                                      </p:cBhvr>
                                      <p:to>
                                        <p:strVal val="visible"/>
                                      </p:to>
                                    </p:set>
                                    <p:animEffect filter="fade">
                                      <p:cBhvr>
                                        <p:cTn id="32" dur="1000"/>
                                        <p:tgtEl>
                                          <p:spTgt spid="19465"/>
                                        </p:tgtEl>
                                      </p:cBhvr>
                                    </p:animEffect>
                                    <p:anim calcmode="lin" valueType="num">
                                      <p:cBhvr>
                                        <p:cTn id="33" dur="1000" fill="hold"/>
                                        <p:tgtEl>
                                          <p:spTgt spid="19465"/>
                                        </p:tgtEl>
                                        <p:attrNameLst>
                                          <p:attrName>ppt_x</p:attrName>
                                        </p:attrNameLst>
                                      </p:cBhvr>
                                      <p:tavLst>
                                        <p:tav tm="0">
                                          <p:val>
                                            <p:strVal val="#ppt_x"/>
                                          </p:val>
                                        </p:tav>
                                        <p:tav tm="100000">
                                          <p:val>
                                            <p:strVal val="#ppt_x"/>
                                          </p:val>
                                        </p:tav>
                                      </p:tavLst>
                                    </p:anim>
                                    <p:anim calcmode="lin" valueType="num">
                                      <p:cBhvr>
                                        <p:cTn id="34" dur="1000" fill="hold"/>
                                        <p:tgtEl>
                                          <p:spTgt spid="19465"/>
                                        </p:tgtEl>
                                        <p:attrNameLst>
                                          <p:attrName>ppt_y</p:attrName>
                                        </p:attrNameLst>
                                      </p:cBhvr>
                                      <p:tavLst>
                                        <p:tav tm="0">
                                          <p:val>
                                            <p:strVal val="#ppt_y+.1"/>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grpId="0" nodeType="clickEffect">
                                  <p:stCondLst>
                                    <p:cond delay="0"/>
                                  </p:stCondLst>
                                  <p:childTnLst>
                                    <p:set>
                                      <p:cBhvr>
                                        <p:cTn id="38" dur="1" fill="hold">
                                          <p:stCondLst>
                                            <p:cond delay="0"/>
                                          </p:stCondLst>
                                        </p:cTn>
                                        <p:tgtEl>
                                          <p:spTgt spid="19464"/>
                                        </p:tgtEl>
                                        <p:attrNameLst>
                                          <p:attrName>style.visibility</p:attrName>
                                        </p:attrNameLst>
                                      </p:cBhvr>
                                      <p:to>
                                        <p:strVal val="visible"/>
                                      </p:to>
                                    </p:set>
                                    <p:animEffect filter="fade">
                                      <p:cBhvr>
                                        <p:cTn id="39" dur="1000"/>
                                        <p:tgtEl>
                                          <p:spTgt spid="19464"/>
                                        </p:tgtEl>
                                      </p:cBhvr>
                                    </p:animEffect>
                                    <p:anim calcmode="lin" valueType="num">
                                      <p:cBhvr>
                                        <p:cTn id="40" dur="1000" fill="hold"/>
                                        <p:tgtEl>
                                          <p:spTgt spid="19464"/>
                                        </p:tgtEl>
                                        <p:attrNameLst>
                                          <p:attrName>ppt_x</p:attrName>
                                        </p:attrNameLst>
                                      </p:cBhvr>
                                      <p:tavLst>
                                        <p:tav tm="0">
                                          <p:val>
                                            <p:strVal val="#ppt_x"/>
                                          </p:val>
                                        </p:tav>
                                        <p:tav tm="100000">
                                          <p:val>
                                            <p:strVal val="#ppt_x"/>
                                          </p:val>
                                        </p:tav>
                                      </p:tavLst>
                                    </p:anim>
                                    <p:anim calcmode="lin" valueType="num">
                                      <p:cBhvr>
                                        <p:cTn id="41" dur="1000" fill="hold"/>
                                        <p:tgtEl>
                                          <p:spTgt spid="1946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460" grpId="0" bldLvl="0" animBg="1"/>
      <p:bldP spid="19461" grpId="0" bldLvl="0" animBg="1"/>
      <p:bldP spid="19462" grpId="0" bldLvl="0" animBg="1"/>
      <p:bldP spid="19463" grpId="0" bldLvl="0" animBg="1"/>
      <p:bldP spid="19464" grpId="0" bldLvl="0" animBg="1"/>
      <p:bldP spid="19465" grpId="0" bldLvl="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2"/>
          <p:cNvSpPr>
            <a:spLocks noGrp="1"/>
          </p:cNvSpPr>
          <p:nvPr>
            <p:ph type="title"/>
          </p:nvPr>
        </p:nvSpPr>
        <p:spPr/>
        <p:txBody>
          <a:bodyPr>
            <a:normAutofit/>
          </a:bodyPr>
          <a:lstStyle/>
          <a:p>
            <a:r>
              <a:rPr dirty="0"/>
              <a:t>二.响应式介绍</a:t>
            </a:r>
            <a:endParaRPr dirty="0"/>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810444" y="1302768"/>
            <a:ext cx="5470636" cy="1106805"/>
          </a:xfrm>
          <a:prstGeom prst="rect">
            <a:avLst/>
          </a:prstGeom>
          <a:noFill/>
        </p:spPr>
        <p:txBody>
          <a:bodyPr wrap="square" rtlCol="0">
            <a:spAutoFit/>
          </a:bodyPr>
          <a:lstStyle/>
          <a:p>
            <a:r>
              <a:rPr lang="zh-CN" sz="6600" dirty="0">
                <a:latin typeface="Tw Cen MT" panose="020B0602020104020603" pitchFamily="34" charset="0"/>
                <a:ea typeface="宋体" panose="02010600030101010101" pitchFamily="2" charset="-122"/>
              </a:rPr>
              <a:t>概念</a:t>
            </a:r>
            <a:endParaRPr lang="zh-CN" sz="6600" dirty="0">
              <a:latin typeface="Tw Cen MT" panose="020B0602020104020603" pitchFamily="34" charset="0"/>
              <a:ea typeface="宋体" panose="02010600030101010101" pitchFamily="2" charset="-122"/>
            </a:endParaRPr>
          </a:p>
        </p:txBody>
      </p:sp>
      <p:sp>
        <p:nvSpPr>
          <p:cNvPr id="3" name="TextBox 21"/>
          <p:cNvSpPr txBox="1"/>
          <p:nvPr/>
        </p:nvSpPr>
        <p:spPr>
          <a:xfrm>
            <a:off x="810444" y="2567333"/>
            <a:ext cx="3648405" cy="2306955"/>
          </a:xfrm>
          <a:prstGeom prst="rect">
            <a:avLst/>
          </a:prstGeom>
          <a:noFill/>
        </p:spPr>
        <p:txBody>
          <a:bodyPr wrap="square" rtlCol="0">
            <a:spAutoFit/>
          </a:bodyPr>
          <a:lstStyle/>
          <a:p>
            <a:pPr lvl="0">
              <a:lnSpc>
                <a:spcPct val="150000"/>
              </a:lnSpc>
              <a:defRPr/>
            </a:pPr>
            <a:r>
              <a:rPr lang="zh-CN" altLang="en-US" sz="1600" dirty="0">
                <a:solidFill>
                  <a:prstClr val="black">
                    <a:lumMod val="65000"/>
                    <a:lumOff val="35000"/>
                  </a:prstClr>
                </a:solidFill>
                <a:latin typeface="微软雅黑 Light" panose="020B0502040204020203" pitchFamily="34" charset="-122"/>
                <a:ea typeface="微软雅黑 Light" panose="020B0502040204020203" pitchFamily="34" charset="-122"/>
                <a:cs typeface="Open Sans" panose="020B0606030504020204" pitchFamily="34" charset="0"/>
              </a:rPr>
              <a:t>在2010年5月，Ethan Marcotte提出的响应式网站的概念，通俗的说，就是一个网站可以兼容不同的终端，不用为每个分辨率设备做一个特定的版本的网站。这样，我们就可以不必为不断到来的新设备做专门的版本设计和开发了。</a:t>
            </a:r>
            <a:endParaRPr lang="zh-CN" altLang="en-US" sz="1600" dirty="0">
              <a:solidFill>
                <a:prstClr val="black">
                  <a:lumMod val="65000"/>
                  <a:lumOff val="35000"/>
                </a:prstClr>
              </a:solidFill>
              <a:latin typeface="微软雅黑 Light" panose="020B0502040204020203" pitchFamily="34" charset="-122"/>
              <a:ea typeface="微软雅黑 Light" panose="020B0502040204020203" pitchFamily="34" charset="-122"/>
              <a:cs typeface="Open Sans" panose="020B0606030504020204" pitchFamily="34" charset="0"/>
            </a:endParaRPr>
          </a:p>
        </p:txBody>
      </p:sp>
      <p:sp>
        <p:nvSpPr>
          <p:cNvPr id="4" name="TextBox 21"/>
          <p:cNvSpPr txBox="1"/>
          <p:nvPr/>
        </p:nvSpPr>
        <p:spPr>
          <a:xfrm>
            <a:off x="6401435" y="2635250"/>
            <a:ext cx="4104005" cy="1938020"/>
          </a:xfrm>
          <a:prstGeom prst="rect">
            <a:avLst/>
          </a:prstGeom>
          <a:noFill/>
        </p:spPr>
        <p:txBody>
          <a:bodyPr wrap="square" rtlCol="0">
            <a:spAutoFit/>
          </a:bodyPr>
          <a:p>
            <a:pPr lvl="0">
              <a:lnSpc>
                <a:spcPct val="150000"/>
              </a:lnSpc>
              <a:defRPr/>
            </a:pPr>
            <a:r>
              <a:rPr lang="zh-CN" altLang="en-US" sz="16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响应式web设计(Responsive Web design)的理念是页面的设计与开发应当根据设备环境（屏幕尺寸、屏幕定向、系统平台等）以及用户行为（改变窗口大小等）进行相应的响应和调整。</a:t>
            </a:r>
            <a:endParaRPr lang="zh-CN" altLang="en-US" sz="16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1000"/>
                                        <p:tgtEl>
                                          <p:spTgt spid="3"/>
                                        </p:tgtEl>
                                      </p:cBhvr>
                                    </p:animEffect>
                                    <p:anim calcmode="lin" valueType="num">
                                      <p:cBhvr>
                                        <p:cTn id="13" dur="1000" fill="hold"/>
                                        <p:tgtEl>
                                          <p:spTgt spid="3"/>
                                        </p:tgtEl>
                                        <p:attrNameLst>
                                          <p:attrName>ppt_x</p:attrName>
                                        </p:attrNameLst>
                                      </p:cBhvr>
                                      <p:tavLst>
                                        <p:tav tm="0">
                                          <p:val>
                                            <p:strVal val="#ppt_x"/>
                                          </p:val>
                                        </p:tav>
                                        <p:tav tm="100000">
                                          <p:val>
                                            <p:strVal val="#ppt_x"/>
                                          </p:val>
                                        </p:tav>
                                      </p:tavLst>
                                    </p:anim>
                                    <p:anim calcmode="lin" valueType="num">
                                      <p:cBhvr>
                                        <p:cTn id="14" dur="1000" fill="hold"/>
                                        <p:tgtEl>
                                          <p:spTgt spid="3"/>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1000"/>
                                        <p:tgtEl>
                                          <p:spTgt spid="4"/>
                                        </p:tgtEl>
                                      </p:cBhvr>
                                    </p:animEffect>
                                    <p:anim calcmode="lin" valueType="num">
                                      <p:cBhvr>
                                        <p:cTn id="18" dur="1000" fill="hold"/>
                                        <p:tgtEl>
                                          <p:spTgt spid="4"/>
                                        </p:tgtEl>
                                        <p:attrNameLst>
                                          <p:attrName>ppt_x</p:attrName>
                                        </p:attrNameLst>
                                      </p:cBhvr>
                                      <p:tavLst>
                                        <p:tav tm="0">
                                          <p:val>
                                            <p:strVal val="#ppt_x"/>
                                          </p:val>
                                        </p:tav>
                                        <p:tav tm="100000">
                                          <p:val>
                                            <p:strVal val="#ppt_x"/>
                                          </p:val>
                                        </p:tav>
                                      </p:tavLst>
                                    </p:anim>
                                    <p:anim calcmode="lin" valueType="num">
                                      <p:cBhvr>
                                        <p:cTn id="1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P spid="4"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图片 9" descr="C:\Users\yanyili\AppData\Local\Kingsoft\WPS Cloud Files\userdata\qing\filecache\漫漫盐路的云文档\图片2.png图片2"/>
          <p:cNvPicPr>
            <a:picLocks noChangeAspect="1"/>
          </p:cNvPicPr>
          <p:nvPr/>
        </p:nvPicPr>
        <p:blipFill>
          <a:blip r:embed="rId1"/>
          <a:srcRect/>
          <a:stretch>
            <a:fillRect/>
          </a:stretch>
        </p:blipFill>
        <p:spPr>
          <a:xfrm>
            <a:off x="1776439" y="1989413"/>
            <a:ext cx="5420995" cy="3404258"/>
          </a:xfrm>
          <a:prstGeom prst="rect">
            <a:avLst/>
          </a:prstGeom>
        </p:spPr>
      </p:pic>
      <p:sp>
        <p:nvSpPr>
          <p:cNvPr id="3" name="Rectangle 22"/>
          <p:cNvSpPr/>
          <p:nvPr/>
        </p:nvSpPr>
        <p:spPr>
          <a:xfrm>
            <a:off x="7428865" y="1264920"/>
            <a:ext cx="3860165" cy="4128770"/>
          </a:xfrm>
          <a:prstGeom prst="rect">
            <a:avLst/>
          </a:prstGeom>
          <a:gradFill flip="none" rotWithShape="1">
            <a:gsLst>
              <a:gs pos="0">
                <a:srgbClr val="FF4D75"/>
              </a:gs>
              <a:gs pos="87000">
                <a:srgbClr val="9443E2">
                  <a:alpha val="5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Title 1"/>
          <p:cNvSpPr txBox="1"/>
          <p:nvPr/>
        </p:nvSpPr>
        <p:spPr>
          <a:xfrm>
            <a:off x="1790700" y="1042859"/>
            <a:ext cx="8610600" cy="49548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dirty="0">
                <a:latin typeface="微软雅黑 Light" panose="020B0502040204020203" pitchFamily="34" charset="-122"/>
                <a:ea typeface="微软雅黑 Light" panose="020B0502040204020203" pitchFamily="34" charset="-122"/>
              </a:rPr>
              <a:t>响应式布局概念</a:t>
            </a:r>
            <a:endParaRPr lang="zh-CN" altLang="en-US" dirty="0">
              <a:latin typeface="微软雅黑 Light" panose="020B0502040204020203" pitchFamily="34" charset="-122"/>
              <a:ea typeface="微软雅黑 Light" panose="020B0502040204020203" pitchFamily="34" charset="-122"/>
            </a:endParaRPr>
          </a:p>
        </p:txBody>
      </p:sp>
      <p:sp>
        <p:nvSpPr>
          <p:cNvPr id="7" name="TextBox 26"/>
          <p:cNvSpPr txBox="1"/>
          <p:nvPr/>
        </p:nvSpPr>
        <p:spPr>
          <a:xfrm>
            <a:off x="7873660" y="1537746"/>
            <a:ext cx="2971799" cy="3322955"/>
          </a:xfrm>
          <a:prstGeom prst="rect">
            <a:avLst/>
          </a:prstGeom>
          <a:noFill/>
        </p:spPr>
        <p:txBody>
          <a:bodyPr wrap="square" rtlCol="0">
            <a:spAutoFit/>
          </a:bodyPr>
          <a:lstStyle/>
          <a:p>
            <a:pPr lvl="0">
              <a:lnSpc>
                <a:spcPct val="150000"/>
              </a:lnSpc>
              <a:defRPr/>
            </a:pPr>
            <a:r>
              <a:rPr lang="zh-CN" altLang="en-US" sz="2000" dirty="0">
                <a:solidFill>
                  <a:schemeClr val="bg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Responsive design，意在实现不同屏幕分辨率的终端上浏览网页的不同展示方式。通过响应式设计能使网站在手机和平板电脑上有更好的浏览阅读体验。</a:t>
            </a:r>
            <a:endParaRPr lang="zh-CN" altLang="en-US" sz="2000" dirty="0">
              <a:solidFill>
                <a:schemeClr val="bg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par>
                                <p:cTn id="8" presetID="42"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400"/>
                                        <p:tgtEl>
                                          <p:spTgt spid="7"/>
                                        </p:tgtEl>
                                      </p:cBhvr>
                                    </p:animEffect>
                                    <p:anim calcmode="lin" valueType="num">
                                      <p:cBhvr>
                                        <p:cTn id="11" dur="400" fill="hold"/>
                                        <p:tgtEl>
                                          <p:spTgt spid="7"/>
                                        </p:tgtEl>
                                        <p:attrNameLst>
                                          <p:attrName>ppt_x</p:attrName>
                                        </p:attrNameLst>
                                      </p:cBhvr>
                                      <p:tavLst>
                                        <p:tav tm="0">
                                          <p:val>
                                            <p:strVal val="#ppt_x"/>
                                          </p:val>
                                        </p:tav>
                                        <p:tav tm="100000">
                                          <p:val>
                                            <p:strVal val="#ppt_x"/>
                                          </p:val>
                                        </p:tav>
                                      </p:tavLst>
                                    </p:anim>
                                    <p:anim calcmode="lin" valueType="num">
                                      <p:cBhvr>
                                        <p:cTn id="12" dur="4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 name="矩形 6"/>
          <p:cNvSpPr/>
          <p:nvPr>
            <p:custDataLst>
              <p:tags r:id="rId1"/>
            </p:custDataLst>
          </p:nvPr>
        </p:nvSpPr>
        <p:spPr>
          <a:xfrm>
            <a:off x="1022985" y="682625"/>
            <a:ext cx="10287000" cy="5206365"/>
          </a:xfrm>
          <a:prstGeom prst="rect">
            <a:avLst/>
          </a:prstGeom>
          <a:no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fontAlgn="base"/>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2" name="文本框 1"/>
          <p:cNvSpPr txBox="1"/>
          <p:nvPr/>
        </p:nvSpPr>
        <p:spPr>
          <a:xfrm>
            <a:off x="1154430" y="995680"/>
            <a:ext cx="10155555" cy="4994910"/>
          </a:xfrm>
          <a:prstGeom prst="rect">
            <a:avLst/>
          </a:prstGeom>
          <a:noFill/>
        </p:spPr>
        <p:txBody>
          <a:bodyPr wrap="square" rtlCol="0" anchor="t">
            <a:spAutoFit/>
          </a:bodyPr>
          <a:p>
            <a:pPr indent="0" fontAlgn="ctr">
              <a:spcBef>
                <a:spcPts val="1000"/>
              </a:spcBef>
              <a:spcAft>
                <a:spcPts val="0"/>
              </a:spcAft>
              <a:buSzPct val="130000"/>
              <a:buFont typeface="WPS-Numbers" pitchFamily="2" charset="0"/>
              <a:buNone/>
            </a:pPr>
            <a:r>
              <a:rPr dirty="0">
                <a:solidFill>
                  <a:schemeClr val="tx1">
                    <a:lumMod val="75000"/>
                    <a:lumOff val="25000"/>
                  </a:schemeClr>
                </a:solidFill>
                <a:uFillTx/>
                <a:latin typeface="Arial" panose="020B0604020202020204" pitchFamily="34" charset="0"/>
                <a:ea typeface="微软雅黑" panose="020B0503020204020204" charset="-122"/>
                <a:sym typeface="+mn-ea"/>
              </a:rPr>
              <a:t>响应式优点</a:t>
            </a:r>
            <a:r>
              <a:rPr lang="zh-CN" dirty="0">
                <a:solidFill>
                  <a:schemeClr val="tx1">
                    <a:lumMod val="75000"/>
                    <a:lumOff val="25000"/>
                  </a:schemeClr>
                </a:solidFill>
                <a:uFillTx/>
                <a:latin typeface="Arial" panose="020B0604020202020204" pitchFamily="34" charset="0"/>
                <a:ea typeface="微软雅黑" panose="020B0503020204020204" charset="-122"/>
                <a:sym typeface="+mn-ea"/>
              </a:rPr>
              <a:t>：</a:t>
            </a:r>
            <a:endParaRPr lang="zh-CN" dirty="0">
              <a:solidFill>
                <a:schemeClr val="tx1">
                  <a:lumMod val="75000"/>
                  <a:lumOff val="25000"/>
                </a:schemeClr>
              </a:solidFill>
              <a:uFillTx/>
              <a:latin typeface="Arial" panose="020B0604020202020204" pitchFamily="34" charset="0"/>
              <a:ea typeface="微软雅黑" panose="020B0503020204020204" charset="-122"/>
              <a:sym typeface="+mn-ea"/>
            </a:endParaRPr>
          </a:p>
          <a:p>
            <a:pPr marL="360045" indent="-360045" fontAlgn="ctr">
              <a:spcBef>
                <a:spcPts val="1000"/>
              </a:spcBef>
              <a:spcAft>
                <a:spcPts val="0"/>
              </a:spcAft>
              <a:buSzPct val="130000"/>
              <a:buFont typeface="WPS-Numbers" pitchFamily="2" charset="0"/>
              <a:buChar char=""/>
            </a:pPr>
            <a:r>
              <a:rPr lang="zh-CN" dirty="0">
                <a:solidFill>
                  <a:schemeClr val="tx1">
                    <a:lumMod val="75000"/>
                    <a:lumOff val="25000"/>
                  </a:schemeClr>
                </a:solidFill>
                <a:uFillTx/>
                <a:latin typeface="Arial" panose="020B0604020202020204" pitchFamily="34" charset="0"/>
                <a:ea typeface="微软雅黑" panose="020B0503020204020204" charset="-122"/>
                <a:sym typeface="+mn-ea"/>
              </a:rPr>
              <a:t>其一：</a:t>
            </a:r>
            <a:r>
              <a:rPr dirty="0">
                <a:solidFill>
                  <a:schemeClr val="tx1">
                    <a:lumMod val="75000"/>
                    <a:lumOff val="25000"/>
                  </a:schemeClr>
                </a:solidFill>
                <a:uFillTx/>
                <a:latin typeface="Arial" panose="020B0604020202020204" pitchFamily="34" charset="0"/>
                <a:ea typeface="微软雅黑" panose="020B0503020204020204" charset="-122"/>
                <a:sym typeface="+mn-ea"/>
              </a:rPr>
              <a:t>开发维护和运营上，相对多个版本成本会降低很多。</a:t>
            </a:r>
            <a:endParaRPr dirty="0">
              <a:solidFill>
                <a:schemeClr val="tx1">
                  <a:lumMod val="75000"/>
                  <a:lumOff val="25000"/>
                </a:schemeClr>
              </a:solidFill>
              <a:uFillTx/>
              <a:latin typeface="Arial" panose="020B0604020202020204" pitchFamily="34" charset="0"/>
              <a:ea typeface="微软雅黑" panose="020B0503020204020204" charset="-122"/>
              <a:sym typeface="+mn-ea"/>
            </a:endParaRPr>
          </a:p>
          <a:p>
            <a:pPr marL="360045" indent="-360045" fontAlgn="ctr">
              <a:spcBef>
                <a:spcPts val="1000"/>
              </a:spcBef>
              <a:spcAft>
                <a:spcPts val="0"/>
              </a:spcAft>
              <a:buSzPct val="130000"/>
              <a:buFont typeface="WPS-Numbers" pitchFamily="2" charset="0"/>
              <a:buChar char=""/>
            </a:pPr>
            <a:r>
              <a:rPr dirty="0">
                <a:solidFill>
                  <a:schemeClr val="tx1">
                    <a:lumMod val="75000"/>
                    <a:lumOff val="25000"/>
                  </a:schemeClr>
                </a:solidFill>
                <a:uFillTx/>
                <a:latin typeface="Arial" panose="020B0604020202020204" pitchFamily="34" charset="0"/>
                <a:ea typeface="微软雅黑" panose="020B0503020204020204" charset="-122"/>
                <a:sym typeface="+mn-ea"/>
              </a:rPr>
              <a:t>其二</a:t>
            </a:r>
            <a:r>
              <a:rPr lang="zh-CN" dirty="0">
                <a:solidFill>
                  <a:schemeClr val="tx1">
                    <a:lumMod val="75000"/>
                    <a:lumOff val="25000"/>
                  </a:schemeClr>
                </a:solidFill>
                <a:uFillTx/>
                <a:latin typeface="Arial" panose="020B0604020202020204" pitchFamily="34" charset="0"/>
                <a:ea typeface="微软雅黑" panose="020B0503020204020204" charset="-122"/>
                <a:sym typeface="+mn-ea"/>
              </a:rPr>
              <a:t>：</a:t>
            </a:r>
            <a:r>
              <a:rPr dirty="0">
                <a:solidFill>
                  <a:schemeClr val="tx1">
                    <a:lumMod val="75000"/>
                    <a:lumOff val="25000"/>
                  </a:schemeClr>
                </a:solidFill>
                <a:uFillTx/>
                <a:latin typeface="Arial" panose="020B0604020202020204" pitchFamily="34" charset="0"/>
                <a:ea typeface="微软雅黑" panose="020B0503020204020204" charset="-122"/>
                <a:sym typeface="+mn-ea"/>
              </a:rPr>
              <a:t>兼容性好，跨平台</a:t>
            </a:r>
            <a:endParaRPr dirty="0">
              <a:solidFill>
                <a:schemeClr val="tx1">
                  <a:lumMod val="75000"/>
                  <a:lumOff val="25000"/>
                </a:schemeClr>
              </a:solidFill>
              <a:uFillTx/>
              <a:latin typeface="Arial" panose="020B0604020202020204" pitchFamily="34" charset="0"/>
              <a:ea typeface="微软雅黑" panose="020B0503020204020204" charset="-122"/>
              <a:sym typeface="+mn-ea"/>
            </a:endParaRPr>
          </a:p>
          <a:p>
            <a:pPr marL="360045" indent="-360045" fontAlgn="ctr">
              <a:spcBef>
                <a:spcPts val="1000"/>
              </a:spcBef>
              <a:spcAft>
                <a:spcPts val="0"/>
              </a:spcAft>
              <a:buSzPct val="130000"/>
              <a:buFont typeface="WPS-Numbers" pitchFamily="2" charset="0"/>
              <a:buChar char=""/>
            </a:pPr>
            <a:r>
              <a:rPr dirty="0">
                <a:solidFill>
                  <a:schemeClr val="tx1">
                    <a:lumMod val="75000"/>
                    <a:lumOff val="25000"/>
                  </a:schemeClr>
                </a:solidFill>
                <a:uFillTx/>
                <a:latin typeface="Arial" panose="020B0604020202020204" pitchFamily="34" charset="0"/>
                <a:ea typeface="微软雅黑" panose="020B0503020204020204" charset="-122"/>
                <a:sym typeface="+mn-ea"/>
              </a:rPr>
              <a:t>第三</a:t>
            </a:r>
            <a:r>
              <a:rPr lang="zh-CN" dirty="0">
                <a:solidFill>
                  <a:schemeClr val="tx1">
                    <a:lumMod val="75000"/>
                    <a:lumOff val="25000"/>
                  </a:schemeClr>
                </a:solidFill>
                <a:uFillTx/>
                <a:latin typeface="Arial" panose="020B0604020202020204" pitchFamily="34" charset="0"/>
                <a:ea typeface="微软雅黑" panose="020B0503020204020204" charset="-122"/>
                <a:sym typeface="+mn-ea"/>
              </a:rPr>
              <a:t>：</a:t>
            </a:r>
            <a:r>
              <a:rPr dirty="0">
                <a:solidFill>
                  <a:schemeClr val="tx1">
                    <a:lumMod val="75000"/>
                    <a:lumOff val="25000"/>
                  </a:schemeClr>
                </a:solidFill>
                <a:uFillTx/>
                <a:latin typeface="Arial" panose="020B0604020202020204" pitchFamily="34" charset="0"/>
                <a:ea typeface="微软雅黑" panose="020B0503020204020204" charset="-122"/>
                <a:sym typeface="+mn-ea"/>
              </a:rPr>
              <a:t>方便改动，响应式设计是针对页面的，可以只对必要的页面进行改动，其他页面不受影</a:t>
            </a:r>
            <a:endParaRPr dirty="0">
              <a:solidFill>
                <a:schemeClr val="tx1">
                  <a:lumMod val="75000"/>
                  <a:lumOff val="25000"/>
                </a:schemeClr>
              </a:solidFill>
              <a:uFillTx/>
              <a:latin typeface="Arial" panose="020B0604020202020204" pitchFamily="34" charset="0"/>
              <a:ea typeface="微软雅黑" panose="020B0503020204020204" charset="-122"/>
              <a:sym typeface="+mn-ea"/>
            </a:endParaRPr>
          </a:p>
          <a:p>
            <a:pPr indent="0" fontAlgn="ctr">
              <a:spcBef>
                <a:spcPts val="1000"/>
              </a:spcBef>
              <a:spcAft>
                <a:spcPts val="0"/>
              </a:spcAft>
              <a:buSzPct val="130000"/>
              <a:buFont typeface="WPS-Numbers" pitchFamily="2" charset="0"/>
              <a:buNone/>
            </a:pPr>
            <a:r>
              <a:rPr dirty="0">
                <a:solidFill>
                  <a:schemeClr val="tx1">
                    <a:lumMod val="75000"/>
                    <a:lumOff val="25000"/>
                  </a:schemeClr>
                </a:solidFill>
                <a:uFillTx/>
                <a:latin typeface="Arial" panose="020B0604020202020204" pitchFamily="34" charset="0"/>
                <a:ea typeface="微软雅黑" panose="020B0503020204020204" charset="-122"/>
                <a:sym typeface="+mn-ea"/>
              </a:rPr>
              <a:t>响应式缺点</a:t>
            </a:r>
            <a:r>
              <a:rPr lang="zh-CN" dirty="0">
                <a:solidFill>
                  <a:schemeClr val="tx1">
                    <a:lumMod val="75000"/>
                    <a:lumOff val="25000"/>
                  </a:schemeClr>
                </a:solidFill>
                <a:uFillTx/>
                <a:latin typeface="Arial" panose="020B0604020202020204" pitchFamily="34" charset="0"/>
                <a:ea typeface="微软雅黑" panose="020B0503020204020204" charset="-122"/>
                <a:sym typeface="+mn-ea"/>
              </a:rPr>
              <a:t>：</a:t>
            </a:r>
            <a:endParaRPr lang="zh-CN" dirty="0">
              <a:solidFill>
                <a:schemeClr val="tx1">
                  <a:lumMod val="75000"/>
                  <a:lumOff val="25000"/>
                </a:schemeClr>
              </a:solidFill>
              <a:uFillTx/>
              <a:latin typeface="Arial" panose="020B0604020202020204" pitchFamily="34" charset="0"/>
              <a:ea typeface="微软雅黑" panose="020B0503020204020204" charset="-122"/>
              <a:sym typeface="+mn-ea"/>
            </a:endParaRPr>
          </a:p>
          <a:p>
            <a:pPr marL="360045" indent="-360045" fontAlgn="ctr">
              <a:spcBef>
                <a:spcPts val="1000"/>
              </a:spcBef>
              <a:spcAft>
                <a:spcPts val="0"/>
              </a:spcAft>
              <a:buSzPct val="130000"/>
              <a:buFont typeface="WPS-Numbers" pitchFamily="2" charset="0"/>
              <a:buChar char=""/>
            </a:pPr>
            <a:r>
              <a:rPr dirty="0">
                <a:solidFill>
                  <a:schemeClr val="tx1">
                    <a:lumMod val="75000"/>
                    <a:lumOff val="25000"/>
                  </a:schemeClr>
                </a:solidFill>
                <a:uFillTx/>
                <a:latin typeface="Arial" panose="020B0604020202020204" pitchFamily="34" charset="0"/>
                <a:ea typeface="微软雅黑" panose="020B0503020204020204" charset="-122"/>
                <a:sym typeface="+mn-ea"/>
              </a:rPr>
              <a:t>1.代码</a:t>
            </a:r>
            <a:r>
              <a:rPr lang="zh-CN" dirty="0">
                <a:solidFill>
                  <a:schemeClr val="tx1">
                    <a:lumMod val="75000"/>
                    <a:lumOff val="25000"/>
                  </a:schemeClr>
                </a:solidFill>
                <a:uFillTx/>
                <a:latin typeface="Arial" panose="020B0604020202020204" pitchFamily="34" charset="0"/>
                <a:ea typeface="微软雅黑" panose="020B0503020204020204" charset="-122"/>
                <a:sym typeface="+mn-ea"/>
              </a:rPr>
              <a:t>怎增</a:t>
            </a:r>
            <a:r>
              <a:rPr dirty="0">
                <a:solidFill>
                  <a:schemeClr val="tx1">
                    <a:lumMod val="75000"/>
                    <a:lumOff val="25000"/>
                  </a:schemeClr>
                </a:solidFill>
                <a:uFillTx/>
                <a:latin typeface="Arial" panose="020B0604020202020204" pitchFamily="34" charset="0"/>
                <a:ea typeface="微软雅黑" panose="020B0503020204020204" charset="-122"/>
                <a:sym typeface="+mn-ea"/>
              </a:rPr>
              <a:t>多了，导致文件增大，影响加载速度；</a:t>
            </a:r>
            <a:endParaRPr dirty="0">
              <a:solidFill>
                <a:schemeClr val="tx1">
                  <a:lumMod val="75000"/>
                  <a:lumOff val="25000"/>
                </a:schemeClr>
              </a:solidFill>
              <a:uFillTx/>
              <a:latin typeface="Arial" panose="020B0604020202020204" pitchFamily="34" charset="0"/>
              <a:ea typeface="微软雅黑" panose="020B0503020204020204" charset="-122"/>
              <a:sym typeface="+mn-ea"/>
            </a:endParaRPr>
          </a:p>
          <a:p>
            <a:pPr marL="360045" indent="-360045" fontAlgn="ctr">
              <a:spcBef>
                <a:spcPts val="1000"/>
              </a:spcBef>
              <a:spcAft>
                <a:spcPts val="0"/>
              </a:spcAft>
              <a:buSzPct val="130000"/>
              <a:buFont typeface="WPS-Numbers" pitchFamily="2" charset="0"/>
              <a:buChar char=""/>
            </a:pPr>
            <a:r>
              <a:rPr dirty="0">
                <a:solidFill>
                  <a:schemeClr val="tx1">
                    <a:lumMod val="75000"/>
                    <a:lumOff val="25000"/>
                  </a:schemeClr>
                </a:solidFill>
                <a:uFillTx/>
                <a:latin typeface="Arial" panose="020B0604020202020204" pitchFamily="34" charset="0"/>
                <a:ea typeface="微软雅黑" panose="020B0503020204020204" charset="-122"/>
                <a:sym typeface="+mn-ea"/>
              </a:rPr>
              <a:t>2.低分辨率</a:t>
            </a:r>
            <a:r>
              <a:rPr lang="zh-CN" dirty="0">
                <a:solidFill>
                  <a:schemeClr val="tx1">
                    <a:lumMod val="75000"/>
                    <a:lumOff val="25000"/>
                  </a:schemeClr>
                </a:solidFill>
                <a:uFillTx/>
                <a:latin typeface="Arial" panose="020B0604020202020204" pitchFamily="34" charset="0"/>
                <a:ea typeface="微软雅黑" panose="020B0503020204020204" charset="-122"/>
                <a:sym typeface="+mn-ea"/>
              </a:rPr>
              <a:t>下</a:t>
            </a:r>
            <a:r>
              <a:rPr dirty="0">
                <a:solidFill>
                  <a:schemeClr val="tx1">
                    <a:lumMod val="75000"/>
                    <a:lumOff val="25000"/>
                  </a:schemeClr>
                </a:solidFill>
                <a:uFillTx/>
                <a:latin typeface="Arial" panose="020B0604020202020204" pitchFamily="34" charset="0"/>
                <a:ea typeface="微软雅黑" panose="020B0503020204020204" charset="-122"/>
                <a:sym typeface="+mn-ea"/>
              </a:rPr>
              <a:t>，实际加载了大于它的显示要求的</a:t>
            </a:r>
            <a:r>
              <a:rPr lang="zh-CN" dirty="0">
                <a:solidFill>
                  <a:schemeClr val="tx1">
                    <a:lumMod val="75000"/>
                    <a:lumOff val="25000"/>
                  </a:schemeClr>
                </a:solidFill>
                <a:uFillTx/>
                <a:latin typeface="Arial" panose="020B0604020202020204" pitchFamily="34" charset="0"/>
                <a:ea typeface="微软雅黑" panose="020B0503020204020204" charset="-122"/>
                <a:sym typeface="+mn-ea"/>
              </a:rPr>
              <a:t>资源</a:t>
            </a:r>
            <a:r>
              <a:rPr dirty="0">
                <a:solidFill>
                  <a:schemeClr val="tx1">
                    <a:lumMod val="75000"/>
                    <a:lumOff val="25000"/>
                  </a:schemeClr>
                </a:solidFill>
                <a:uFillTx/>
                <a:latin typeface="Arial" panose="020B0604020202020204" pitchFamily="34" charset="0"/>
                <a:ea typeface="微软雅黑" panose="020B0503020204020204" charset="-122"/>
                <a:sym typeface="+mn-ea"/>
              </a:rPr>
              <a:t>，导致不必要的流量浪费，影响加载速度；3.局限性，不适合一些大型的门户网或者电商网站，一般门户网或电商网站一个界面内容较多，而响应式最忌讳较多内容，代码过多会影响运行速度。</a:t>
            </a:r>
            <a:endParaRPr dirty="0">
              <a:solidFill>
                <a:schemeClr val="tx1">
                  <a:lumMod val="75000"/>
                  <a:lumOff val="25000"/>
                </a:schemeClr>
              </a:solidFill>
              <a:uFillTx/>
              <a:latin typeface="Arial" panose="020B0604020202020204" pitchFamily="34" charset="0"/>
              <a:ea typeface="微软雅黑" panose="020B0503020204020204" charset="-122"/>
              <a:sym typeface="+mn-ea"/>
            </a:endParaRPr>
          </a:p>
          <a:p>
            <a:pPr marL="360045" indent="-360045" fontAlgn="ctr">
              <a:spcBef>
                <a:spcPts val="1000"/>
              </a:spcBef>
              <a:spcAft>
                <a:spcPts val="0"/>
              </a:spcAft>
              <a:buSzPct val="130000"/>
              <a:buFont typeface="WPS-Numbers" pitchFamily="2" charset="0"/>
              <a:buChar char=""/>
            </a:pPr>
            <a:r>
              <a:rPr dirty="0">
                <a:solidFill>
                  <a:schemeClr val="tx1">
                    <a:lumMod val="75000"/>
                    <a:lumOff val="25000"/>
                  </a:schemeClr>
                </a:solidFill>
                <a:uFillTx/>
                <a:latin typeface="Arial" panose="020B0604020202020204" pitchFamily="34" charset="0"/>
                <a:ea typeface="微软雅黑" panose="020B0503020204020204" charset="-122"/>
                <a:sym typeface="+mn-ea"/>
              </a:rPr>
              <a:t>总结来说，事物都是利弊结合，响应式只适用某些网站，不可一概而论，各种移动设备的发展导致每种移动设备都希望拥有适合自己设备的网页。但是Web设计和开发根本无法追赶设备与分辨率的更新，如果不能满足各种设备下用户的使用，就会流失掉用户群，响应式设计的出现有效地解决了这个问题。</a:t>
            </a:r>
            <a:endParaRPr dirty="0">
              <a:solidFill>
                <a:schemeClr val="tx1">
                  <a:lumMod val="75000"/>
                  <a:lumOff val="25000"/>
                </a:schemeClr>
              </a:solidFill>
              <a:uFillTx/>
              <a:latin typeface="Arial" panose="020B0604020202020204" pitchFamily="34" charset="0"/>
              <a:ea typeface="微软雅黑" panose="020B0503020204020204" charset="-122"/>
              <a:sym typeface="+mn-ea"/>
            </a:endParaRPr>
          </a:p>
          <a:p>
            <a:pPr marL="360045" indent="-360045" fontAlgn="ctr">
              <a:spcBef>
                <a:spcPts val="1000"/>
              </a:spcBef>
              <a:spcAft>
                <a:spcPts val="0"/>
              </a:spcAft>
              <a:buSzPct val="130000"/>
              <a:buFont typeface="WPS-Numbers" pitchFamily="2" charset="0"/>
              <a:buChar char=""/>
            </a:pPr>
            <a:endParaRPr lang="zh-CN" altLang="en-US"/>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组合 34"/>
          <p:cNvGrpSpPr/>
          <p:nvPr/>
        </p:nvGrpSpPr>
        <p:grpSpPr>
          <a:xfrm>
            <a:off x="1249221" y="1681974"/>
            <a:ext cx="5195423" cy="3556534"/>
            <a:chOff x="1249221" y="1681974"/>
            <a:chExt cx="5195423" cy="3556534"/>
          </a:xfrm>
        </p:grpSpPr>
        <p:sp>
          <p:nvSpPr>
            <p:cNvPr id="18" name="Rectangle 61"/>
            <p:cNvSpPr/>
            <p:nvPr/>
          </p:nvSpPr>
          <p:spPr>
            <a:xfrm>
              <a:off x="1249221" y="4667936"/>
              <a:ext cx="570572" cy="570572"/>
            </a:xfrm>
            <a:prstGeom prst="rect">
              <a:avLst/>
            </a:prstGeom>
            <a:gradFill>
              <a:gsLst>
                <a:gs pos="0">
                  <a:srgbClr val="9443E2"/>
                </a:gs>
                <a:gs pos="85000">
                  <a:srgbClr val="FF4D75"/>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endParaRPr lang="en-US">
                <a:solidFill>
                  <a:srgbClr val="FFFFFF"/>
                </a:solidFill>
                <a:latin typeface="Calibri" panose="020F0502020204030204"/>
              </a:endParaRPr>
            </a:p>
          </p:txBody>
        </p:sp>
        <p:sp>
          <p:nvSpPr>
            <p:cNvPr id="19" name="TextBox 62"/>
            <p:cNvSpPr txBox="1"/>
            <p:nvPr/>
          </p:nvSpPr>
          <p:spPr>
            <a:xfrm>
              <a:off x="2099339" y="4663006"/>
              <a:ext cx="4345305" cy="414020"/>
            </a:xfrm>
            <a:prstGeom prst="rect">
              <a:avLst/>
            </a:prstGeom>
            <a:noFill/>
          </p:spPr>
          <p:txBody>
            <a:bodyPr wrap="none" rtlCol="0">
              <a:spAutoFit/>
            </a:bodyPr>
            <a:lstStyle/>
            <a:p>
              <a:pPr algn="l" defTabSz="913765"/>
              <a:r>
                <a:rPr sz="2100" b="1" dirty="0">
                  <a:solidFill>
                    <a:srgbClr val="191919"/>
                  </a:solidFill>
                  <a:latin typeface="微软雅黑 Light" panose="020B0502040204020203" pitchFamily="34" charset="-122"/>
                  <a:ea typeface="微软雅黑 Light" panose="020B0502040204020203" pitchFamily="34" charset="-122"/>
                  <a:cs typeface="Poppins Bold" panose="02000000000000000000" pitchFamily="2" charset="77"/>
                </a:rPr>
                <a:t>http://www.andthewinnerisnt.com/</a:t>
              </a:r>
              <a:endParaRPr sz="2100" b="1" dirty="0">
                <a:solidFill>
                  <a:srgbClr val="191919"/>
                </a:solidFill>
                <a:latin typeface="微软雅黑 Light" panose="020B0502040204020203" pitchFamily="34" charset="-122"/>
                <a:ea typeface="微软雅黑 Light" panose="020B0502040204020203" pitchFamily="34" charset="-122"/>
                <a:cs typeface="Poppins Bold" panose="02000000000000000000" pitchFamily="2" charset="77"/>
              </a:endParaRPr>
            </a:p>
          </p:txBody>
        </p:sp>
        <p:sp>
          <p:nvSpPr>
            <p:cNvPr id="21" name="Rectangle 65"/>
            <p:cNvSpPr/>
            <p:nvPr/>
          </p:nvSpPr>
          <p:spPr>
            <a:xfrm>
              <a:off x="1249221" y="3150187"/>
              <a:ext cx="570572" cy="570572"/>
            </a:xfrm>
            <a:prstGeom prst="rect">
              <a:avLst/>
            </a:prstGeom>
            <a:gradFill>
              <a:gsLst>
                <a:gs pos="0">
                  <a:srgbClr val="9443E2"/>
                </a:gs>
                <a:gs pos="85000">
                  <a:srgbClr val="FF4D75"/>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endParaRPr lang="en-US">
                <a:solidFill>
                  <a:srgbClr val="FFFFFF"/>
                </a:solidFill>
                <a:latin typeface="Calibri" panose="020F0502020204030204"/>
              </a:endParaRPr>
            </a:p>
          </p:txBody>
        </p:sp>
        <p:sp>
          <p:nvSpPr>
            <p:cNvPr id="22" name="TextBox 66"/>
            <p:cNvSpPr txBox="1"/>
            <p:nvPr/>
          </p:nvSpPr>
          <p:spPr>
            <a:xfrm>
              <a:off x="2099339" y="3145257"/>
              <a:ext cx="2528570" cy="381635"/>
            </a:xfrm>
            <a:prstGeom prst="rect">
              <a:avLst/>
            </a:prstGeom>
            <a:noFill/>
          </p:spPr>
          <p:txBody>
            <a:bodyPr wrap="none" rtlCol="0">
              <a:spAutoFit/>
            </a:bodyPr>
            <a:lstStyle/>
            <a:p>
              <a:pPr algn="l">
                <a:lnSpc>
                  <a:spcPct val="90000"/>
                </a:lnSpc>
                <a:spcBef>
                  <a:spcPts val="1000"/>
                </a:spcBef>
                <a:buFont typeface="Arial" panose="020B0604020202020204" pitchFamily="34" charset="0"/>
                <a:buNone/>
              </a:pPr>
              <a:r>
                <a:rPr lang="zh-CN" altLang="en-US" sz="2100" dirty="0">
                  <a:latin typeface="Arial" panose="020B0604020202020204" pitchFamily="34" charset="0"/>
                  <a:ea typeface="宋体" panose="02010600030101010101" pitchFamily="2" charset="-122"/>
                  <a:sym typeface="+mn-ea"/>
                </a:rPr>
                <a:t>http://mediaqueri.es</a:t>
              </a:r>
              <a:endParaRPr lang="en-US" altLang="zh-CN" sz="2100" b="1" dirty="0">
                <a:solidFill>
                  <a:srgbClr val="191919"/>
                </a:solidFill>
                <a:latin typeface="微软雅黑 Light" panose="020B0502040204020203" pitchFamily="34" charset="-122"/>
                <a:ea typeface="微软雅黑 Light" panose="020B0502040204020203" pitchFamily="34" charset="-122"/>
                <a:cs typeface="Poppins Bold" panose="02000000000000000000" pitchFamily="2" charset="77"/>
              </a:endParaRPr>
            </a:p>
          </p:txBody>
        </p:sp>
        <p:sp>
          <p:nvSpPr>
            <p:cNvPr id="24" name="Rectangle 69"/>
            <p:cNvSpPr/>
            <p:nvPr/>
          </p:nvSpPr>
          <p:spPr>
            <a:xfrm>
              <a:off x="1249221" y="1681974"/>
              <a:ext cx="570572" cy="570572"/>
            </a:xfrm>
            <a:prstGeom prst="rect">
              <a:avLst/>
            </a:prstGeom>
            <a:gradFill>
              <a:gsLst>
                <a:gs pos="0">
                  <a:srgbClr val="9443E2"/>
                </a:gs>
                <a:gs pos="85000">
                  <a:srgbClr val="FF4D75"/>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endParaRPr lang="en-US">
                <a:solidFill>
                  <a:srgbClr val="FFFFFF"/>
                </a:solidFill>
                <a:latin typeface="Calibri" panose="020F0502020204030204"/>
              </a:endParaRPr>
            </a:p>
          </p:txBody>
        </p:sp>
        <p:sp>
          <p:nvSpPr>
            <p:cNvPr id="27" name="Shape 2588"/>
            <p:cNvSpPr/>
            <p:nvPr/>
          </p:nvSpPr>
          <p:spPr>
            <a:xfrm>
              <a:off x="1418273" y="1840300"/>
              <a:ext cx="254770" cy="231618"/>
            </a:xfrm>
            <a:custGeom>
              <a:avLst/>
              <a:gdLst/>
              <a:ahLst/>
              <a:cxnLst>
                <a:cxn ang="0">
                  <a:pos x="wd2" y="hd2"/>
                </a:cxn>
                <a:cxn ang="5400000">
                  <a:pos x="wd2" y="hd2"/>
                </a:cxn>
                <a:cxn ang="10800000">
                  <a:pos x="wd2" y="hd2"/>
                </a:cxn>
                <a:cxn ang="16200000">
                  <a:pos x="wd2" y="hd2"/>
                </a:cxn>
              </a:cxnLst>
              <a:rect l="0" t="0" r="r" b="b"/>
              <a:pathLst>
                <a:path w="21600" h="21600" extrusionOk="0">
                  <a:moveTo>
                    <a:pt x="17182" y="12420"/>
                  </a:moveTo>
                  <a:cubicBezTo>
                    <a:pt x="16368" y="12420"/>
                    <a:pt x="15709" y="11694"/>
                    <a:pt x="15709" y="10800"/>
                  </a:cubicBezTo>
                  <a:cubicBezTo>
                    <a:pt x="15709" y="9906"/>
                    <a:pt x="16368" y="9180"/>
                    <a:pt x="17182" y="9180"/>
                  </a:cubicBezTo>
                  <a:cubicBezTo>
                    <a:pt x="17995" y="9180"/>
                    <a:pt x="18655" y="9906"/>
                    <a:pt x="18655" y="10800"/>
                  </a:cubicBezTo>
                  <a:cubicBezTo>
                    <a:pt x="18655" y="11694"/>
                    <a:pt x="17995" y="12420"/>
                    <a:pt x="17182" y="12420"/>
                  </a:cubicBezTo>
                  <a:moveTo>
                    <a:pt x="21109" y="10260"/>
                  </a:moveTo>
                  <a:lnTo>
                    <a:pt x="19587" y="10260"/>
                  </a:lnTo>
                  <a:cubicBezTo>
                    <a:pt x="19360" y="9028"/>
                    <a:pt x="18369" y="8100"/>
                    <a:pt x="17182" y="8100"/>
                  </a:cubicBezTo>
                  <a:cubicBezTo>
                    <a:pt x="15994" y="8100"/>
                    <a:pt x="15004" y="9028"/>
                    <a:pt x="14777" y="10260"/>
                  </a:cubicBezTo>
                  <a:lnTo>
                    <a:pt x="491" y="10260"/>
                  </a:lnTo>
                  <a:cubicBezTo>
                    <a:pt x="220" y="10260"/>
                    <a:pt x="0" y="10502"/>
                    <a:pt x="0" y="10800"/>
                  </a:cubicBezTo>
                  <a:cubicBezTo>
                    <a:pt x="0" y="11098"/>
                    <a:pt x="220" y="11340"/>
                    <a:pt x="491" y="11340"/>
                  </a:cubicBezTo>
                  <a:lnTo>
                    <a:pt x="14777" y="11340"/>
                  </a:lnTo>
                  <a:cubicBezTo>
                    <a:pt x="15004" y="12572"/>
                    <a:pt x="15994" y="13500"/>
                    <a:pt x="17182" y="13500"/>
                  </a:cubicBezTo>
                  <a:cubicBezTo>
                    <a:pt x="18369" y="13500"/>
                    <a:pt x="19360" y="12572"/>
                    <a:pt x="19587" y="11340"/>
                  </a:cubicBezTo>
                  <a:lnTo>
                    <a:pt x="21109" y="11340"/>
                  </a:lnTo>
                  <a:cubicBezTo>
                    <a:pt x="21380" y="11340"/>
                    <a:pt x="21600" y="11098"/>
                    <a:pt x="21600" y="10800"/>
                  </a:cubicBezTo>
                  <a:cubicBezTo>
                    <a:pt x="21600" y="10502"/>
                    <a:pt x="21380" y="10260"/>
                    <a:pt x="21109" y="10260"/>
                  </a:cubicBezTo>
                  <a:moveTo>
                    <a:pt x="5400" y="1080"/>
                  </a:moveTo>
                  <a:cubicBezTo>
                    <a:pt x="6214" y="1080"/>
                    <a:pt x="6873" y="1806"/>
                    <a:pt x="6873" y="2700"/>
                  </a:cubicBezTo>
                  <a:cubicBezTo>
                    <a:pt x="6873" y="3595"/>
                    <a:pt x="6214" y="4320"/>
                    <a:pt x="5400" y="4320"/>
                  </a:cubicBezTo>
                  <a:cubicBezTo>
                    <a:pt x="4586" y="4320"/>
                    <a:pt x="3927" y="3595"/>
                    <a:pt x="3927" y="2700"/>
                  </a:cubicBezTo>
                  <a:cubicBezTo>
                    <a:pt x="3927" y="1806"/>
                    <a:pt x="4586" y="1080"/>
                    <a:pt x="5400" y="1080"/>
                  </a:cubicBezTo>
                  <a:moveTo>
                    <a:pt x="491" y="3240"/>
                  </a:moveTo>
                  <a:lnTo>
                    <a:pt x="2995" y="3240"/>
                  </a:lnTo>
                  <a:cubicBezTo>
                    <a:pt x="3222" y="4472"/>
                    <a:pt x="4213" y="5400"/>
                    <a:pt x="5400" y="5400"/>
                  </a:cubicBezTo>
                  <a:cubicBezTo>
                    <a:pt x="6587" y="5400"/>
                    <a:pt x="7578" y="4472"/>
                    <a:pt x="7805" y="3240"/>
                  </a:cubicBezTo>
                  <a:lnTo>
                    <a:pt x="21109" y="3240"/>
                  </a:lnTo>
                  <a:cubicBezTo>
                    <a:pt x="21380" y="3240"/>
                    <a:pt x="21600" y="2999"/>
                    <a:pt x="21600" y="2700"/>
                  </a:cubicBezTo>
                  <a:cubicBezTo>
                    <a:pt x="21600" y="2402"/>
                    <a:pt x="21380" y="2160"/>
                    <a:pt x="21109" y="2160"/>
                  </a:cubicBezTo>
                  <a:lnTo>
                    <a:pt x="7805" y="2160"/>
                  </a:lnTo>
                  <a:cubicBezTo>
                    <a:pt x="7578" y="928"/>
                    <a:pt x="6587" y="0"/>
                    <a:pt x="5400" y="0"/>
                  </a:cubicBezTo>
                  <a:cubicBezTo>
                    <a:pt x="4213" y="0"/>
                    <a:pt x="3222" y="928"/>
                    <a:pt x="2995" y="2160"/>
                  </a:cubicBezTo>
                  <a:lnTo>
                    <a:pt x="491" y="2160"/>
                  </a:lnTo>
                  <a:cubicBezTo>
                    <a:pt x="220" y="2160"/>
                    <a:pt x="0" y="2402"/>
                    <a:pt x="0" y="2700"/>
                  </a:cubicBezTo>
                  <a:cubicBezTo>
                    <a:pt x="0" y="2999"/>
                    <a:pt x="220" y="3240"/>
                    <a:pt x="491" y="3240"/>
                  </a:cubicBezTo>
                  <a:moveTo>
                    <a:pt x="9327" y="20519"/>
                  </a:moveTo>
                  <a:cubicBezTo>
                    <a:pt x="8514" y="20519"/>
                    <a:pt x="7855" y="19794"/>
                    <a:pt x="7855" y="18899"/>
                  </a:cubicBezTo>
                  <a:cubicBezTo>
                    <a:pt x="7855" y="18005"/>
                    <a:pt x="8514" y="17279"/>
                    <a:pt x="9327" y="17279"/>
                  </a:cubicBezTo>
                  <a:cubicBezTo>
                    <a:pt x="10141" y="17279"/>
                    <a:pt x="10800" y="18005"/>
                    <a:pt x="10800" y="18899"/>
                  </a:cubicBezTo>
                  <a:cubicBezTo>
                    <a:pt x="10800" y="19794"/>
                    <a:pt x="10141" y="20519"/>
                    <a:pt x="9327" y="20519"/>
                  </a:cubicBezTo>
                  <a:moveTo>
                    <a:pt x="21109" y="18359"/>
                  </a:moveTo>
                  <a:lnTo>
                    <a:pt x="11732" y="18359"/>
                  </a:lnTo>
                  <a:cubicBezTo>
                    <a:pt x="11505" y="17127"/>
                    <a:pt x="10515" y="16199"/>
                    <a:pt x="9327" y="16199"/>
                  </a:cubicBezTo>
                  <a:cubicBezTo>
                    <a:pt x="8140" y="16199"/>
                    <a:pt x="7150" y="17127"/>
                    <a:pt x="6922" y="18359"/>
                  </a:cubicBezTo>
                  <a:lnTo>
                    <a:pt x="491" y="18359"/>
                  </a:lnTo>
                  <a:cubicBezTo>
                    <a:pt x="220" y="18359"/>
                    <a:pt x="0" y="18601"/>
                    <a:pt x="0" y="18899"/>
                  </a:cubicBezTo>
                  <a:cubicBezTo>
                    <a:pt x="0" y="19198"/>
                    <a:pt x="220" y="19439"/>
                    <a:pt x="491" y="19439"/>
                  </a:cubicBezTo>
                  <a:lnTo>
                    <a:pt x="6922" y="19439"/>
                  </a:lnTo>
                  <a:cubicBezTo>
                    <a:pt x="7150" y="20672"/>
                    <a:pt x="8140" y="21600"/>
                    <a:pt x="9327" y="21600"/>
                  </a:cubicBezTo>
                  <a:cubicBezTo>
                    <a:pt x="10515" y="21600"/>
                    <a:pt x="11505" y="20672"/>
                    <a:pt x="11732" y="19439"/>
                  </a:cubicBezTo>
                  <a:lnTo>
                    <a:pt x="21109" y="19439"/>
                  </a:lnTo>
                  <a:cubicBezTo>
                    <a:pt x="21380" y="19439"/>
                    <a:pt x="21600" y="19198"/>
                    <a:pt x="21600" y="18899"/>
                  </a:cubicBezTo>
                  <a:cubicBezTo>
                    <a:pt x="21600" y="18601"/>
                    <a:pt x="21380" y="18359"/>
                    <a:pt x="21109" y="18359"/>
                  </a:cubicBezTo>
                </a:path>
              </a:pathLst>
            </a:custGeom>
            <a:solidFill>
              <a:schemeClr val="bg1"/>
            </a:solidFill>
            <a:ln w="12700">
              <a:miter lim="400000"/>
            </a:ln>
          </p:spPr>
          <p:txBody>
            <a:bodyPr lIns="19045" tIns="19045" rIns="19045" bIns="19045" anchor="ctr"/>
            <a:lstStyle/>
            <a:p>
              <a:pP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Lato" charset="0"/>
                <a:ea typeface="Lato" charset="0"/>
                <a:cs typeface="Lato" charset="0"/>
                <a:sym typeface="Gill Sans"/>
              </a:endParaRPr>
            </a:p>
          </p:txBody>
        </p:sp>
        <p:sp>
          <p:nvSpPr>
            <p:cNvPr id="28" name="Shape 2617"/>
            <p:cNvSpPr/>
            <p:nvPr/>
          </p:nvSpPr>
          <p:spPr>
            <a:xfrm>
              <a:off x="1411732" y="3317301"/>
              <a:ext cx="254770" cy="208471"/>
            </a:xfrm>
            <a:custGeom>
              <a:avLst/>
              <a:gdLst/>
              <a:ahLst/>
              <a:cxnLst>
                <a:cxn ang="0">
                  <a:pos x="wd2" y="hd2"/>
                </a:cxn>
                <a:cxn ang="5400000">
                  <a:pos x="wd2" y="hd2"/>
                </a:cxn>
                <a:cxn ang="10800000">
                  <a:pos x="wd2" y="hd2"/>
                </a:cxn>
                <a:cxn ang="16200000">
                  <a:pos x="wd2" y="hd2"/>
                </a:cxn>
              </a:cxnLst>
              <a:rect l="0" t="0" r="r" b="b"/>
              <a:pathLst>
                <a:path w="21600" h="21600" extrusionOk="0">
                  <a:moveTo>
                    <a:pt x="4457" y="20400"/>
                  </a:moveTo>
                  <a:cubicBezTo>
                    <a:pt x="4686" y="18711"/>
                    <a:pt x="5897" y="18036"/>
                    <a:pt x="7134" y="17493"/>
                  </a:cubicBezTo>
                  <a:lnTo>
                    <a:pt x="7173" y="17477"/>
                  </a:lnTo>
                  <a:cubicBezTo>
                    <a:pt x="8055" y="17190"/>
                    <a:pt x="9626" y="16039"/>
                    <a:pt x="9626" y="13569"/>
                  </a:cubicBezTo>
                  <a:cubicBezTo>
                    <a:pt x="9626" y="11474"/>
                    <a:pt x="8932" y="10452"/>
                    <a:pt x="8558" y="9902"/>
                  </a:cubicBezTo>
                  <a:cubicBezTo>
                    <a:pt x="8484" y="9791"/>
                    <a:pt x="8394" y="9649"/>
                    <a:pt x="8414" y="9680"/>
                  </a:cubicBezTo>
                  <a:cubicBezTo>
                    <a:pt x="8384" y="9599"/>
                    <a:pt x="8237" y="9129"/>
                    <a:pt x="8449" y="8035"/>
                  </a:cubicBezTo>
                  <a:cubicBezTo>
                    <a:pt x="8549" y="7522"/>
                    <a:pt x="8380" y="7241"/>
                    <a:pt x="8380" y="7241"/>
                  </a:cubicBezTo>
                  <a:cubicBezTo>
                    <a:pt x="8112" y="6505"/>
                    <a:pt x="7614" y="5133"/>
                    <a:pt x="7988" y="4025"/>
                  </a:cubicBezTo>
                  <a:cubicBezTo>
                    <a:pt x="8490" y="2492"/>
                    <a:pt x="8935" y="2190"/>
                    <a:pt x="9741" y="1747"/>
                  </a:cubicBezTo>
                  <a:cubicBezTo>
                    <a:pt x="9788" y="1721"/>
                    <a:pt x="9834" y="1691"/>
                    <a:pt x="9877" y="1657"/>
                  </a:cubicBezTo>
                  <a:cubicBezTo>
                    <a:pt x="10029" y="1535"/>
                    <a:pt x="10674" y="1200"/>
                    <a:pt x="11403" y="1200"/>
                  </a:cubicBezTo>
                  <a:cubicBezTo>
                    <a:pt x="11768" y="1200"/>
                    <a:pt x="12075" y="1285"/>
                    <a:pt x="12318" y="1454"/>
                  </a:cubicBezTo>
                  <a:cubicBezTo>
                    <a:pt x="12610" y="1655"/>
                    <a:pt x="12890" y="2039"/>
                    <a:pt x="13313" y="3271"/>
                  </a:cubicBezTo>
                  <a:cubicBezTo>
                    <a:pt x="14101" y="5469"/>
                    <a:pt x="13602" y="6698"/>
                    <a:pt x="13350" y="7124"/>
                  </a:cubicBezTo>
                  <a:cubicBezTo>
                    <a:pt x="13183" y="7407"/>
                    <a:pt x="13126" y="7764"/>
                    <a:pt x="13191" y="8102"/>
                  </a:cubicBezTo>
                  <a:cubicBezTo>
                    <a:pt x="13386" y="9109"/>
                    <a:pt x="13260" y="9534"/>
                    <a:pt x="13227" y="9619"/>
                  </a:cubicBezTo>
                  <a:cubicBezTo>
                    <a:pt x="13219" y="9631"/>
                    <a:pt x="13101" y="9814"/>
                    <a:pt x="13041" y="9902"/>
                  </a:cubicBezTo>
                  <a:cubicBezTo>
                    <a:pt x="12668" y="10452"/>
                    <a:pt x="11973" y="11474"/>
                    <a:pt x="11973" y="13569"/>
                  </a:cubicBezTo>
                  <a:cubicBezTo>
                    <a:pt x="11973" y="16039"/>
                    <a:pt x="13545" y="17190"/>
                    <a:pt x="14427" y="17477"/>
                  </a:cubicBezTo>
                  <a:lnTo>
                    <a:pt x="14466" y="17493"/>
                  </a:lnTo>
                  <a:cubicBezTo>
                    <a:pt x="15703" y="18036"/>
                    <a:pt x="16914" y="18711"/>
                    <a:pt x="17143" y="20400"/>
                  </a:cubicBezTo>
                  <a:cubicBezTo>
                    <a:pt x="17143" y="20400"/>
                    <a:pt x="4457" y="20400"/>
                    <a:pt x="4457" y="20400"/>
                  </a:cubicBezTo>
                  <a:close/>
                  <a:moveTo>
                    <a:pt x="14715" y="16328"/>
                  </a:moveTo>
                  <a:cubicBezTo>
                    <a:pt x="14715" y="16328"/>
                    <a:pt x="12955" y="15815"/>
                    <a:pt x="12955" y="13569"/>
                  </a:cubicBezTo>
                  <a:cubicBezTo>
                    <a:pt x="12955" y="11596"/>
                    <a:pt x="13678" y="10901"/>
                    <a:pt x="13957" y="10421"/>
                  </a:cubicBezTo>
                  <a:cubicBezTo>
                    <a:pt x="13957" y="10421"/>
                    <a:pt x="14531" y="9807"/>
                    <a:pt x="14146" y="7826"/>
                  </a:cubicBezTo>
                  <a:cubicBezTo>
                    <a:pt x="14787" y="6740"/>
                    <a:pt x="14995" y="4972"/>
                    <a:pt x="14211" y="2789"/>
                  </a:cubicBezTo>
                  <a:cubicBezTo>
                    <a:pt x="13774" y="1514"/>
                    <a:pt x="13389" y="815"/>
                    <a:pt x="12801" y="409"/>
                  </a:cubicBezTo>
                  <a:cubicBezTo>
                    <a:pt x="12370" y="110"/>
                    <a:pt x="11880" y="0"/>
                    <a:pt x="11403" y="0"/>
                  </a:cubicBezTo>
                  <a:cubicBezTo>
                    <a:pt x="10516" y="0"/>
                    <a:pt x="9675" y="384"/>
                    <a:pt x="9339" y="653"/>
                  </a:cubicBezTo>
                  <a:cubicBezTo>
                    <a:pt x="8357" y="1192"/>
                    <a:pt x="7697" y="1688"/>
                    <a:pt x="7077" y="3579"/>
                  </a:cubicBezTo>
                  <a:cubicBezTo>
                    <a:pt x="6540" y="5168"/>
                    <a:pt x="7179" y="6892"/>
                    <a:pt x="7494" y="7758"/>
                  </a:cubicBezTo>
                  <a:cubicBezTo>
                    <a:pt x="7110" y="9740"/>
                    <a:pt x="7642" y="10421"/>
                    <a:pt x="7642" y="10421"/>
                  </a:cubicBezTo>
                  <a:cubicBezTo>
                    <a:pt x="7922" y="10901"/>
                    <a:pt x="8644" y="11596"/>
                    <a:pt x="8644" y="13569"/>
                  </a:cubicBezTo>
                  <a:cubicBezTo>
                    <a:pt x="8644" y="15815"/>
                    <a:pt x="6885" y="16328"/>
                    <a:pt x="6885" y="16328"/>
                  </a:cubicBezTo>
                  <a:cubicBezTo>
                    <a:pt x="5768" y="16819"/>
                    <a:pt x="3436" y="17760"/>
                    <a:pt x="3436" y="21000"/>
                  </a:cubicBezTo>
                  <a:cubicBezTo>
                    <a:pt x="3436" y="21000"/>
                    <a:pt x="3436" y="21600"/>
                    <a:pt x="3927" y="21600"/>
                  </a:cubicBezTo>
                  <a:lnTo>
                    <a:pt x="17673" y="21600"/>
                  </a:lnTo>
                  <a:cubicBezTo>
                    <a:pt x="18164" y="21600"/>
                    <a:pt x="18164" y="21000"/>
                    <a:pt x="18164" y="21000"/>
                  </a:cubicBezTo>
                  <a:cubicBezTo>
                    <a:pt x="18164" y="17760"/>
                    <a:pt x="15832" y="16819"/>
                    <a:pt x="14715" y="16328"/>
                  </a:cubicBezTo>
                  <a:moveTo>
                    <a:pt x="19516" y="15006"/>
                  </a:moveTo>
                  <a:cubicBezTo>
                    <a:pt x="19516" y="15006"/>
                    <a:pt x="18416" y="14701"/>
                    <a:pt x="18416" y="12954"/>
                  </a:cubicBezTo>
                  <a:cubicBezTo>
                    <a:pt x="18416" y="11419"/>
                    <a:pt x="18794" y="10879"/>
                    <a:pt x="19017" y="10506"/>
                  </a:cubicBezTo>
                  <a:cubicBezTo>
                    <a:pt x="19017" y="10506"/>
                    <a:pt x="19443" y="9975"/>
                    <a:pt x="19136" y="8435"/>
                  </a:cubicBezTo>
                  <a:cubicBezTo>
                    <a:pt x="19388" y="7760"/>
                    <a:pt x="19900" y="6419"/>
                    <a:pt x="19470" y="5184"/>
                  </a:cubicBezTo>
                  <a:cubicBezTo>
                    <a:pt x="18974" y="3714"/>
                    <a:pt x="18645" y="3327"/>
                    <a:pt x="17860" y="2908"/>
                  </a:cubicBezTo>
                  <a:cubicBezTo>
                    <a:pt x="17591" y="2699"/>
                    <a:pt x="16918" y="2400"/>
                    <a:pt x="16208" y="2400"/>
                  </a:cubicBezTo>
                  <a:cubicBezTo>
                    <a:pt x="15873" y="2400"/>
                    <a:pt x="15531" y="2473"/>
                    <a:pt x="15218" y="2647"/>
                  </a:cubicBezTo>
                  <a:cubicBezTo>
                    <a:pt x="15343" y="3035"/>
                    <a:pt x="15449" y="3420"/>
                    <a:pt x="15525" y="3799"/>
                  </a:cubicBezTo>
                  <a:cubicBezTo>
                    <a:pt x="15537" y="3790"/>
                    <a:pt x="15550" y="3779"/>
                    <a:pt x="15563" y="3770"/>
                  </a:cubicBezTo>
                  <a:cubicBezTo>
                    <a:pt x="15730" y="3657"/>
                    <a:pt x="15948" y="3600"/>
                    <a:pt x="16208" y="3600"/>
                  </a:cubicBezTo>
                  <a:cubicBezTo>
                    <a:pt x="16716" y="3600"/>
                    <a:pt x="17211" y="3825"/>
                    <a:pt x="17332" y="3919"/>
                  </a:cubicBezTo>
                  <a:cubicBezTo>
                    <a:pt x="17375" y="3953"/>
                    <a:pt x="17421" y="3983"/>
                    <a:pt x="17467" y="4008"/>
                  </a:cubicBezTo>
                  <a:cubicBezTo>
                    <a:pt x="17950" y="4265"/>
                    <a:pt x="18131" y="4362"/>
                    <a:pt x="18562" y="5641"/>
                  </a:cubicBezTo>
                  <a:cubicBezTo>
                    <a:pt x="18822" y="6387"/>
                    <a:pt x="18452" y="7378"/>
                    <a:pt x="18253" y="7911"/>
                  </a:cubicBezTo>
                  <a:cubicBezTo>
                    <a:pt x="18161" y="8156"/>
                    <a:pt x="18130" y="8457"/>
                    <a:pt x="18182" y="8718"/>
                  </a:cubicBezTo>
                  <a:cubicBezTo>
                    <a:pt x="18316" y="9392"/>
                    <a:pt x="18254" y="9706"/>
                    <a:pt x="18232" y="9784"/>
                  </a:cubicBezTo>
                  <a:cubicBezTo>
                    <a:pt x="18230" y="9788"/>
                    <a:pt x="18227" y="9793"/>
                    <a:pt x="18224" y="9798"/>
                  </a:cubicBezTo>
                  <a:lnTo>
                    <a:pt x="18191" y="9853"/>
                  </a:lnTo>
                  <a:cubicBezTo>
                    <a:pt x="17926" y="10290"/>
                    <a:pt x="17434" y="11106"/>
                    <a:pt x="17434" y="12954"/>
                  </a:cubicBezTo>
                  <a:cubicBezTo>
                    <a:pt x="17434" y="15019"/>
                    <a:pt x="18570" y="15933"/>
                    <a:pt x="19229" y="16155"/>
                  </a:cubicBezTo>
                  <a:cubicBezTo>
                    <a:pt x="19856" y="16429"/>
                    <a:pt x="20435" y="16859"/>
                    <a:pt x="20582" y="17999"/>
                  </a:cubicBezTo>
                  <a:lnTo>
                    <a:pt x="18459" y="18000"/>
                  </a:lnTo>
                  <a:cubicBezTo>
                    <a:pt x="18647" y="18353"/>
                    <a:pt x="18802" y="18755"/>
                    <a:pt x="18920" y="19200"/>
                  </a:cubicBezTo>
                  <a:lnTo>
                    <a:pt x="21109" y="19199"/>
                  </a:lnTo>
                  <a:cubicBezTo>
                    <a:pt x="21600" y="19199"/>
                    <a:pt x="21600" y="18599"/>
                    <a:pt x="21600" y="18599"/>
                  </a:cubicBezTo>
                  <a:cubicBezTo>
                    <a:pt x="21600" y="16199"/>
                    <a:pt x="20410" y="15388"/>
                    <a:pt x="19516" y="15006"/>
                  </a:cubicBezTo>
                  <a:moveTo>
                    <a:pt x="2371" y="16155"/>
                  </a:moveTo>
                  <a:cubicBezTo>
                    <a:pt x="3030" y="15933"/>
                    <a:pt x="4166" y="15019"/>
                    <a:pt x="4166" y="12954"/>
                  </a:cubicBezTo>
                  <a:cubicBezTo>
                    <a:pt x="4166" y="11106"/>
                    <a:pt x="3673" y="10290"/>
                    <a:pt x="3409" y="9853"/>
                  </a:cubicBezTo>
                  <a:lnTo>
                    <a:pt x="3376" y="9798"/>
                  </a:lnTo>
                  <a:cubicBezTo>
                    <a:pt x="3373" y="9793"/>
                    <a:pt x="3370" y="9788"/>
                    <a:pt x="3367" y="9784"/>
                  </a:cubicBezTo>
                  <a:cubicBezTo>
                    <a:pt x="3346" y="9706"/>
                    <a:pt x="3283" y="9392"/>
                    <a:pt x="3418" y="8718"/>
                  </a:cubicBezTo>
                  <a:cubicBezTo>
                    <a:pt x="3470" y="8457"/>
                    <a:pt x="3439" y="8156"/>
                    <a:pt x="3347" y="7911"/>
                  </a:cubicBezTo>
                  <a:cubicBezTo>
                    <a:pt x="3148" y="7378"/>
                    <a:pt x="2778" y="6387"/>
                    <a:pt x="3038" y="5641"/>
                  </a:cubicBezTo>
                  <a:cubicBezTo>
                    <a:pt x="3469" y="4362"/>
                    <a:pt x="3649" y="4265"/>
                    <a:pt x="4133" y="4008"/>
                  </a:cubicBezTo>
                  <a:cubicBezTo>
                    <a:pt x="4180" y="3983"/>
                    <a:pt x="4225" y="3953"/>
                    <a:pt x="4268" y="3919"/>
                  </a:cubicBezTo>
                  <a:cubicBezTo>
                    <a:pt x="4389" y="3825"/>
                    <a:pt x="4884" y="3600"/>
                    <a:pt x="5392" y="3600"/>
                  </a:cubicBezTo>
                  <a:cubicBezTo>
                    <a:pt x="5636" y="3600"/>
                    <a:pt x="5839" y="3655"/>
                    <a:pt x="6002" y="3755"/>
                  </a:cubicBezTo>
                  <a:cubicBezTo>
                    <a:pt x="6045" y="3548"/>
                    <a:pt x="6096" y="3341"/>
                    <a:pt x="6165" y="3134"/>
                  </a:cubicBezTo>
                  <a:cubicBezTo>
                    <a:pt x="6225" y="2950"/>
                    <a:pt x="6289" y="2793"/>
                    <a:pt x="6351" y="2630"/>
                  </a:cubicBezTo>
                  <a:cubicBezTo>
                    <a:pt x="6046" y="2468"/>
                    <a:pt x="5716" y="2400"/>
                    <a:pt x="5392" y="2400"/>
                  </a:cubicBezTo>
                  <a:cubicBezTo>
                    <a:pt x="4682" y="2400"/>
                    <a:pt x="4009" y="2699"/>
                    <a:pt x="3740" y="2908"/>
                  </a:cubicBezTo>
                  <a:cubicBezTo>
                    <a:pt x="2955" y="3327"/>
                    <a:pt x="2625" y="3714"/>
                    <a:pt x="2130" y="5184"/>
                  </a:cubicBezTo>
                  <a:cubicBezTo>
                    <a:pt x="1700" y="6419"/>
                    <a:pt x="2212" y="7760"/>
                    <a:pt x="2464" y="8435"/>
                  </a:cubicBezTo>
                  <a:cubicBezTo>
                    <a:pt x="2156" y="9975"/>
                    <a:pt x="2583" y="10506"/>
                    <a:pt x="2583" y="10506"/>
                  </a:cubicBezTo>
                  <a:cubicBezTo>
                    <a:pt x="2806" y="10879"/>
                    <a:pt x="3185" y="11419"/>
                    <a:pt x="3185" y="12954"/>
                  </a:cubicBezTo>
                  <a:cubicBezTo>
                    <a:pt x="3185" y="14701"/>
                    <a:pt x="2084" y="15006"/>
                    <a:pt x="2084" y="15006"/>
                  </a:cubicBezTo>
                  <a:cubicBezTo>
                    <a:pt x="1191" y="15388"/>
                    <a:pt x="0" y="16199"/>
                    <a:pt x="0" y="18599"/>
                  </a:cubicBezTo>
                  <a:cubicBezTo>
                    <a:pt x="0" y="18599"/>
                    <a:pt x="0" y="19199"/>
                    <a:pt x="491" y="19199"/>
                  </a:cubicBezTo>
                  <a:lnTo>
                    <a:pt x="2680" y="19200"/>
                  </a:lnTo>
                  <a:cubicBezTo>
                    <a:pt x="2798" y="18755"/>
                    <a:pt x="2952" y="18353"/>
                    <a:pt x="3141" y="18000"/>
                  </a:cubicBezTo>
                  <a:lnTo>
                    <a:pt x="1018" y="17999"/>
                  </a:lnTo>
                  <a:cubicBezTo>
                    <a:pt x="1165" y="16859"/>
                    <a:pt x="1744" y="16429"/>
                    <a:pt x="2371" y="16155"/>
                  </a:cubicBezTo>
                </a:path>
              </a:pathLst>
            </a:custGeom>
            <a:solidFill>
              <a:schemeClr val="bg1"/>
            </a:solidFill>
            <a:ln w="12700">
              <a:miter lim="400000"/>
            </a:ln>
          </p:spPr>
          <p:txBody>
            <a:bodyPr lIns="19045" tIns="19045" rIns="19045" bIns="19045" anchor="ctr"/>
            <a:lstStyle/>
            <a:p>
              <a:pP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Lato" charset="0"/>
                <a:ea typeface="Lato" charset="0"/>
                <a:cs typeface="Lato" charset="0"/>
                <a:sym typeface="Gill Sans"/>
              </a:endParaRPr>
            </a:p>
          </p:txBody>
        </p:sp>
        <p:sp>
          <p:nvSpPr>
            <p:cNvPr id="30" name="Shape 2628"/>
            <p:cNvSpPr/>
            <p:nvPr/>
          </p:nvSpPr>
          <p:spPr>
            <a:xfrm>
              <a:off x="1418273" y="4837930"/>
              <a:ext cx="254770" cy="254770"/>
            </a:xfrm>
            <a:custGeom>
              <a:avLst/>
              <a:gdLst/>
              <a:ahLst/>
              <a:cxnLst>
                <a:cxn ang="0">
                  <a:pos x="wd2" y="hd2"/>
                </a:cxn>
                <a:cxn ang="5400000">
                  <a:pos x="wd2" y="hd2"/>
                </a:cxn>
                <a:cxn ang="10800000">
                  <a:pos x="wd2" y="hd2"/>
                </a:cxn>
                <a:cxn ang="16200000">
                  <a:pos x="wd2" y="hd2"/>
                </a:cxn>
              </a:cxnLst>
              <a:rect l="0" t="0" r="r" b="b"/>
              <a:pathLst>
                <a:path w="21600" h="21600" extrusionOk="0">
                  <a:moveTo>
                    <a:pt x="16445" y="20618"/>
                  </a:moveTo>
                  <a:cubicBezTo>
                    <a:pt x="15830" y="20618"/>
                    <a:pt x="15230" y="20482"/>
                    <a:pt x="14664" y="20214"/>
                  </a:cubicBezTo>
                  <a:cubicBezTo>
                    <a:pt x="14611" y="20189"/>
                    <a:pt x="14556" y="20170"/>
                    <a:pt x="14501" y="20155"/>
                  </a:cubicBezTo>
                  <a:cubicBezTo>
                    <a:pt x="8920" y="17308"/>
                    <a:pt x="4296" y="12685"/>
                    <a:pt x="1448" y="7105"/>
                  </a:cubicBezTo>
                  <a:cubicBezTo>
                    <a:pt x="1432" y="7048"/>
                    <a:pt x="1412" y="6991"/>
                    <a:pt x="1386" y="6936"/>
                  </a:cubicBezTo>
                  <a:cubicBezTo>
                    <a:pt x="1118" y="6369"/>
                    <a:pt x="982" y="5770"/>
                    <a:pt x="982" y="5155"/>
                  </a:cubicBezTo>
                  <a:cubicBezTo>
                    <a:pt x="982" y="2774"/>
                    <a:pt x="3067" y="982"/>
                    <a:pt x="4418" y="982"/>
                  </a:cubicBezTo>
                  <a:cubicBezTo>
                    <a:pt x="4595" y="982"/>
                    <a:pt x="4712" y="1072"/>
                    <a:pt x="4765" y="1126"/>
                  </a:cubicBezTo>
                  <a:cubicBezTo>
                    <a:pt x="4777" y="1139"/>
                    <a:pt x="4800" y="1164"/>
                    <a:pt x="4832" y="1216"/>
                  </a:cubicBezTo>
                  <a:cubicBezTo>
                    <a:pt x="4849" y="1244"/>
                    <a:pt x="4868" y="1271"/>
                    <a:pt x="4888" y="1297"/>
                  </a:cubicBezTo>
                  <a:lnTo>
                    <a:pt x="8121" y="5453"/>
                  </a:lnTo>
                  <a:cubicBezTo>
                    <a:pt x="8146" y="5485"/>
                    <a:pt x="8173" y="5515"/>
                    <a:pt x="8202" y="5544"/>
                  </a:cubicBezTo>
                  <a:cubicBezTo>
                    <a:pt x="8255" y="5598"/>
                    <a:pt x="8345" y="5715"/>
                    <a:pt x="8345" y="5891"/>
                  </a:cubicBezTo>
                  <a:cubicBezTo>
                    <a:pt x="8345" y="5978"/>
                    <a:pt x="8321" y="6060"/>
                    <a:pt x="8274" y="6135"/>
                  </a:cubicBezTo>
                  <a:lnTo>
                    <a:pt x="7180" y="7221"/>
                  </a:lnTo>
                  <a:cubicBezTo>
                    <a:pt x="7175" y="7226"/>
                    <a:pt x="7170" y="7231"/>
                    <a:pt x="7165" y="7236"/>
                  </a:cubicBezTo>
                  <a:cubicBezTo>
                    <a:pt x="6769" y="7609"/>
                    <a:pt x="6543" y="8126"/>
                    <a:pt x="6543" y="8668"/>
                  </a:cubicBezTo>
                  <a:cubicBezTo>
                    <a:pt x="6543" y="9175"/>
                    <a:pt x="6740" y="9658"/>
                    <a:pt x="7082" y="10020"/>
                  </a:cubicBezTo>
                  <a:cubicBezTo>
                    <a:pt x="7094" y="10040"/>
                    <a:pt x="7107" y="10059"/>
                    <a:pt x="7121" y="10078"/>
                  </a:cubicBezTo>
                  <a:cubicBezTo>
                    <a:pt x="8327" y="11745"/>
                    <a:pt x="9810" y="13222"/>
                    <a:pt x="11528" y="14469"/>
                  </a:cubicBezTo>
                  <a:cubicBezTo>
                    <a:pt x="11541" y="14478"/>
                    <a:pt x="11555" y="14487"/>
                    <a:pt x="11568" y="14496"/>
                  </a:cubicBezTo>
                  <a:cubicBezTo>
                    <a:pt x="11931" y="14844"/>
                    <a:pt x="12418" y="15045"/>
                    <a:pt x="12928" y="15045"/>
                  </a:cubicBezTo>
                  <a:cubicBezTo>
                    <a:pt x="13440" y="15045"/>
                    <a:pt x="13934" y="14840"/>
                    <a:pt x="14301" y="14479"/>
                  </a:cubicBezTo>
                  <a:cubicBezTo>
                    <a:pt x="14320" y="14463"/>
                    <a:pt x="14338" y="14446"/>
                    <a:pt x="14356" y="14427"/>
                  </a:cubicBezTo>
                  <a:lnTo>
                    <a:pt x="15456" y="13320"/>
                  </a:lnTo>
                  <a:cubicBezTo>
                    <a:pt x="15533" y="13271"/>
                    <a:pt x="15615" y="13247"/>
                    <a:pt x="15701" y="13247"/>
                  </a:cubicBezTo>
                  <a:cubicBezTo>
                    <a:pt x="15878" y="13247"/>
                    <a:pt x="15995" y="13337"/>
                    <a:pt x="16048" y="13391"/>
                  </a:cubicBezTo>
                  <a:cubicBezTo>
                    <a:pt x="16077" y="13420"/>
                    <a:pt x="16108" y="13447"/>
                    <a:pt x="16140" y="13472"/>
                  </a:cubicBezTo>
                  <a:lnTo>
                    <a:pt x="20296" y="16704"/>
                  </a:lnTo>
                  <a:cubicBezTo>
                    <a:pt x="20323" y="16725"/>
                    <a:pt x="20351" y="16744"/>
                    <a:pt x="20379" y="16762"/>
                  </a:cubicBezTo>
                  <a:cubicBezTo>
                    <a:pt x="20431" y="16795"/>
                    <a:pt x="20455" y="16816"/>
                    <a:pt x="20466" y="16827"/>
                  </a:cubicBezTo>
                  <a:cubicBezTo>
                    <a:pt x="20520" y="16881"/>
                    <a:pt x="20610" y="16997"/>
                    <a:pt x="20610" y="17174"/>
                  </a:cubicBezTo>
                  <a:cubicBezTo>
                    <a:pt x="20610" y="17207"/>
                    <a:pt x="20612" y="17240"/>
                    <a:pt x="20616" y="17273"/>
                  </a:cubicBezTo>
                  <a:cubicBezTo>
                    <a:pt x="20539" y="18625"/>
                    <a:pt x="18774" y="20618"/>
                    <a:pt x="16445" y="20618"/>
                  </a:cubicBezTo>
                  <a:moveTo>
                    <a:pt x="21600" y="17174"/>
                  </a:moveTo>
                  <a:lnTo>
                    <a:pt x="21592" y="17174"/>
                  </a:lnTo>
                  <a:cubicBezTo>
                    <a:pt x="21592" y="16768"/>
                    <a:pt x="21427" y="16399"/>
                    <a:pt x="21161" y="16133"/>
                  </a:cubicBezTo>
                  <a:cubicBezTo>
                    <a:pt x="21082" y="16054"/>
                    <a:pt x="20994" y="15988"/>
                    <a:pt x="20899" y="15929"/>
                  </a:cubicBezTo>
                  <a:lnTo>
                    <a:pt x="16743" y="12697"/>
                  </a:lnTo>
                  <a:cubicBezTo>
                    <a:pt x="16476" y="12430"/>
                    <a:pt x="16108" y="12265"/>
                    <a:pt x="15701" y="12265"/>
                  </a:cubicBezTo>
                  <a:cubicBezTo>
                    <a:pt x="15368" y="12265"/>
                    <a:pt x="15065" y="12380"/>
                    <a:pt x="14819" y="12567"/>
                  </a:cubicBezTo>
                  <a:lnTo>
                    <a:pt x="13659" y="13736"/>
                  </a:lnTo>
                  <a:lnTo>
                    <a:pt x="13656" y="13733"/>
                  </a:lnTo>
                  <a:cubicBezTo>
                    <a:pt x="13477" y="13934"/>
                    <a:pt x="13218" y="14063"/>
                    <a:pt x="12928" y="14063"/>
                  </a:cubicBezTo>
                  <a:cubicBezTo>
                    <a:pt x="12595" y="14063"/>
                    <a:pt x="12303" y="13897"/>
                    <a:pt x="12125" y="13645"/>
                  </a:cubicBezTo>
                  <a:cubicBezTo>
                    <a:pt x="12119" y="13654"/>
                    <a:pt x="12111" y="13663"/>
                    <a:pt x="12104" y="13674"/>
                  </a:cubicBezTo>
                  <a:cubicBezTo>
                    <a:pt x="10500" y="12510"/>
                    <a:pt x="9078" y="11108"/>
                    <a:pt x="7916" y="9502"/>
                  </a:cubicBezTo>
                  <a:cubicBezTo>
                    <a:pt x="7927" y="9495"/>
                    <a:pt x="7937" y="9486"/>
                    <a:pt x="7949" y="9479"/>
                  </a:cubicBezTo>
                  <a:cubicBezTo>
                    <a:pt x="7693" y="9299"/>
                    <a:pt x="7525" y="9004"/>
                    <a:pt x="7525" y="8668"/>
                  </a:cubicBezTo>
                  <a:cubicBezTo>
                    <a:pt x="7525" y="8367"/>
                    <a:pt x="7662" y="8101"/>
                    <a:pt x="7873" y="7920"/>
                  </a:cubicBezTo>
                  <a:lnTo>
                    <a:pt x="7872" y="7918"/>
                  </a:lnTo>
                  <a:lnTo>
                    <a:pt x="9026" y="6773"/>
                  </a:lnTo>
                  <a:cubicBezTo>
                    <a:pt x="9213" y="6528"/>
                    <a:pt x="9327" y="6224"/>
                    <a:pt x="9327" y="5891"/>
                  </a:cubicBezTo>
                  <a:cubicBezTo>
                    <a:pt x="9327" y="5485"/>
                    <a:pt x="9162" y="5116"/>
                    <a:pt x="8896" y="4850"/>
                  </a:cubicBezTo>
                  <a:lnTo>
                    <a:pt x="5663" y="693"/>
                  </a:lnTo>
                  <a:cubicBezTo>
                    <a:pt x="5604" y="599"/>
                    <a:pt x="5538" y="510"/>
                    <a:pt x="5459" y="432"/>
                  </a:cubicBezTo>
                  <a:cubicBezTo>
                    <a:pt x="5193" y="165"/>
                    <a:pt x="4825" y="0"/>
                    <a:pt x="4418" y="0"/>
                  </a:cubicBezTo>
                  <a:cubicBezTo>
                    <a:pt x="2455" y="0"/>
                    <a:pt x="0" y="2308"/>
                    <a:pt x="0" y="5155"/>
                  </a:cubicBezTo>
                  <a:cubicBezTo>
                    <a:pt x="0" y="5943"/>
                    <a:pt x="183" y="6688"/>
                    <a:pt x="499" y="7356"/>
                  </a:cubicBezTo>
                  <a:lnTo>
                    <a:pt x="483" y="7373"/>
                  </a:lnTo>
                  <a:cubicBezTo>
                    <a:pt x="3436" y="13255"/>
                    <a:pt x="8345" y="18164"/>
                    <a:pt x="14228" y="21117"/>
                  </a:cubicBezTo>
                  <a:lnTo>
                    <a:pt x="14244" y="21101"/>
                  </a:lnTo>
                  <a:cubicBezTo>
                    <a:pt x="14912" y="21418"/>
                    <a:pt x="15657" y="21600"/>
                    <a:pt x="16445" y="21600"/>
                  </a:cubicBezTo>
                  <a:cubicBezTo>
                    <a:pt x="19292" y="21600"/>
                    <a:pt x="21600" y="19145"/>
                    <a:pt x="21600" y="17182"/>
                  </a:cubicBezTo>
                  <a:cubicBezTo>
                    <a:pt x="21600" y="17179"/>
                    <a:pt x="21600" y="17177"/>
                    <a:pt x="21600" y="17174"/>
                  </a:cubicBezTo>
                </a:path>
              </a:pathLst>
            </a:custGeom>
            <a:solidFill>
              <a:schemeClr val="bg1"/>
            </a:solidFill>
            <a:ln w="12700">
              <a:miter lim="400000"/>
            </a:ln>
          </p:spPr>
          <p:txBody>
            <a:bodyPr lIns="19045" tIns="19045" rIns="19045" bIns="19045" anchor="ctr"/>
            <a:lstStyle/>
            <a:p>
              <a:pP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Lato" charset="0"/>
                <a:ea typeface="Lato" charset="0"/>
                <a:cs typeface="Lato" charset="0"/>
                <a:sym typeface="Gill Sans"/>
              </a:endParaRPr>
            </a:p>
          </p:txBody>
        </p:sp>
      </p:grpSp>
      <p:grpSp>
        <p:nvGrpSpPr>
          <p:cNvPr id="36" name="组合 35"/>
          <p:cNvGrpSpPr/>
          <p:nvPr/>
        </p:nvGrpSpPr>
        <p:grpSpPr>
          <a:xfrm>
            <a:off x="6468921" y="1681974"/>
            <a:ext cx="4133703" cy="3556534"/>
            <a:chOff x="6468921" y="1681974"/>
            <a:chExt cx="4133703" cy="3556534"/>
          </a:xfrm>
        </p:grpSpPr>
        <p:sp>
          <p:nvSpPr>
            <p:cNvPr id="9" name="Rectangle 38"/>
            <p:cNvSpPr/>
            <p:nvPr/>
          </p:nvSpPr>
          <p:spPr>
            <a:xfrm>
              <a:off x="6468921" y="4667936"/>
              <a:ext cx="570572" cy="570572"/>
            </a:xfrm>
            <a:prstGeom prst="rect">
              <a:avLst/>
            </a:prstGeom>
            <a:gradFill>
              <a:gsLst>
                <a:gs pos="0">
                  <a:srgbClr val="9443E2"/>
                </a:gs>
                <a:gs pos="85000">
                  <a:srgbClr val="FF4D75"/>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endParaRPr lang="en-US">
                <a:solidFill>
                  <a:srgbClr val="FFFFFF"/>
                </a:solidFill>
                <a:latin typeface="Calibri" panose="020F0502020204030204"/>
              </a:endParaRPr>
            </a:p>
          </p:txBody>
        </p:sp>
        <p:sp>
          <p:nvSpPr>
            <p:cNvPr id="10" name="TextBox 45"/>
            <p:cNvSpPr txBox="1"/>
            <p:nvPr/>
          </p:nvSpPr>
          <p:spPr>
            <a:xfrm>
              <a:off x="7319039" y="4663006"/>
              <a:ext cx="2621280" cy="414020"/>
            </a:xfrm>
            <a:prstGeom prst="rect">
              <a:avLst/>
            </a:prstGeom>
            <a:noFill/>
          </p:spPr>
          <p:txBody>
            <a:bodyPr wrap="none" rtlCol="0">
              <a:spAutoFit/>
            </a:bodyPr>
            <a:lstStyle/>
            <a:p>
              <a:pPr algn="l" defTabSz="913765"/>
              <a:r>
                <a:rPr sz="2100" b="1" dirty="0">
                  <a:solidFill>
                    <a:srgbClr val="191919"/>
                  </a:solidFill>
                  <a:latin typeface="微软雅黑 Light" panose="020B0502040204020203" pitchFamily="34" charset="-122"/>
                  <a:ea typeface="微软雅黑 Light" panose="020B0502040204020203" pitchFamily="34" charset="-122"/>
                  <a:cs typeface="Poppins Bold" panose="02000000000000000000" pitchFamily="2" charset="77"/>
                </a:rPr>
                <a:t>http://css-tricks.com</a:t>
              </a:r>
              <a:endParaRPr sz="2100" b="1" dirty="0">
                <a:solidFill>
                  <a:srgbClr val="191919"/>
                </a:solidFill>
                <a:latin typeface="微软雅黑 Light" panose="020B0502040204020203" pitchFamily="34" charset="-122"/>
                <a:ea typeface="微软雅黑 Light" panose="020B0502040204020203" pitchFamily="34" charset="-122"/>
                <a:cs typeface="Poppins Bold" panose="02000000000000000000" pitchFamily="2" charset="77"/>
              </a:endParaRPr>
            </a:p>
          </p:txBody>
        </p:sp>
        <p:sp>
          <p:nvSpPr>
            <p:cNvPr id="12" name="Rectangle 49"/>
            <p:cNvSpPr/>
            <p:nvPr/>
          </p:nvSpPr>
          <p:spPr>
            <a:xfrm>
              <a:off x="6468921" y="3150187"/>
              <a:ext cx="570572" cy="570572"/>
            </a:xfrm>
            <a:prstGeom prst="rect">
              <a:avLst/>
            </a:prstGeom>
            <a:gradFill>
              <a:gsLst>
                <a:gs pos="0">
                  <a:srgbClr val="9443E2"/>
                </a:gs>
                <a:gs pos="85000">
                  <a:srgbClr val="FF4D75"/>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endParaRPr lang="en-US">
                <a:solidFill>
                  <a:srgbClr val="FFFFFF"/>
                </a:solidFill>
                <a:latin typeface="Calibri" panose="020F0502020204030204"/>
              </a:endParaRPr>
            </a:p>
          </p:txBody>
        </p:sp>
        <p:sp>
          <p:nvSpPr>
            <p:cNvPr id="13" name="TextBox 50"/>
            <p:cNvSpPr txBox="1"/>
            <p:nvPr/>
          </p:nvSpPr>
          <p:spPr>
            <a:xfrm>
              <a:off x="7319039" y="3145257"/>
              <a:ext cx="3283585" cy="414020"/>
            </a:xfrm>
            <a:prstGeom prst="rect">
              <a:avLst/>
            </a:prstGeom>
            <a:noFill/>
          </p:spPr>
          <p:txBody>
            <a:bodyPr wrap="none" rtlCol="0">
              <a:spAutoFit/>
            </a:bodyPr>
            <a:lstStyle/>
            <a:p>
              <a:pPr algn="l" fontAlgn="base"/>
              <a:r>
                <a:rPr lang="zh-CN" altLang="en-US" sz="2100" dirty="0" smtClean="0">
                  <a:latin typeface="Arial" panose="020B0604020202020204" pitchFamily="34" charset="0"/>
                  <a:ea typeface="宋体" panose="02010600030101010101" pitchFamily="2" charset="-122"/>
                  <a:sym typeface="+mn-ea"/>
                </a:rPr>
                <a:t>http://www.panic.com/blog</a:t>
              </a:r>
              <a:endParaRPr lang="en-US" altLang="zh-CN" sz="2100" b="1" dirty="0">
                <a:solidFill>
                  <a:srgbClr val="191919"/>
                </a:solidFill>
                <a:latin typeface="微软雅黑 Light" panose="020B0502040204020203" pitchFamily="34" charset="-122"/>
                <a:ea typeface="微软雅黑 Light" panose="020B0502040204020203" pitchFamily="34" charset="-122"/>
                <a:cs typeface="Poppins Bold" panose="02000000000000000000" pitchFamily="2" charset="77"/>
              </a:endParaRPr>
            </a:p>
          </p:txBody>
        </p:sp>
        <p:sp>
          <p:nvSpPr>
            <p:cNvPr id="15" name="Rectangle 53"/>
            <p:cNvSpPr/>
            <p:nvPr/>
          </p:nvSpPr>
          <p:spPr>
            <a:xfrm>
              <a:off x="6468921" y="1681974"/>
              <a:ext cx="570572" cy="570572"/>
            </a:xfrm>
            <a:prstGeom prst="rect">
              <a:avLst/>
            </a:prstGeom>
            <a:gradFill>
              <a:gsLst>
                <a:gs pos="0">
                  <a:srgbClr val="9443E2"/>
                </a:gs>
                <a:gs pos="85000">
                  <a:srgbClr val="FF4D75"/>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endParaRPr lang="en-US">
                <a:solidFill>
                  <a:srgbClr val="FFFFFF"/>
                </a:solidFill>
                <a:latin typeface="Calibri" panose="020F0502020204030204"/>
              </a:endParaRPr>
            </a:p>
          </p:txBody>
        </p:sp>
        <p:sp>
          <p:nvSpPr>
            <p:cNvPr id="29" name="Shape 2621"/>
            <p:cNvSpPr/>
            <p:nvPr/>
          </p:nvSpPr>
          <p:spPr>
            <a:xfrm>
              <a:off x="6637973" y="3363646"/>
              <a:ext cx="254770" cy="162126"/>
            </a:xfrm>
            <a:custGeom>
              <a:avLst/>
              <a:gdLst/>
              <a:ahLst/>
              <a:cxnLst>
                <a:cxn ang="0">
                  <a:pos x="wd2" y="hd2"/>
                </a:cxn>
                <a:cxn ang="5400000">
                  <a:pos x="wd2" y="hd2"/>
                </a:cxn>
                <a:cxn ang="10800000">
                  <a:pos x="wd2" y="hd2"/>
                </a:cxn>
                <a:cxn ang="16200000">
                  <a:pos x="wd2" y="hd2"/>
                </a:cxn>
              </a:cxnLst>
              <a:rect l="0" t="0" r="r" b="b"/>
              <a:pathLst>
                <a:path w="21600" h="21600" extrusionOk="0">
                  <a:moveTo>
                    <a:pt x="10800" y="20057"/>
                  </a:moveTo>
                  <a:cubicBezTo>
                    <a:pt x="5378" y="20057"/>
                    <a:pt x="982" y="13445"/>
                    <a:pt x="982" y="10800"/>
                  </a:cubicBezTo>
                  <a:cubicBezTo>
                    <a:pt x="982" y="8155"/>
                    <a:pt x="5378" y="1543"/>
                    <a:pt x="10800" y="1543"/>
                  </a:cubicBezTo>
                  <a:cubicBezTo>
                    <a:pt x="16223" y="1543"/>
                    <a:pt x="20618" y="8155"/>
                    <a:pt x="20618" y="10800"/>
                  </a:cubicBezTo>
                  <a:cubicBezTo>
                    <a:pt x="20618" y="13445"/>
                    <a:pt x="16223" y="20057"/>
                    <a:pt x="10800" y="20057"/>
                  </a:cubicBezTo>
                  <a:moveTo>
                    <a:pt x="10800" y="0"/>
                  </a:moveTo>
                  <a:cubicBezTo>
                    <a:pt x="4835" y="0"/>
                    <a:pt x="0" y="7714"/>
                    <a:pt x="0" y="10800"/>
                  </a:cubicBezTo>
                  <a:cubicBezTo>
                    <a:pt x="0" y="13886"/>
                    <a:pt x="4835" y="21600"/>
                    <a:pt x="10800" y="21600"/>
                  </a:cubicBezTo>
                  <a:cubicBezTo>
                    <a:pt x="16765" y="21600"/>
                    <a:pt x="21600" y="13886"/>
                    <a:pt x="21600" y="10800"/>
                  </a:cubicBezTo>
                  <a:cubicBezTo>
                    <a:pt x="21600" y="7714"/>
                    <a:pt x="16765" y="0"/>
                    <a:pt x="10800" y="0"/>
                  </a:cubicBezTo>
                  <a:moveTo>
                    <a:pt x="10800" y="16971"/>
                  </a:moveTo>
                  <a:cubicBezTo>
                    <a:pt x="8631" y="16971"/>
                    <a:pt x="6873" y="14209"/>
                    <a:pt x="6873" y="10800"/>
                  </a:cubicBezTo>
                  <a:cubicBezTo>
                    <a:pt x="6873" y="7392"/>
                    <a:pt x="8631" y="4629"/>
                    <a:pt x="10800" y="4629"/>
                  </a:cubicBezTo>
                  <a:cubicBezTo>
                    <a:pt x="12969" y="4629"/>
                    <a:pt x="14727" y="7392"/>
                    <a:pt x="14727" y="10800"/>
                  </a:cubicBezTo>
                  <a:cubicBezTo>
                    <a:pt x="14727" y="14209"/>
                    <a:pt x="12969" y="16971"/>
                    <a:pt x="10800" y="16971"/>
                  </a:cubicBezTo>
                  <a:moveTo>
                    <a:pt x="10800" y="3087"/>
                  </a:moveTo>
                  <a:cubicBezTo>
                    <a:pt x="8088" y="3087"/>
                    <a:pt x="5891" y="6540"/>
                    <a:pt x="5891" y="10800"/>
                  </a:cubicBezTo>
                  <a:cubicBezTo>
                    <a:pt x="5891" y="15061"/>
                    <a:pt x="8088" y="18514"/>
                    <a:pt x="10800" y="18514"/>
                  </a:cubicBezTo>
                  <a:cubicBezTo>
                    <a:pt x="13512" y="18514"/>
                    <a:pt x="15709" y="15061"/>
                    <a:pt x="15709" y="10800"/>
                  </a:cubicBezTo>
                  <a:cubicBezTo>
                    <a:pt x="15709" y="6540"/>
                    <a:pt x="13512" y="3087"/>
                    <a:pt x="10800" y="3087"/>
                  </a:cubicBezTo>
                  <a:moveTo>
                    <a:pt x="10800" y="8486"/>
                  </a:moveTo>
                  <a:cubicBezTo>
                    <a:pt x="9987" y="8486"/>
                    <a:pt x="9327" y="9523"/>
                    <a:pt x="9327" y="10800"/>
                  </a:cubicBezTo>
                  <a:cubicBezTo>
                    <a:pt x="9327" y="12078"/>
                    <a:pt x="9987" y="13114"/>
                    <a:pt x="10800" y="13114"/>
                  </a:cubicBezTo>
                  <a:cubicBezTo>
                    <a:pt x="11613" y="13114"/>
                    <a:pt x="12273" y="12078"/>
                    <a:pt x="12273" y="10800"/>
                  </a:cubicBezTo>
                  <a:cubicBezTo>
                    <a:pt x="12273" y="9523"/>
                    <a:pt x="11613" y="8486"/>
                    <a:pt x="10800" y="8486"/>
                  </a:cubicBezTo>
                </a:path>
              </a:pathLst>
            </a:custGeom>
            <a:solidFill>
              <a:schemeClr val="bg1"/>
            </a:solidFill>
            <a:ln w="12700">
              <a:miter lim="400000"/>
            </a:ln>
          </p:spPr>
          <p:txBody>
            <a:bodyPr lIns="19045" tIns="19045" rIns="19045" bIns="19045" anchor="ctr"/>
            <a:lstStyle/>
            <a:p>
              <a:pP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Lato" charset="0"/>
                <a:ea typeface="Lato" charset="0"/>
                <a:cs typeface="Lato" charset="0"/>
                <a:sym typeface="Gill Sans"/>
              </a:endParaRPr>
            </a:p>
          </p:txBody>
        </p:sp>
        <p:sp>
          <p:nvSpPr>
            <p:cNvPr id="31" name="Shape 2633"/>
            <p:cNvSpPr/>
            <p:nvPr/>
          </p:nvSpPr>
          <p:spPr>
            <a:xfrm>
              <a:off x="6637973" y="4847672"/>
              <a:ext cx="254770" cy="254770"/>
            </a:xfrm>
            <a:custGeom>
              <a:avLst/>
              <a:gdLst/>
              <a:ahLst/>
              <a:cxnLst>
                <a:cxn ang="0">
                  <a:pos x="wd2" y="hd2"/>
                </a:cxn>
                <a:cxn ang="5400000">
                  <a:pos x="wd2" y="hd2"/>
                </a:cxn>
                <a:cxn ang="10800000">
                  <a:pos x="wd2" y="hd2"/>
                </a:cxn>
                <a:cxn ang="16200000">
                  <a:pos x="wd2" y="hd2"/>
                </a:cxn>
              </a:cxnLst>
              <a:rect l="0" t="0" r="r" b="b"/>
              <a:pathLst>
                <a:path w="21600" h="21600" extrusionOk="0">
                  <a:moveTo>
                    <a:pt x="12144" y="18334"/>
                  </a:moveTo>
                  <a:lnTo>
                    <a:pt x="15583" y="6873"/>
                  </a:lnTo>
                  <a:lnTo>
                    <a:pt x="20168" y="6873"/>
                  </a:lnTo>
                  <a:cubicBezTo>
                    <a:pt x="20168" y="6873"/>
                    <a:pt x="12144" y="18334"/>
                    <a:pt x="12144" y="18334"/>
                  </a:cubicBezTo>
                  <a:close/>
                  <a:moveTo>
                    <a:pt x="10800" y="19403"/>
                  </a:moveTo>
                  <a:lnTo>
                    <a:pt x="7041" y="6873"/>
                  </a:lnTo>
                  <a:lnTo>
                    <a:pt x="14559" y="6873"/>
                  </a:lnTo>
                  <a:cubicBezTo>
                    <a:pt x="14559" y="6873"/>
                    <a:pt x="10800" y="19403"/>
                    <a:pt x="10800" y="19403"/>
                  </a:cubicBezTo>
                  <a:close/>
                  <a:moveTo>
                    <a:pt x="1432" y="6873"/>
                  </a:moveTo>
                  <a:lnTo>
                    <a:pt x="6017" y="6873"/>
                  </a:lnTo>
                  <a:lnTo>
                    <a:pt x="9456" y="18334"/>
                  </a:lnTo>
                  <a:cubicBezTo>
                    <a:pt x="9456" y="18334"/>
                    <a:pt x="1432" y="6873"/>
                    <a:pt x="1432" y="6873"/>
                  </a:cubicBezTo>
                  <a:close/>
                  <a:moveTo>
                    <a:pt x="6578" y="982"/>
                  </a:moveTo>
                  <a:lnTo>
                    <a:pt x="8536" y="982"/>
                  </a:lnTo>
                  <a:lnTo>
                    <a:pt x="6082" y="5891"/>
                  </a:lnTo>
                  <a:lnTo>
                    <a:pt x="1669" y="5891"/>
                  </a:lnTo>
                  <a:cubicBezTo>
                    <a:pt x="1669" y="5891"/>
                    <a:pt x="6578" y="982"/>
                    <a:pt x="6578" y="982"/>
                  </a:cubicBezTo>
                  <a:close/>
                  <a:moveTo>
                    <a:pt x="11973" y="982"/>
                  </a:moveTo>
                  <a:lnTo>
                    <a:pt x="14427" y="5891"/>
                  </a:lnTo>
                  <a:lnTo>
                    <a:pt x="7173" y="5891"/>
                  </a:lnTo>
                  <a:lnTo>
                    <a:pt x="9627" y="982"/>
                  </a:lnTo>
                  <a:cubicBezTo>
                    <a:pt x="9627" y="982"/>
                    <a:pt x="11973" y="982"/>
                    <a:pt x="11973" y="982"/>
                  </a:cubicBezTo>
                  <a:close/>
                  <a:moveTo>
                    <a:pt x="15022" y="982"/>
                  </a:moveTo>
                  <a:lnTo>
                    <a:pt x="19931" y="5891"/>
                  </a:lnTo>
                  <a:lnTo>
                    <a:pt x="15518" y="5891"/>
                  </a:lnTo>
                  <a:lnTo>
                    <a:pt x="13064" y="982"/>
                  </a:lnTo>
                  <a:cubicBezTo>
                    <a:pt x="13064" y="982"/>
                    <a:pt x="15022" y="982"/>
                    <a:pt x="15022" y="982"/>
                  </a:cubicBezTo>
                  <a:close/>
                  <a:moveTo>
                    <a:pt x="21600" y="6382"/>
                  </a:moveTo>
                  <a:cubicBezTo>
                    <a:pt x="21600" y="6272"/>
                    <a:pt x="21557" y="6175"/>
                    <a:pt x="21495" y="6093"/>
                  </a:cubicBezTo>
                  <a:lnTo>
                    <a:pt x="21502" y="6088"/>
                  </a:lnTo>
                  <a:lnTo>
                    <a:pt x="21471" y="6057"/>
                  </a:lnTo>
                  <a:cubicBezTo>
                    <a:pt x="21459" y="6044"/>
                    <a:pt x="21448" y="6032"/>
                    <a:pt x="21434" y="6020"/>
                  </a:cubicBezTo>
                  <a:lnTo>
                    <a:pt x="15611" y="197"/>
                  </a:lnTo>
                  <a:lnTo>
                    <a:pt x="15604" y="201"/>
                  </a:lnTo>
                  <a:cubicBezTo>
                    <a:pt x="15514" y="82"/>
                    <a:pt x="15379" y="0"/>
                    <a:pt x="15218" y="0"/>
                  </a:cubicBezTo>
                  <a:lnTo>
                    <a:pt x="6382" y="0"/>
                  </a:lnTo>
                  <a:cubicBezTo>
                    <a:pt x="6221" y="0"/>
                    <a:pt x="6086" y="82"/>
                    <a:pt x="5996" y="201"/>
                  </a:cubicBezTo>
                  <a:lnTo>
                    <a:pt x="5989" y="197"/>
                  </a:lnTo>
                  <a:lnTo>
                    <a:pt x="166" y="6020"/>
                  </a:lnTo>
                  <a:cubicBezTo>
                    <a:pt x="152" y="6032"/>
                    <a:pt x="141" y="6044"/>
                    <a:pt x="129" y="6057"/>
                  </a:cubicBezTo>
                  <a:lnTo>
                    <a:pt x="98" y="6088"/>
                  </a:lnTo>
                  <a:lnTo>
                    <a:pt x="105" y="6093"/>
                  </a:lnTo>
                  <a:cubicBezTo>
                    <a:pt x="43" y="6175"/>
                    <a:pt x="0" y="6272"/>
                    <a:pt x="0" y="6382"/>
                  </a:cubicBezTo>
                  <a:cubicBezTo>
                    <a:pt x="0" y="6499"/>
                    <a:pt x="46" y="6602"/>
                    <a:pt x="115" y="6686"/>
                  </a:cubicBezTo>
                  <a:lnTo>
                    <a:pt x="109" y="6690"/>
                  </a:lnTo>
                  <a:lnTo>
                    <a:pt x="10418" y="21418"/>
                  </a:lnTo>
                  <a:lnTo>
                    <a:pt x="10424" y="21413"/>
                  </a:lnTo>
                  <a:cubicBezTo>
                    <a:pt x="10514" y="21525"/>
                    <a:pt x="10646" y="21600"/>
                    <a:pt x="10800" y="21600"/>
                  </a:cubicBezTo>
                  <a:cubicBezTo>
                    <a:pt x="10954" y="21600"/>
                    <a:pt x="11086" y="21525"/>
                    <a:pt x="11176" y="21413"/>
                  </a:cubicBezTo>
                  <a:lnTo>
                    <a:pt x="11182" y="21418"/>
                  </a:lnTo>
                  <a:lnTo>
                    <a:pt x="21491" y="6690"/>
                  </a:lnTo>
                  <a:lnTo>
                    <a:pt x="21485" y="6686"/>
                  </a:lnTo>
                  <a:cubicBezTo>
                    <a:pt x="21553" y="6602"/>
                    <a:pt x="21600" y="6499"/>
                    <a:pt x="21600" y="6382"/>
                  </a:cubicBezTo>
                </a:path>
              </a:pathLst>
            </a:custGeom>
            <a:solidFill>
              <a:schemeClr val="bg1"/>
            </a:solidFill>
            <a:ln w="12700">
              <a:miter lim="400000"/>
            </a:ln>
          </p:spPr>
          <p:txBody>
            <a:bodyPr lIns="19045" tIns="19045" rIns="19045" bIns="19045" anchor="ctr"/>
            <a:lstStyle/>
            <a:p>
              <a:pP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Lato" charset="0"/>
                <a:ea typeface="Lato" charset="0"/>
                <a:cs typeface="Lato" charset="0"/>
                <a:sym typeface="Gill Sans"/>
              </a:endParaRPr>
            </a:p>
          </p:txBody>
        </p:sp>
        <p:sp>
          <p:nvSpPr>
            <p:cNvPr id="32" name="Shape 2634"/>
            <p:cNvSpPr/>
            <p:nvPr/>
          </p:nvSpPr>
          <p:spPr>
            <a:xfrm>
              <a:off x="6637973" y="1851968"/>
              <a:ext cx="254770" cy="254770"/>
            </a:xfrm>
            <a:custGeom>
              <a:avLst/>
              <a:gdLst/>
              <a:ahLst/>
              <a:cxnLst>
                <a:cxn ang="0">
                  <a:pos x="wd2" y="hd2"/>
                </a:cxn>
                <a:cxn ang="5400000">
                  <a:pos x="wd2" y="hd2"/>
                </a:cxn>
                <a:cxn ang="10800000">
                  <a:pos x="wd2" y="hd2"/>
                </a:cxn>
                <a:cxn ang="16200000">
                  <a:pos x="wd2" y="hd2"/>
                </a:cxn>
              </a:cxnLst>
              <a:rect l="0" t="0" r="r" b="b"/>
              <a:pathLst>
                <a:path w="21600" h="21600" extrusionOk="0">
                  <a:moveTo>
                    <a:pt x="20579" y="7008"/>
                  </a:moveTo>
                  <a:cubicBezTo>
                    <a:pt x="20006" y="12260"/>
                    <a:pt x="12624" y="19436"/>
                    <a:pt x="10800" y="20538"/>
                  </a:cubicBezTo>
                  <a:cubicBezTo>
                    <a:pt x="8976" y="19436"/>
                    <a:pt x="1594" y="12260"/>
                    <a:pt x="1021" y="7001"/>
                  </a:cubicBezTo>
                  <a:cubicBezTo>
                    <a:pt x="1021" y="7001"/>
                    <a:pt x="982" y="6718"/>
                    <a:pt x="982" y="6382"/>
                  </a:cubicBezTo>
                  <a:cubicBezTo>
                    <a:pt x="982" y="3404"/>
                    <a:pt x="3404" y="982"/>
                    <a:pt x="6382" y="982"/>
                  </a:cubicBezTo>
                  <a:cubicBezTo>
                    <a:pt x="7780" y="982"/>
                    <a:pt x="9107" y="1518"/>
                    <a:pt x="10120" y="2491"/>
                  </a:cubicBezTo>
                  <a:lnTo>
                    <a:pt x="10800" y="3145"/>
                  </a:lnTo>
                  <a:lnTo>
                    <a:pt x="11480" y="2491"/>
                  </a:lnTo>
                  <a:cubicBezTo>
                    <a:pt x="12493" y="1518"/>
                    <a:pt x="13820" y="982"/>
                    <a:pt x="15218" y="982"/>
                  </a:cubicBezTo>
                  <a:cubicBezTo>
                    <a:pt x="18196" y="982"/>
                    <a:pt x="20618" y="3404"/>
                    <a:pt x="20618" y="6382"/>
                  </a:cubicBezTo>
                  <a:cubicBezTo>
                    <a:pt x="20618" y="6725"/>
                    <a:pt x="20579" y="7008"/>
                    <a:pt x="20579" y="7008"/>
                  </a:cubicBezTo>
                  <a:moveTo>
                    <a:pt x="21600" y="6382"/>
                  </a:moveTo>
                  <a:cubicBezTo>
                    <a:pt x="21600" y="2857"/>
                    <a:pt x="18743" y="0"/>
                    <a:pt x="15218" y="0"/>
                  </a:cubicBezTo>
                  <a:cubicBezTo>
                    <a:pt x="13502" y="0"/>
                    <a:pt x="11947" y="681"/>
                    <a:pt x="10800" y="1784"/>
                  </a:cubicBezTo>
                  <a:cubicBezTo>
                    <a:pt x="9653" y="681"/>
                    <a:pt x="8098" y="0"/>
                    <a:pt x="6382" y="0"/>
                  </a:cubicBezTo>
                  <a:cubicBezTo>
                    <a:pt x="2857" y="0"/>
                    <a:pt x="0" y="2857"/>
                    <a:pt x="0" y="6382"/>
                  </a:cubicBezTo>
                  <a:cubicBezTo>
                    <a:pt x="0" y="6792"/>
                    <a:pt x="65" y="7282"/>
                    <a:pt x="45" y="7115"/>
                  </a:cubicBezTo>
                  <a:cubicBezTo>
                    <a:pt x="733" y="13419"/>
                    <a:pt x="9855" y="21600"/>
                    <a:pt x="10800" y="21600"/>
                  </a:cubicBezTo>
                  <a:cubicBezTo>
                    <a:pt x="11745" y="21600"/>
                    <a:pt x="20867" y="13419"/>
                    <a:pt x="21555" y="7115"/>
                  </a:cubicBezTo>
                  <a:cubicBezTo>
                    <a:pt x="21536" y="7282"/>
                    <a:pt x="21600" y="6792"/>
                    <a:pt x="21600" y="6382"/>
                  </a:cubicBezTo>
                </a:path>
              </a:pathLst>
            </a:custGeom>
            <a:solidFill>
              <a:schemeClr val="bg1"/>
            </a:solidFill>
            <a:ln w="12700">
              <a:miter lim="400000"/>
            </a:ln>
          </p:spPr>
          <p:txBody>
            <a:bodyPr lIns="19045" tIns="19045" rIns="19045" bIns="19045" anchor="ctr"/>
            <a:lstStyle/>
            <a:p>
              <a:pPr defTabSz="2279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Lato" charset="0"/>
                <a:ea typeface="Lato" charset="0"/>
                <a:cs typeface="Lato" charset="0"/>
                <a:sym typeface="Gill Sans"/>
              </a:endParaRPr>
            </a:p>
          </p:txBody>
        </p:sp>
      </p:grpSp>
      <p:sp>
        <p:nvSpPr>
          <p:cNvPr id="33" name="Rectangle 30"/>
          <p:cNvSpPr/>
          <p:nvPr/>
        </p:nvSpPr>
        <p:spPr bwMode="auto">
          <a:xfrm>
            <a:off x="2730891" y="278702"/>
            <a:ext cx="6975475" cy="1230630"/>
          </a:xfrm>
          <a:prstGeom prst="rect">
            <a:avLst/>
          </a:prstGeom>
          <a:noFill/>
          <a:ln>
            <a:noFill/>
          </a:ln>
        </p:spPr>
        <p:txBody>
          <a:bodyPr wrap="none" lIns="0" tIns="0" rIns="0" bIns="0" anchor="ctr">
            <a:spAutoFit/>
          </a:bodyPr>
          <a:lstStyle/>
          <a:p>
            <a:pPr algn="ctr" defTabSz="913765"/>
            <a:r>
              <a:rPr lang="en-US" sz="4000" b="1" spc="150" dirty="0">
                <a:latin typeface="Microsoft YaHei UI" panose="020B0503020204020204" charset="-122"/>
                <a:ea typeface="Microsoft YaHei UI" panose="020B0503020204020204" charset="-122"/>
                <a:cs typeface="Microsoft YaHei UI" panose="020B0503020204020204" charset="-122"/>
                <a:sym typeface="Bebas Neue" charset="0"/>
              </a:rPr>
              <a:t>响应式web设计</a:t>
            </a:r>
            <a:endParaRPr lang="en-US" sz="4000" b="1" spc="150" dirty="0">
              <a:latin typeface="Microsoft YaHei UI" panose="020B0503020204020204" charset="-122"/>
              <a:ea typeface="Microsoft YaHei UI" panose="020B0503020204020204" charset="-122"/>
              <a:cs typeface="Microsoft YaHei UI" panose="020B0503020204020204" charset="-122"/>
              <a:sym typeface="Bebas Neue" charset="0"/>
            </a:endParaRPr>
          </a:p>
          <a:p>
            <a:pPr algn="ctr" defTabSz="913765"/>
            <a:r>
              <a:rPr lang="en-US" sz="4000" b="1" spc="150" dirty="0">
                <a:latin typeface="Microsoft YaHei UI" panose="020B0503020204020204" charset="-122"/>
                <a:ea typeface="Microsoft YaHei UI" panose="020B0503020204020204" charset="-122"/>
                <a:cs typeface="Microsoft YaHei UI" panose="020B0503020204020204" charset="-122"/>
                <a:sym typeface="Bebas Neue" charset="0"/>
              </a:rPr>
              <a:t>（HTML5和CSS3）范例网站</a:t>
            </a:r>
            <a:endParaRPr lang="en-US" sz="4000" b="1" spc="150" dirty="0">
              <a:latin typeface="Microsoft YaHei UI" panose="020B0503020204020204" charset="-122"/>
              <a:ea typeface="Microsoft YaHei UI" panose="020B0503020204020204" charset="-122"/>
              <a:cs typeface="Microsoft YaHei UI" panose="020B0503020204020204" charset="-122"/>
              <a:sym typeface="Bebas Neue" charset="0"/>
            </a:endParaRPr>
          </a:p>
        </p:txBody>
      </p:sp>
      <p:sp>
        <p:nvSpPr>
          <p:cNvPr id="2" name="TextBox 66"/>
          <p:cNvSpPr txBox="1"/>
          <p:nvPr/>
        </p:nvSpPr>
        <p:spPr>
          <a:xfrm>
            <a:off x="2118389" y="1739367"/>
            <a:ext cx="2913380" cy="381635"/>
          </a:xfrm>
          <a:prstGeom prst="rect">
            <a:avLst/>
          </a:prstGeom>
          <a:noFill/>
        </p:spPr>
        <p:txBody>
          <a:bodyPr wrap="none" rtlCol="0">
            <a:spAutoFit/>
          </a:bodyPr>
          <a:p>
            <a:pPr algn="l">
              <a:lnSpc>
                <a:spcPct val="90000"/>
              </a:lnSpc>
              <a:spcBef>
                <a:spcPts val="1000"/>
              </a:spcBef>
              <a:buFont typeface="Arial" panose="020B0604020202020204" pitchFamily="34" charset="0"/>
              <a:buNone/>
            </a:pPr>
            <a:r>
              <a:rPr lang="zh-CN" altLang="en-US" sz="2100" dirty="0">
                <a:latin typeface="Arial" panose="020B0604020202020204" pitchFamily="34" charset="0"/>
                <a:ea typeface="宋体" panose="02010600030101010101" pitchFamily="2" charset="-122"/>
                <a:sym typeface="+mn-ea"/>
              </a:rPr>
              <a:t>http://thinkvitamin.com/</a:t>
            </a:r>
            <a:endParaRPr lang="en-US" altLang="zh-CN" sz="2100" b="1" dirty="0">
              <a:solidFill>
                <a:srgbClr val="191919"/>
              </a:solidFill>
              <a:latin typeface="微软雅黑 Light" panose="020B0502040204020203" pitchFamily="34" charset="-122"/>
              <a:ea typeface="微软雅黑 Light" panose="020B0502040204020203" pitchFamily="34" charset="-122"/>
              <a:cs typeface="Poppins Bold" panose="02000000000000000000" pitchFamily="2" charset="77"/>
            </a:endParaRPr>
          </a:p>
        </p:txBody>
      </p:sp>
      <p:sp>
        <p:nvSpPr>
          <p:cNvPr id="3" name="TextBox 66"/>
          <p:cNvSpPr txBox="1"/>
          <p:nvPr/>
        </p:nvSpPr>
        <p:spPr>
          <a:xfrm>
            <a:off x="7287924" y="1783182"/>
            <a:ext cx="3266440" cy="381635"/>
          </a:xfrm>
          <a:prstGeom prst="rect">
            <a:avLst/>
          </a:prstGeom>
          <a:noFill/>
        </p:spPr>
        <p:txBody>
          <a:bodyPr wrap="none" rtlCol="0">
            <a:spAutoFit/>
          </a:bodyPr>
          <a:p>
            <a:pPr algn="l">
              <a:lnSpc>
                <a:spcPct val="90000"/>
              </a:lnSpc>
              <a:spcBef>
                <a:spcPts val="1000"/>
              </a:spcBef>
              <a:buFont typeface="Arial" panose="020B0604020202020204" pitchFamily="34" charset="0"/>
              <a:buNone/>
            </a:pPr>
            <a:r>
              <a:rPr lang="zh-CN" altLang="en-US" sz="2100" dirty="0">
                <a:latin typeface="Arial" panose="020B0604020202020204" pitchFamily="34" charset="0"/>
                <a:ea typeface="宋体" panose="02010600030101010101" pitchFamily="2" charset="-122"/>
                <a:sym typeface="+mn-ea"/>
              </a:rPr>
              <a:t>http://2011.dconstruct.org/</a:t>
            </a:r>
            <a:endParaRPr lang="en-US" altLang="zh-CN" sz="2100" b="1" dirty="0">
              <a:solidFill>
                <a:srgbClr val="191919"/>
              </a:solidFill>
              <a:latin typeface="微软雅黑 Light" panose="020B0502040204020203" pitchFamily="34" charset="-122"/>
              <a:ea typeface="微软雅黑 Light" panose="020B0502040204020203" pitchFamily="34" charset="-122"/>
              <a:cs typeface="Poppins Bold" panose="02000000000000000000" pitchFamily="2" charset="77"/>
            </a:endParaRPr>
          </a:p>
        </p:txBody>
      </p:sp>
    </p:spTree>
  </p:cSld>
  <p:clrMapOvr>
    <a:masterClrMapping/>
  </p:clrMapOvr>
  <p:transition spd="slow">
    <p:push/>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2"/>
          <p:cNvSpPr>
            <a:spLocks noGrp="1"/>
          </p:cNvSpPr>
          <p:nvPr>
            <p:ph type="title"/>
          </p:nvPr>
        </p:nvSpPr>
        <p:spPr>
          <a:xfrm>
            <a:off x="3885565" y="2927350"/>
            <a:ext cx="8330565" cy="895350"/>
          </a:xfrm>
        </p:spPr>
        <p:txBody>
          <a:bodyPr>
            <a:normAutofit/>
          </a:bodyPr>
          <a:lstStyle/>
          <a:p>
            <a:r>
              <a:rPr lang="zh-CN" altLang="en-US" dirty="0"/>
              <a:t>三.响应式布局常用解决方法</a:t>
            </a:r>
            <a:endParaRPr lang="zh-CN" altLang="en-US" dirty="0"/>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5" name="矩形 14"/>
          <p:cNvSpPr/>
          <p:nvPr>
            <p:custDataLst>
              <p:tags r:id="rId1"/>
            </p:custDataLst>
          </p:nvPr>
        </p:nvSpPr>
        <p:spPr>
          <a:xfrm>
            <a:off x="1524000" y="857250"/>
            <a:ext cx="9144000" cy="5143500"/>
          </a:xfrm>
          <a:prstGeom prst="rect">
            <a:avLst/>
          </a:prstGeom>
          <a:pattFill prst="smCheck">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r>
              <a:rPr kumimoji="1" lang="en-US" altLang="zh-CN" sz="1200" b="1" strike="noStrike" noProof="1" dirty="0">
                <a:solidFill>
                  <a:schemeClr val="bg1"/>
                </a:solidFill>
                <a:latin typeface="微软雅黑" panose="020B0503020204020204" charset="-122"/>
                <a:ea typeface="微软雅黑" panose="020B0503020204020204" charset="-122"/>
              </a:rPr>
              <a:t>·</a:t>
            </a:r>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5" name="矩形 4"/>
          <p:cNvSpPr/>
          <p:nvPr>
            <p:custDataLst>
              <p:tags r:id="rId2"/>
            </p:custDataLst>
          </p:nvPr>
        </p:nvSpPr>
        <p:spPr>
          <a:xfrm>
            <a:off x="2025650" y="1484313"/>
            <a:ext cx="7435850" cy="4175125"/>
          </a:xfrm>
          <a:prstGeom prst="rect">
            <a:avLst/>
          </a:prstGeom>
          <a:solidFill>
            <a:schemeClr val="bg1">
              <a:lumMod val="85000"/>
              <a:alpha val="50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6" name="矩形 5"/>
          <p:cNvSpPr/>
          <p:nvPr>
            <p:custDataLst>
              <p:tags r:id="rId3"/>
            </p:custDataLst>
          </p:nvPr>
        </p:nvSpPr>
        <p:spPr>
          <a:xfrm>
            <a:off x="2025650" y="1144588"/>
            <a:ext cx="228600" cy="228600"/>
          </a:xfrm>
          <a:prstGeom prst="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微软雅黑" panose="020B0503020204020204" charset="-122"/>
              <a:ea typeface="微软雅黑" panose="020B0503020204020204" charset="-122"/>
            </a:endParaRPr>
          </a:p>
        </p:txBody>
      </p:sp>
      <p:sp>
        <p:nvSpPr>
          <p:cNvPr id="7" name="矩形 6"/>
          <p:cNvSpPr/>
          <p:nvPr>
            <p:custDataLst>
              <p:tags r:id="rId4"/>
            </p:custDataLst>
          </p:nvPr>
        </p:nvSpPr>
        <p:spPr>
          <a:xfrm>
            <a:off x="2478088" y="1149350"/>
            <a:ext cx="7440613" cy="4175125"/>
          </a:xfrm>
          <a:prstGeom prst="rect">
            <a:avLst/>
          </a:prstGeom>
          <a:no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10" name="文本框 9"/>
          <p:cNvSpPr txBox="1"/>
          <p:nvPr>
            <p:custDataLst>
              <p:tags r:id="rId5"/>
            </p:custDataLst>
          </p:nvPr>
        </p:nvSpPr>
        <p:spPr>
          <a:xfrm>
            <a:off x="2797175" y="1567498"/>
            <a:ext cx="5324475" cy="468313"/>
          </a:xfrm>
          <a:prstGeom prst="rect">
            <a:avLst/>
          </a:prstGeom>
          <a:noFill/>
        </p:spPr>
        <p:txBody>
          <a:bodyPr wrap="square" lIns="76200" tIns="28575" rIns="47625" bIns="28575" rtlCol="0">
            <a:noAutofit/>
          </a:bodyPr>
          <a:lstStyle/>
          <a:p>
            <a:r>
              <a:rPr lang="zh-CN" altLang="en-US" sz="2700" b="1" spc="300" noProof="1" dirty="0">
                <a:solidFill>
                  <a:schemeClr val="tx1">
                    <a:lumMod val="75000"/>
                    <a:lumOff val="25000"/>
                  </a:schemeClr>
                </a:solidFill>
                <a:latin typeface="微软雅黑" panose="020B0503020204020204" charset="-122"/>
                <a:ea typeface="微软雅黑" panose="020B0503020204020204" charset="-122"/>
                <a:cs typeface="+mn-cs"/>
              </a:rPr>
              <a:t>方法一：媒体查询</a:t>
            </a:r>
            <a:endParaRPr lang="en-US" altLang="zh-CN" sz="2700" b="1" spc="300" noProof="1" dirty="0">
              <a:solidFill>
                <a:schemeClr val="tx1">
                  <a:lumMod val="75000"/>
                  <a:lumOff val="25000"/>
                </a:schemeClr>
              </a:solidFill>
              <a:latin typeface="微软雅黑" panose="020B0503020204020204" charset="-122"/>
              <a:ea typeface="微软雅黑" panose="020B0503020204020204" charset="-122"/>
            </a:endParaRPr>
          </a:p>
        </p:txBody>
      </p:sp>
      <p:sp>
        <p:nvSpPr>
          <p:cNvPr id="9" name="矩形 8"/>
          <p:cNvSpPr/>
          <p:nvPr>
            <p:custDataLst>
              <p:tags r:id="rId6"/>
            </p:custDataLst>
          </p:nvPr>
        </p:nvSpPr>
        <p:spPr>
          <a:xfrm>
            <a:off x="10082213" y="3416300"/>
            <a:ext cx="146050" cy="1908175"/>
          </a:xfrm>
          <a:prstGeom prst="rect">
            <a:avLst/>
          </a:prstGeom>
          <a:solidFill>
            <a:schemeClr val="accent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微软雅黑" panose="020B0503020204020204" charset="-122"/>
              <a:ea typeface="微软雅黑" panose="020B0503020204020204" charset="-122"/>
            </a:endParaRPr>
          </a:p>
        </p:txBody>
      </p:sp>
      <p:sp>
        <p:nvSpPr>
          <p:cNvPr id="17" name="任意多边形: 形状 16"/>
          <p:cNvSpPr/>
          <p:nvPr>
            <p:custDataLst>
              <p:tags r:id="rId7"/>
            </p:custDataLst>
          </p:nvPr>
        </p:nvSpPr>
        <p:spPr>
          <a:xfrm rot="10800000">
            <a:off x="8872538" y="1882775"/>
            <a:ext cx="255588" cy="311150"/>
          </a:xfrm>
          <a:custGeom>
            <a:avLst/>
            <a:gdLst>
              <a:gd name="connsiteX0" fmla="*/ 174788 w 340237"/>
              <a:gd name="connsiteY0" fmla="*/ 0 h 415819"/>
              <a:gd name="connsiteX1" fmla="*/ 340237 w 340237"/>
              <a:gd name="connsiteY1" fmla="*/ 0 h 415819"/>
              <a:gd name="connsiteX2" fmla="*/ 241322 w 340237"/>
              <a:gd name="connsiteY2" fmla="*/ 415819 h 415819"/>
              <a:gd name="connsiteX3" fmla="*/ 0 w 340237"/>
              <a:gd name="connsiteY3" fmla="*/ 415819 h 415819"/>
            </a:gdLst>
            <a:ahLst/>
            <a:cxnLst>
              <a:cxn ang="0">
                <a:pos x="connsiteX0" y="connsiteY0"/>
              </a:cxn>
              <a:cxn ang="0">
                <a:pos x="connsiteX1" y="connsiteY1"/>
              </a:cxn>
              <a:cxn ang="0">
                <a:pos x="connsiteX2" y="connsiteY2"/>
              </a:cxn>
              <a:cxn ang="0">
                <a:pos x="connsiteX3" y="connsiteY3"/>
              </a:cxn>
            </a:cxnLst>
            <a:rect l="l" t="t" r="r" b="b"/>
            <a:pathLst>
              <a:path w="340237" h="415819">
                <a:moveTo>
                  <a:pt x="174788" y="0"/>
                </a:moveTo>
                <a:lnTo>
                  <a:pt x="340237" y="0"/>
                </a:lnTo>
                <a:lnTo>
                  <a:pt x="241322" y="415819"/>
                </a:lnTo>
                <a:lnTo>
                  <a:pt x="0" y="415819"/>
                </a:lnTo>
                <a:close/>
              </a:path>
            </a:pathLst>
          </a:cu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endParaRPr lang="zh-CN" altLang="en-US" sz="1350" strike="noStrike" noProof="1">
              <a:ea typeface="微软雅黑" panose="020B0503020204020204" charset="-122"/>
            </a:endParaRPr>
          </a:p>
        </p:txBody>
      </p:sp>
      <p:sp>
        <p:nvSpPr>
          <p:cNvPr id="18" name="任意多边形: 形状 17"/>
          <p:cNvSpPr/>
          <p:nvPr>
            <p:custDataLst>
              <p:tags r:id="rId8"/>
            </p:custDataLst>
          </p:nvPr>
        </p:nvSpPr>
        <p:spPr>
          <a:xfrm rot="10800000">
            <a:off x="8586788" y="1882775"/>
            <a:ext cx="255588" cy="311150"/>
          </a:xfrm>
          <a:custGeom>
            <a:avLst/>
            <a:gdLst>
              <a:gd name="connsiteX0" fmla="*/ 174788 w 340237"/>
              <a:gd name="connsiteY0" fmla="*/ 0 h 415819"/>
              <a:gd name="connsiteX1" fmla="*/ 340237 w 340237"/>
              <a:gd name="connsiteY1" fmla="*/ 0 h 415819"/>
              <a:gd name="connsiteX2" fmla="*/ 241322 w 340237"/>
              <a:gd name="connsiteY2" fmla="*/ 415819 h 415819"/>
              <a:gd name="connsiteX3" fmla="*/ 0 w 340237"/>
              <a:gd name="connsiteY3" fmla="*/ 415819 h 415819"/>
            </a:gdLst>
            <a:ahLst/>
            <a:cxnLst>
              <a:cxn ang="0">
                <a:pos x="connsiteX0" y="connsiteY0"/>
              </a:cxn>
              <a:cxn ang="0">
                <a:pos x="connsiteX1" y="connsiteY1"/>
              </a:cxn>
              <a:cxn ang="0">
                <a:pos x="connsiteX2" y="connsiteY2"/>
              </a:cxn>
              <a:cxn ang="0">
                <a:pos x="connsiteX3" y="connsiteY3"/>
              </a:cxn>
            </a:cxnLst>
            <a:rect l="l" t="t" r="r" b="b"/>
            <a:pathLst>
              <a:path w="340237" h="415819">
                <a:moveTo>
                  <a:pt x="174788" y="0"/>
                </a:moveTo>
                <a:lnTo>
                  <a:pt x="340237" y="0"/>
                </a:lnTo>
                <a:lnTo>
                  <a:pt x="241322" y="415819"/>
                </a:lnTo>
                <a:lnTo>
                  <a:pt x="0" y="415819"/>
                </a:lnTo>
                <a:close/>
              </a:path>
            </a:pathLst>
          </a:cu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endParaRPr lang="zh-CN" altLang="en-US" sz="1350" strike="noStrike" noProof="1">
              <a:ea typeface="微软雅黑" panose="020B0503020204020204" charset="-122"/>
            </a:endParaRPr>
          </a:p>
        </p:txBody>
      </p:sp>
      <p:sp>
        <p:nvSpPr>
          <p:cNvPr id="2" name="文本框 1"/>
          <p:cNvSpPr txBox="1"/>
          <p:nvPr>
            <p:custDataLst>
              <p:tags r:id="rId9"/>
            </p:custDataLst>
          </p:nvPr>
        </p:nvSpPr>
        <p:spPr>
          <a:xfrm>
            <a:off x="3053715" y="2209800"/>
            <a:ext cx="6407785" cy="2812415"/>
          </a:xfrm>
          <a:prstGeom prst="rect">
            <a:avLst/>
          </a:prstGeom>
          <a:noFill/>
        </p:spPr>
        <p:txBody>
          <a:bodyPr wrap="square" lIns="76200" tIns="0" rIns="61912" bIns="0" rtlCol="0">
            <a:noAutofit/>
          </a:bodyPr>
          <a:lstStyle>
            <a:defPPr>
              <a:defRPr lang="zh-CN"/>
            </a:defPPr>
            <a:lvl1pPr fontAlgn="auto">
              <a:lnSpc>
                <a:spcPct val="130000"/>
              </a:lnSpc>
              <a:spcAft>
                <a:spcPts val="1000"/>
              </a:spcAft>
              <a:defRPr sz="1600" spc="150"/>
            </a:lvl1pPr>
          </a:lstStyle>
          <a:p>
            <a:pPr marL="361950" indent="-361950" fontAlgn="ctr">
              <a:spcBef>
                <a:spcPts val="1000"/>
              </a:spcBef>
              <a:spcAft>
                <a:spcPts val="0"/>
              </a:spcAft>
              <a:buClr>
                <a:schemeClr val="tx2">
                  <a:lumMod val="75000"/>
                </a:schemeClr>
              </a:buClr>
              <a:buSzPct val="130000"/>
              <a:buFont typeface="WPS-Bullets" pitchFamily="2" charset="0"/>
              <a:buChar char=""/>
            </a:pPr>
            <a:r>
              <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      1.meta标签的使用</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marL="361950" indent="-361950" fontAlgn="ctr">
              <a:spcBef>
                <a:spcPts val="1000"/>
              </a:spcBef>
              <a:spcAft>
                <a:spcPts val="0"/>
              </a:spcAft>
              <a:buClr>
                <a:schemeClr val="tx2">
                  <a:lumMod val="75000"/>
                </a:schemeClr>
              </a:buClr>
              <a:buSzPct val="130000"/>
              <a:buFont typeface="WPS-Bullets" pitchFamily="2" charset="0"/>
              <a:buChar char=""/>
            </a:pPr>
            <a:r>
              <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    &lt;meta  name="viewport"   content="width=device-width,initial-scale=1.0"/&gt;</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marL="361950" indent="-361950" fontAlgn="ctr">
              <a:spcBef>
                <a:spcPts val="1000"/>
              </a:spcBef>
              <a:spcAft>
                <a:spcPts val="0"/>
              </a:spcAft>
              <a:buClr>
                <a:schemeClr val="tx2">
                  <a:lumMod val="75000"/>
                </a:schemeClr>
              </a:buClr>
              <a:buSzPct val="130000"/>
              <a:buFont typeface="WPS-Bullets" pitchFamily="2" charset="0"/>
              <a:buChar char=""/>
            </a:pPr>
            <a:r>
              <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      2.弹性图片</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marL="361950" indent="-361950" fontAlgn="ctr">
              <a:spcBef>
                <a:spcPts val="1000"/>
              </a:spcBef>
              <a:spcAft>
                <a:spcPts val="0"/>
              </a:spcAft>
              <a:buClr>
                <a:schemeClr val="tx2">
                  <a:lumMod val="75000"/>
                </a:schemeClr>
              </a:buClr>
              <a:buSzPct val="130000"/>
              <a:buFont typeface="WPS-Bullets" pitchFamily="2" charset="0"/>
              <a:buChar char=""/>
            </a:pPr>
            <a:r>
              <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      3.媒体查询</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marL="361950" indent="-361950" fontAlgn="ctr">
              <a:spcBef>
                <a:spcPts val="1000"/>
              </a:spcBef>
              <a:spcAft>
                <a:spcPts val="0"/>
              </a:spcAft>
              <a:buClr>
                <a:schemeClr val="tx2">
                  <a:lumMod val="75000"/>
                </a:schemeClr>
              </a:buClr>
              <a:buSzPct val="130000"/>
              <a:buFont typeface="WPS-Bullets" pitchFamily="2" charset="0"/>
              <a:buChar char=""/>
            </a:pPr>
            <a:r>
              <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      @media screen and (max-width:960px){....} </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marL="361950" indent="-361950" fontAlgn="ctr">
              <a:spcBef>
                <a:spcPts val="1000"/>
              </a:spcBef>
              <a:spcAft>
                <a:spcPts val="0"/>
              </a:spcAft>
              <a:buClr>
                <a:schemeClr val="tx2">
                  <a:lumMod val="75000"/>
                </a:schemeClr>
              </a:buClr>
              <a:buSzPct val="130000"/>
              <a:buFont typeface="WPS-Bullets" pitchFamily="2" charset="0"/>
              <a:buChar char=""/>
            </a:pPr>
            <a:r>
              <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      &lt;link rel="stylesheet" media="screen and (max-width:960px)"   href="css.css"/&gt;</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p:txBody>
      </p:sp>
    </p:spTree>
    <p:custDataLst>
      <p:tags r:id="rId10"/>
    </p:custData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5" name="矩形 14"/>
          <p:cNvSpPr/>
          <p:nvPr>
            <p:custDataLst>
              <p:tags r:id="rId1"/>
            </p:custDataLst>
          </p:nvPr>
        </p:nvSpPr>
        <p:spPr>
          <a:xfrm>
            <a:off x="1524000" y="857250"/>
            <a:ext cx="9144000" cy="5143500"/>
          </a:xfrm>
          <a:prstGeom prst="rect">
            <a:avLst/>
          </a:prstGeom>
          <a:pattFill prst="smCheck">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r>
              <a:rPr kumimoji="1" lang="en-US" altLang="zh-CN" sz="1200" b="1" strike="noStrike" noProof="1" dirty="0">
                <a:solidFill>
                  <a:schemeClr val="bg1"/>
                </a:solidFill>
                <a:latin typeface="微软雅黑" panose="020B0503020204020204" charset="-122"/>
                <a:ea typeface="微软雅黑" panose="020B0503020204020204" charset="-122"/>
              </a:rPr>
              <a:t>·</a:t>
            </a:r>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5" name="矩形 4"/>
          <p:cNvSpPr/>
          <p:nvPr>
            <p:custDataLst>
              <p:tags r:id="rId2"/>
            </p:custDataLst>
          </p:nvPr>
        </p:nvSpPr>
        <p:spPr>
          <a:xfrm>
            <a:off x="2025650" y="1484313"/>
            <a:ext cx="7435850" cy="4175125"/>
          </a:xfrm>
          <a:prstGeom prst="rect">
            <a:avLst/>
          </a:prstGeom>
          <a:solidFill>
            <a:schemeClr val="bg1">
              <a:lumMod val="85000"/>
              <a:alpha val="50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6" name="矩形 5"/>
          <p:cNvSpPr/>
          <p:nvPr>
            <p:custDataLst>
              <p:tags r:id="rId3"/>
            </p:custDataLst>
          </p:nvPr>
        </p:nvSpPr>
        <p:spPr>
          <a:xfrm>
            <a:off x="2025650" y="1144588"/>
            <a:ext cx="228600" cy="228600"/>
          </a:xfrm>
          <a:prstGeom prst="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微软雅黑" panose="020B0503020204020204" charset="-122"/>
              <a:ea typeface="微软雅黑" panose="020B0503020204020204" charset="-122"/>
            </a:endParaRPr>
          </a:p>
        </p:txBody>
      </p:sp>
      <p:sp>
        <p:nvSpPr>
          <p:cNvPr id="7" name="矩形 6"/>
          <p:cNvSpPr/>
          <p:nvPr>
            <p:custDataLst>
              <p:tags r:id="rId4"/>
            </p:custDataLst>
          </p:nvPr>
        </p:nvSpPr>
        <p:spPr>
          <a:xfrm>
            <a:off x="2478088" y="1149350"/>
            <a:ext cx="7440613" cy="4175125"/>
          </a:xfrm>
          <a:prstGeom prst="rect">
            <a:avLst/>
          </a:prstGeom>
          <a:no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10" name="文本框 9"/>
          <p:cNvSpPr txBox="1"/>
          <p:nvPr>
            <p:custDataLst>
              <p:tags r:id="rId5"/>
            </p:custDataLst>
          </p:nvPr>
        </p:nvSpPr>
        <p:spPr>
          <a:xfrm>
            <a:off x="2863850" y="1585913"/>
            <a:ext cx="5324475" cy="468313"/>
          </a:xfrm>
          <a:prstGeom prst="rect">
            <a:avLst/>
          </a:prstGeom>
          <a:noFill/>
        </p:spPr>
        <p:txBody>
          <a:bodyPr wrap="square" lIns="76200" tIns="28575" rIns="47625" bIns="28575" rtlCol="0">
            <a:noAutofit/>
          </a:bodyPr>
          <a:lstStyle/>
          <a:p>
            <a:r>
              <a:rPr lang="zh-CN" altLang="en-US" sz="2700" dirty="0">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sym typeface="+mn-ea"/>
              </a:rPr>
              <a:t>什么是 HTML？</a:t>
            </a:r>
            <a:endParaRPr lang="zh-CN" altLang="en-US" sz="2700" b="1" spc="300" noProof="1" dirty="0">
              <a:solidFill>
                <a:schemeClr val="tx1">
                  <a:lumMod val="75000"/>
                  <a:lumOff val="25000"/>
                </a:schemeClr>
              </a:solidFill>
              <a:latin typeface="微软雅黑" panose="020B0503020204020204" charset="-122"/>
              <a:ea typeface="微软雅黑" panose="020B0503020204020204" charset="-122"/>
              <a:cs typeface="+mn-cs"/>
            </a:endParaRPr>
          </a:p>
        </p:txBody>
      </p:sp>
      <p:sp>
        <p:nvSpPr>
          <p:cNvPr id="9" name="矩形 8"/>
          <p:cNvSpPr/>
          <p:nvPr>
            <p:custDataLst>
              <p:tags r:id="rId6"/>
            </p:custDataLst>
          </p:nvPr>
        </p:nvSpPr>
        <p:spPr>
          <a:xfrm>
            <a:off x="10082213" y="3416300"/>
            <a:ext cx="146050" cy="1908175"/>
          </a:xfrm>
          <a:prstGeom prst="rect">
            <a:avLst/>
          </a:prstGeom>
          <a:solidFill>
            <a:schemeClr val="accent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微软雅黑" panose="020B0503020204020204" charset="-122"/>
              <a:ea typeface="微软雅黑" panose="020B0503020204020204" charset="-122"/>
            </a:endParaRPr>
          </a:p>
        </p:txBody>
      </p:sp>
      <p:sp>
        <p:nvSpPr>
          <p:cNvPr id="17" name="任意多边形: 形状 16"/>
          <p:cNvSpPr/>
          <p:nvPr>
            <p:custDataLst>
              <p:tags r:id="rId7"/>
            </p:custDataLst>
          </p:nvPr>
        </p:nvSpPr>
        <p:spPr>
          <a:xfrm rot="10800000">
            <a:off x="8872538" y="1882775"/>
            <a:ext cx="255588" cy="311150"/>
          </a:xfrm>
          <a:custGeom>
            <a:avLst/>
            <a:gdLst>
              <a:gd name="connsiteX0" fmla="*/ 174788 w 340237"/>
              <a:gd name="connsiteY0" fmla="*/ 0 h 415819"/>
              <a:gd name="connsiteX1" fmla="*/ 340237 w 340237"/>
              <a:gd name="connsiteY1" fmla="*/ 0 h 415819"/>
              <a:gd name="connsiteX2" fmla="*/ 241322 w 340237"/>
              <a:gd name="connsiteY2" fmla="*/ 415819 h 415819"/>
              <a:gd name="connsiteX3" fmla="*/ 0 w 340237"/>
              <a:gd name="connsiteY3" fmla="*/ 415819 h 415819"/>
            </a:gdLst>
            <a:ahLst/>
            <a:cxnLst>
              <a:cxn ang="0">
                <a:pos x="connsiteX0" y="connsiteY0"/>
              </a:cxn>
              <a:cxn ang="0">
                <a:pos x="connsiteX1" y="connsiteY1"/>
              </a:cxn>
              <a:cxn ang="0">
                <a:pos x="connsiteX2" y="connsiteY2"/>
              </a:cxn>
              <a:cxn ang="0">
                <a:pos x="connsiteX3" y="connsiteY3"/>
              </a:cxn>
            </a:cxnLst>
            <a:rect l="l" t="t" r="r" b="b"/>
            <a:pathLst>
              <a:path w="340237" h="415819">
                <a:moveTo>
                  <a:pt x="174788" y="0"/>
                </a:moveTo>
                <a:lnTo>
                  <a:pt x="340237" y="0"/>
                </a:lnTo>
                <a:lnTo>
                  <a:pt x="241322" y="415819"/>
                </a:lnTo>
                <a:lnTo>
                  <a:pt x="0" y="415819"/>
                </a:lnTo>
                <a:close/>
              </a:path>
            </a:pathLst>
          </a:cu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endParaRPr lang="zh-CN" altLang="en-US" sz="1350" strike="noStrike" noProof="1">
              <a:ea typeface="微软雅黑" panose="020B0503020204020204" charset="-122"/>
            </a:endParaRPr>
          </a:p>
        </p:txBody>
      </p:sp>
      <p:sp>
        <p:nvSpPr>
          <p:cNvPr id="18" name="任意多边形: 形状 17"/>
          <p:cNvSpPr/>
          <p:nvPr>
            <p:custDataLst>
              <p:tags r:id="rId8"/>
            </p:custDataLst>
          </p:nvPr>
        </p:nvSpPr>
        <p:spPr>
          <a:xfrm rot="10800000">
            <a:off x="8586788" y="1882775"/>
            <a:ext cx="255588" cy="311150"/>
          </a:xfrm>
          <a:custGeom>
            <a:avLst/>
            <a:gdLst>
              <a:gd name="connsiteX0" fmla="*/ 174788 w 340237"/>
              <a:gd name="connsiteY0" fmla="*/ 0 h 415819"/>
              <a:gd name="connsiteX1" fmla="*/ 340237 w 340237"/>
              <a:gd name="connsiteY1" fmla="*/ 0 h 415819"/>
              <a:gd name="connsiteX2" fmla="*/ 241322 w 340237"/>
              <a:gd name="connsiteY2" fmla="*/ 415819 h 415819"/>
              <a:gd name="connsiteX3" fmla="*/ 0 w 340237"/>
              <a:gd name="connsiteY3" fmla="*/ 415819 h 415819"/>
            </a:gdLst>
            <a:ahLst/>
            <a:cxnLst>
              <a:cxn ang="0">
                <a:pos x="connsiteX0" y="connsiteY0"/>
              </a:cxn>
              <a:cxn ang="0">
                <a:pos x="connsiteX1" y="connsiteY1"/>
              </a:cxn>
              <a:cxn ang="0">
                <a:pos x="connsiteX2" y="connsiteY2"/>
              </a:cxn>
              <a:cxn ang="0">
                <a:pos x="connsiteX3" y="connsiteY3"/>
              </a:cxn>
            </a:cxnLst>
            <a:rect l="l" t="t" r="r" b="b"/>
            <a:pathLst>
              <a:path w="340237" h="415819">
                <a:moveTo>
                  <a:pt x="174788" y="0"/>
                </a:moveTo>
                <a:lnTo>
                  <a:pt x="340237" y="0"/>
                </a:lnTo>
                <a:lnTo>
                  <a:pt x="241322" y="415819"/>
                </a:lnTo>
                <a:lnTo>
                  <a:pt x="0" y="415819"/>
                </a:lnTo>
                <a:close/>
              </a:path>
            </a:pathLst>
          </a:cu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endParaRPr lang="zh-CN" altLang="en-US" sz="1350" strike="noStrike" noProof="1">
              <a:ea typeface="微软雅黑" panose="020B0503020204020204" charset="-122"/>
            </a:endParaRPr>
          </a:p>
        </p:txBody>
      </p:sp>
      <p:sp>
        <p:nvSpPr>
          <p:cNvPr id="2" name="TextBox 21"/>
          <p:cNvSpPr txBox="1"/>
          <p:nvPr/>
        </p:nvSpPr>
        <p:spPr>
          <a:xfrm>
            <a:off x="2991485" y="1909445"/>
            <a:ext cx="6209030" cy="2676525"/>
          </a:xfrm>
          <a:prstGeom prst="rect">
            <a:avLst/>
          </a:prstGeom>
          <a:noFill/>
        </p:spPr>
        <p:txBody>
          <a:bodyPr wrap="square" rtlCol="0">
            <a:spAutoFit/>
          </a:bodyPr>
          <a:p>
            <a:pPr lvl="0">
              <a:lnSpc>
                <a:spcPct val="150000"/>
              </a:lnSpc>
              <a:defRPr/>
            </a:pPr>
            <a:endPar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endParaRPr>
          </a:p>
          <a:p>
            <a:pPr lvl="0">
              <a:lnSpc>
                <a:spcPct val="150000"/>
              </a:lnSpc>
              <a:defRPr/>
            </a:pPr>
            <a:r>
              <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rPr>
              <a:t>HTML 是用来描述网页的一种语言。</a:t>
            </a:r>
            <a:endPar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endParaRPr>
          </a:p>
          <a:p>
            <a:pPr lvl="0">
              <a:lnSpc>
                <a:spcPct val="150000"/>
              </a:lnSpc>
              <a:defRPr/>
            </a:pPr>
            <a:endPar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endParaRPr>
          </a:p>
          <a:p>
            <a:pPr lvl="0">
              <a:lnSpc>
                <a:spcPct val="150000"/>
              </a:lnSpc>
              <a:defRPr/>
            </a:pPr>
            <a:r>
              <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rPr>
              <a:t>HTML 指的是超文本标记语言 (Hyper Text Markup Language)</a:t>
            </a:r>
            <a:endPar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endParaRPr>
          </a:p>
          <a:p>
            <a:pPr lvl="0">
              <a:lnSpc>
                <a:spcPct val="150000"/>
              </a:lnSpc>
              <a:defRPr/>
            </a:pPr>
            <a:r>
              <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rPr>
              <a:t>HTML 不是一种编程语言，而是一种标记语言 (markup language)</a:t>
            </a:r>
            <a:endPar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endParaRPr>
          </a:p>
          <a:p>
            <a:pPr lvl="0">
              <a:lnSpc>
                <a:spcPct val="150000"/>
              </a:lnSpc>
              <a:defRPr/>
            </a:pPr>
            <a:r>
              <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rPr>
              <a:t>标记语言是一套标记标签 (markup tag)</a:t>
            </a:r>
            <a:endPar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endParaRPr>
          </a:p>
          <a:p>
            <a:pPr lvl="0">
              <a:lnSpc>
                <a:spcPct val="150000"/>
              </a:lnSpc>
              <a:defRPr/>
            </a:pPr>
            <a:r>
              <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rPr>
              <a:t>HTML 使用标记标签来描述网页</a:t>
            </a:r>
            <a:endPar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endParaRPr>
          </a:p>
        </p:txBody>
      </p:sp>
    </p:spTree>
    <p:custDataLst>
      <p:tags r:id="rId9"/>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13"/>
          <p:cNvSpPr/>
          <p:nvPr/>
        </p:nvSpPr>
        <p:spPr>
          <a:xfrm>
            <a:off x="8869033" y="0"/>
            <a:ext cx="2688299" cy="6858000"/>
          </a:xfrm>
          <a:prstGeom prst="rect">
            <a:avLst/>
          </a:prstGeom>
          <a:gradFill flip="none" rotWithShape="1">
            <a:gsLst>
              <a:gs pos="0">
                <a:srgbClr val="FF4D75">
                  <a:alpha val="60000"/>
                </a:srgbClr>
              </a:gs>
              <a:gs pos="100000">
                <a:srgbClr val="9443E2">
                  <a:alpha val="58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latinLnBrk="1"/>
            <a:r>
              <a:rPr lang="ko-KR" altLang="en-US" sz="2400">
                <a:solidFill>
                  <a:prstClr val="white"/>
                </a:solidFill>
                <a:latin typeface="Arial" panose="020B0604020202020204"/>
                <a:ea typeface="Arial Unicode MS"/>
              </a:rPr>
              <a:t>http://www.bg-painter.com/</a:t>
            </a:r>
            <a:endParaRPr lang="ko-KR" altLang="en-US" sz="2400">
              <a:solidFill>
                <a:prstClr val="white"/>
              </a:solidFill>
              <a:latin typeface="Arial" panose="020B0604020202020204"/>
              <a:ea typeface="Arial Unicode MS"/>
            </a:endParaRPr>
          </a:p>
          <a:p>
            <a:pPr algn="ctr" defTabSz="1218565" latinLnBrk="1"/>
            <a:endParaRPr lang="ko-KR" altLang="en-US" sz="2400">
              <a:solidFill>
                <a:prstClr val="white"/>
              </a:solidFill>
              <a:latin typeface="Arial" panose="020B0604020202020204"/>
              <a:ea typeface="Arial Unicode MS"/>
            </a:endParaRPr>
          </a:p>
          <a:p>
            <a:pPr algn="ctr" defTabSz="1218565" latinLnBrk="1"/>
            <a:r>
              <a:rPr lang="zh-CN" altLang="ko-KR" sz="2400">
                <a:solidFill>
                  <a:prstClr val="white"/>
                </a:solidFill>
                <a:latin typeface="Arial" panose="020B0604020202020204"/>
                <a:ea typeface="宋体" panose="02010600030101010101" pitchFamily="2" charset="-122"/>
              </a:rPr>
              <a:t>背景图片</a:t>
            </a:r>
            <a:endParaRPr lang="zh-CN" altLang="ko-KR" sz="2400">
              <a:solidFill>
                <a:prstClr val="white"/>
              </a:solidFill>
              <a:latin typeface="Arial" panose="020B0604020202020204"/>
              <a:ea typeface="宋体" panose="02010600030101010101" pitchFamily="2" charset="-122"/>
            </a:endParaRPr>
          </a:p>
        </p:txBody>
      </p:sp>
      <p:grpSp>
        <p:nvGrpSpPr>
          <p:cNvPr id="5" name="Group 20"/>
          <p:cNvGrpSpPr/>
          <p:nvPr/>
        </p:nvGrpSpPr>
        <p:grpSpPr>
          <a:xfrm>
            <a:off x="815414" y="922179"/>
            <a:ext cx="3648405" cy="6118199"/>
            <a:chOff x="3687661" y="1203598"/>
            <a:chExt cx="2252491" cy="4588649"/>
          </a:xfrm>
        </p:grpSpPr>
        <p:sp>
          <p:nvSpPr>
            <p:cNvPr id="6" name="TextBox 21"/>
            <p:cNvSpPr txBox="1"/>
            <p:nvPr/>
          </p:nvSpPr>
          <p:spPr>
            <a:xfrm>
              <a:off x="3687661" y="1568862"/>
              <a:ext cx="2252491" cy="4223385"/>
            </a:xfrm>
            <a:prstGeom prst="rect">
              <a:avLst/>
            </a:prstGeom>
            <a:noFill/>
          </p:spPr>
          <p:txBody>
            <a:bodyPr wrap="square" rtlCol="0">
              <a:spAutoFit/>
            </a:bodyPr>
            <a:lstStyle/>
            <a:p>
              <a:pPr lvl="0">
                <a:lnSpc>
                  <a:spcPct val="150000"/>
                </a:lnSpc>
                <a:defRPr/>
              </a:pPr>
              <a:r>
                <a:rPr lang="zh-CN" altLang="en-US" sz="1600" dirty="0">
                  <a:solidFill>
                    <a:prstClr val="black">
                      <a:lumMod val="65000"/>
                      <a:lumOff val="35000"/>
                    </a:prstClr>
                  </a:solidFill>
                  <a:latin typeface="微软雅黑 Light" panose="020B0502040204020203" pitchFamily="34" charset="-122"/>
                  <a:ea typeface="微软雅黑 Light" panose="020B0502040204020203" pitchFamily="34" charset="-122"/>
                  <a:cs typeface="Open Sans" panose="020B0606030504020204" pitchFamily="34" charset="0"/>
                </a:rPr>
                <a:t>盒模型是有两种标准的，一个是标准模型，一个是IE模型。</a:t>
              </a:r>
              <a:endParaRPr lang="zh-CN" altLang="en-US" sz="1600" dirty="0">
                <a:solidFill>
                  <a:prstClr val="black">
                    <a:lumMod val="65000"/>
                    <a:lumOff val="35000"/>
                  </a:prstClr>
                </a:solidFill>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endParaRPr lang="zh-CN" altLang="en-US" sz="1600" dirty="0">
                <a:solidFill>
                  <a:prstClr val="black">
                    <a:lumMod val="65000"/>
                    <a:lumOff val="35000"/>
                  </a:prstClr>
                </a:solidFill>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1600" dirty="0">
                  <a:solidFill>
                    <a:prstClr val="black">
                      <a:lumMod val="65000"/>
                      <a:lumOff val="35000"/>
                    </a:prstClr>
                  </a:solidFill>
                  <a:latin typeface="微软雅黑 Light" panose="020B0502040204020203" pitchFamily="34" charset="-122"/>
                  <a:ea typeface="微软雅黑 Light" panose="020B0502040204020203" pitchFamily="34" charset="-122"/>
                  <a:cs typeface="Open Sans" panose="020B0606030504020204" pitchFamily="34" charset="0"/>
                </a:rPr>
                <a:t>盒模型</a:t>
              </a:r>
              <a:endParaRPr lang="zh-CN" altLang="en-US" sz="1600" dirty="0">
                <a:solidFill>
                  <a:prstClr val="black">
                    <a:lumMod val="65000"/>
                    <a:lumOff val="35000"/>
                  </a:prstClr>
                </a:solidFill>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1600" dirty="0">
                  <a:solidFill>
                    <a:prstClr val="black">
                      <a:lumMod val="65000"/>
                      <a:lumOff val="35000"/>
                    </a:prstClr>
                  </a:solidFill>
                  <a:latin typeface="微软雅黑 Light" panose="020B0502040204020203" pitchFamily="34" charset="-122"/>
                  <a:ea typeface="微软雅黑 Light" panose="020B0502040204020203" pitchFamily="34" charset="-122"/>
                  <a:cs typeface="Open Sans" panose="020B0606030504020204" pitchFamily="34" charset="0"/>
                </a:rPr>
                <a:t>1.w3c标准盒子模型</a:t>
              </a:r>
              <a:endParaRPr lang="zh-CN" altLang="en-US" sz="1600" dirty="0">
                <a:solidFill>
                  <a:prstClr val="black">
                    <a:lumMod val="65000"/>
                    <a:lumOff val="35000"/>
                  </a:prstClr>
                </a:solidFill>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1600" dirty="0">
                  <a:solidFill>
                    <a:prstClr val="black">
                      <a:lumMod val="65000"/>
                      <a:lumOff val="35000"/>
                    </a:prstClr>
                  </a:solidFill>
                  <a:latin typeface="微软雅黑 Light" panose="020B0502040204020203" pitchFamily="34" charset="-122"/>
                  <a:ea typeface="微软雅黑 Light" panose="020B0502040204020203" pitchFamily="34" charset="-122"/>
                  <a:cs typeface="Open Sans" panose="020B0606030504020204" pitchFamily="34" charset="0"/>
                </a:rPr>
                <a:t>最终的宽度=左padding+左边框+width+右边框+右padding</a:t>
              </a:r>
              <a:endParaRPr lang="zh-CN" altLang="en-US" sz="1600" dirty="0">
                <a:solidFill>
                  <a:prstClr val="black">
                    <a:lumMod val="65000"/>
                    <a:lumOff val="35000"/>
                  </a:prstClr>
                </a:solidFill>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1600" dirty="0">
                  <a:solidFill>
                    <a:prstClr val="black">
                      <a:lumMod val="65000"/>
                      <a:lumOff val="35000"/>
                    </a:prstClr>
                  </a:solidFill>
                  <a:latin typeface="微软雅黑 Light" panose="020B0502040204020203" pitchFamily="34" charset="-122"/>
                  <a:ea typeface="微软雅黑 Light" panose="020B0502040204020203" pitchFamily="34" charset="-122"/>
                  <a:cs typeface="Open Sans" panose="020B0606030504020204" pitchFamily="34" charset="0"/>
                </a:rPr>
                <a:t>内容区宽度=width</a:t>
              </a:r>
              <a:endParaRPr lang="zh-CN" altLang="en-US" sz="1600" dirty="0">
                <a:solidFill>
                  <a:prstClr val="black">
                    <a:lumMod val="65000"/>
                    <a:lumOff val="35000"/>
                  </a:prstClr>
                </a:solidFill>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1600" dirty="0">
                  <a:solidFill>
                    <a:prstClr val="black">
                      <a:lumMod val="65000"/>
                      <a:lumOff val="35000"/>
                    </a:prstClr>
                  </a:solidFill>
                  <a:latin typeface="微软雅黑 Light" panose="020B0502040204020203" pitchFamily="34" charset="-122"/>
                  <a:ea typeface="微软雅黑 Light" panose="020B0502040204020203" pitchFamily="34" charset="-122"/>
                  <a:cs typeface="Open Sans" panose="020B0606030504020204" pitchFamily="34" charset="0"/>
                </a:rPr>
                <a:t>2.IE盒子模型</a:t>
              </a:r>
              <a:endParaRPr lang="zh-CN" altLang="en-US" sz="1600" dirty="0">
                <a:solidFill>
                  <a:prstClr val="black">
                    <a:lumMod val="65000"/>
                    <a:lumOff val="35000"/>
                  </a:prstClr>
                </a:solidFill>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1600" dirty="0">
                  <a:solidFill>
                    <a:prstClr val="black">
                      <a:lumMod val="65000"/>
                      <a:lumOff val="35000"/>
                    </a:prstClr>
                  </a:solidFill>
                  <a:latin typeface="微软雅黑 Light" panose="020B0502040204020203" pitchFamily="34" charset="-122"/>
                  <a:ea typeface="微软雅黑 Light" panose="020B0502040204020203" pitchFamily="34" charset="-122"/>
                  <a:cs typeface="Open Sans" panose="020B0606030504020204" pitchFamily="34" charset="0"/>
                </a:rPr>
                <a:t>最终的宽度=width</a:t>
              </a:r>
              <a:endParaRPr lang="zh-CN" altLang="en-US" sz="1600" dirty="0">
                <a:solidFill>
                  <a:prstClr val="black">
                    <a:lumMod val="65000"/>
                    <a:lumOff val="35000"/>
                  </a:prstClr>
                </a:solidFill>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1600" dirty="0">
                  <a:solidFill>
                    <a:prstClr val="black">
                      <a:lumMod val="65000"/>
                      <a:lumOff val="35000"/>
                    </a:prstClr>
                  </a:solidFill>
                  <a:latin typeface="微软雅黑 Light" panose="020B0502040204020203" pitchFamily="34" charset="-122"/>
                  <a:ea typeface="微软雅黑 Light" panose="020B0502040204020203" pitchFamily="34" charset="-122"/>
                  <a:cs typeface="Open Sans" panose="020B0606030504020204" pitchFamily="34" charset="0"/>
                </a:rPr>
                <a:t>内容区域=width-padding左-padding右-border左-border右</a:t>
              </a:r>
              <a:endParaRPr lang="zh-CN" altLang="en-US" sz="1600" dirty="0">
                <a:solidFill>
                  <a:prstClr val="black">
                    <a:lumMod val="65000"/>
                    <a:lumOff val="35000"/>
                  </a:prstClr>
                </a:solidFill>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endParaRPr lang="zh-CN" altLang="en-US" sz="1600" dirty="0">
                <a:solidFill>
                  <a:prstClr val="black">
                    <a:lumMod val="65000"/>
                    <a:lumOff val="35000"/>
                  </a:prstClr>
                </a:solidFill>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endParaRPr lang="zh-CN" altLang="en-US" sz="1600" dirty="0">
                <a:solidFill>
                  <a:prstClr val="black">
                    <a:lumMod val="65000"/>
                    <a:lumOff val="35000"/>
                  </a:prstClr>
                </a:solidFill>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endParaRPr lang="zh-CN" altLang="en-US" sz="1600" dirty="0">
                <a:solidFill>
                  <a:prstClr val="black">
                    <a:lumMod val="65000"/>
                    <a:lumOff val="35000"/>
                  </a:prstClr>
                </a:solidFill>
                <a:latin typeface="微软雅黑 Light" panose="020B0502040204020203" pitchFamily="34" charset="-122"/>
                <a:ea typeface="微软雅黑 Light" panose="020B0502040204020203" pitchFamily="34" charset="-122"/>
                <a:cs typeface="Open Sans" panose="020B0606030504020204" pitchFamily="34" charset="0"/>
              </a:endParaRPr>
            </a:p>
          </p:txBody>
        </p:sp>
        <p:sp>
          <p:nvSpPr>
            <p:cNvPr id="7" name="TextBox 22"/>
            <p:cNvSpPr txBox="1"/>
            <p:nvPr/>
          </p:nvSpPr>
          <p:spPr>
            <a:xfrm>
              <a:off x="3687661" y="1203598"/>
              <a:ext cx="2252491" cy="276225"/>
            </a:xfrm>
            <a:prstGeom prst="rect">
              <a:avLst/>
            </a:prstGeom>
            <a:noFill/>
          </p:spPr>
          <p:txBody>
            <a:bodyPr wrap="square" rtlCol="0">
              <a:spAutoFit/>
            </a:bodyPr>
            <a:lstStyle/>
            <a:p>
              <a:pPr lvl="0" algn="ctr" defTabSz="1218565" latinLnBrk="1"/>
              <a:r>
                <a:rPr lang="zh-CN" altLang="en-US" b="1" kern="300" spc="300" dirty="0">
                  <a:solidFill>
                    <a:prstClr val="black">
                      <a:lumMod val="75000"/>
                      <a:lumOff val="25000"/>
                    </a:prstClr>
                  </a:solidFill>
                  <a:latin typeface="微软雅黑 Light" panose="020B0502040204020203" pitchFamily="34" charset="-122"/>
                  <a:ea typeface="微软雅黑 Light" panose="020B0502040204020203" pitchFamily="34" charset="-122"/>
                  <a:cs typeface="Arial" panose="020B0604020202020204" pitchFamily="34" charset="0"/>
                </a:rPr>
                <a:t>盒模型</a:t>
              </a:r>
              <a:endParaRPr lang="zh-CN" altLang="en-US" b="1" kern="300" spc="300" dirty="0">
                <a:solidFill>
                  <a:prstClr val="black">
                    <a:lumMod val="75000"/>
                    <a:lumOff val="25000"/>
                  </a:prstClr>
                </a:solidFill>
                <a:latin typeface="微软雅黑 Light" panose="020B0502040204020203" pitchFamily="34" charset="-122"/>
                <a:ea typeface="微软雅黑 Light" panose="020B0502040204020203" pitchFamily="34" charset="-122"/>
                <a:cs typeface="Arial" panose="020B0604020202020204" pitchFamily="34" charset="0"/>
              </a:endParaRPr>
            </a:p>
          </p:txBody>
        </p:sp>
      </p:grpSp>
      <p:grpSp>
        <p:nvGrpSpPr>
          <p:cNvPr id="8" name="Group 8"/>
          <p:cNvGrpSpPr/>
          <p:nvPr/>
        </p:nvGrpSpPr>
        <p:grpSpPr>
          <a:xfrm>
            <a:off x="4847862" y="922179"/>
            <a:ext cx="3648405" cy="3533113"/>
            <a:chOff x="3687661" y="1203598"/>
            <a:chExt cx="2252491" cy="2649835"/>
          </a:xfrm>
        </p:grpSpPr>
        <p:sp>
          <p:nvSpPr>
            <p:cNvPr id="9" name="TextBox 9"/>
            <p:cNvSpPr txBox="1"/>
            <p:nvPr/>
          </p:nvSpPr>
          <p:spPr>
            <a:xfrm>
              <a:off x="3687661" y="1568862"/>
              <a:ext cx="2252491" cy="2284571"/>
            </a:xfrm>
            <a:prstGeom prst="rect">
              <a:avLst/>
            </a:prstGeom>
            <a:noFill/>
          </p:spPr>
          <p:txBody>
            <a:bodyPr wrap="square" rtlCol="0">
              <a:spAutoFit/>
            </a:bodyPr>
            <a:lstStyle/>
            <a:p>
              <a:pPr lvl="0">
                <a:lnSpc>
                  <a:spcPct val="150000"/>
                </a:lnSpc>
                <a:defRPr/>
              </a:pPr>
              <a:endParaRPr lang="zh-CN" altLang="en-US" sz="1600" dirty="0">
                <a:solidFill>
                  <a:prstClr val="black">
                    <a:lumMod val="65000"/>
                    <a:lumOff val="35000"/>
                  </a:prstClr>
                </a:solidFill>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1600" dirty="0">
                  <a:solidFill>
                    <a:prstClr val="black">
                      <a:lumMod val="65000"/>
                      <a:lumOff val="35000"/>
                    </a:prstClr>
                  </a:solidFill>
                  <a:latin typeface="微软雅黑 Light" panose="020B0502040204020203" pitchFamily="34" charset="-122"/>
                  <a:ea typeface="微软雅黑 Light" panose="020B0502040204020203" pitchFamily="34" charset="-122"/>
                  <a:cs typeface="Open Sans" panose="020B0606030504020204" pitchFamily="34" charset="0"/>
                  <a:sym typeface="+mn-ea"/>
                </a:rPr>
                <a:t>这里用到了CSS3 的属性 box-sizing</a:t>
              </a:r>
              <a:endParaRPr lang="zh-CN" altLang="en-US" sz="1600" dirty="0">
                <a:solidFill>
                  <a:prstClr val="black">
                    <a:lumMod val="65000"/>
                    <a:lumOff val="35000"/>
                  </a:prstClr>
                </a:solidFill>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endParaRPr lang="zh-CN" altLang="en-US" sz="1600" dirty="0">
                <a:solidFill>
                  <a:prstClr val="black">
                    <a:lumMod val="65000"/>
                    <a:lumOff val="35000"/>
                  </a:prstClr>
                </a:solidFill>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1600" dirty="0">
                  <a:solidFill>
                    <a:prstClr val="black">
                      <a:lumMod val="65000"/>
                      <a:lumOff val="35000"/>
                    </a:prstClr>
                  </a:solidFill>
                  <a:latin typeface="微软雅黑 Light" panose="020B0502040204020203" pitchFamily="34" charset="-122"/>
                  <a:ea typeface="微软雅黑 Light" panose="020B0502040204020203" pitchFamily="34" charset="-122"/>
                  <a:cs typeface="Open Sans" panose="020B0606030504020204" pitchFamily="34" charset="0"/>
                  <a:sym typeface="+mn-ea"/>
                </a:rPr>
                <a:t>/* 标准模型 */</a:t>
              </a:r>
              <a:endParaRPr lang="zh-CN" altLang="en-US" sz="1600" dirty="0">
                <a:solidFill>
                  <a:prstClr val="black">
                    <a:lumMod val="65000"/>
                    <a:lumOff val="35000"/>
                  </a:prstClr>
                </a:solidFill>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1600" dirty="0">
                  <a:solidFill>
                    <a:prstClr val="black">
                      <a:lumMod val="65000"/>
                      <a:lumOff val="35000"/>
                    </a:prstClr>
                  </a:solidFill>
                  <a:latin typeface="微软雅黑 Light" panose="020B0502040204020203" pitchFamily="34" charset="-122"/>
                  <a:ea typeface="微软雅黑 Light" panose="020B0502040204020203" pitchFamily="34" charset="-122"/>
                  <a:cs typeface="Open Sans" panose="020B0606030504020204" pitchFamily="34" charset="0"/>
                  <a:sym typeface="+mn-ea"/>
                </a:rPr>
                <a:t>box-sizing:content-box;</a:t>
              </a:r>
              <a:endParaRPr lang="zh-CN" altLang="en-US" sz="1600" dirty="0">
                <a:solidFill>
                  <a:prstClr val="black">
                    <a:lumMod val="65000"/>
                    <a:lumOff val="35000"/>
                  </a:prstClr>
                </a:solidFill>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endParaRPr lang="zh-CN" altLang="en-US" sz="1600" dirty="0">
                <a:solidFill>
                  <a:prstClr val="black">
                    <a:lumMod val="65000"/>
                    <a:lumOff val="35000"/>
                  </a:prstClr>
                </a:solidFill>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1600" dirty="0">
                  <a:solidFill>
                    <a:prstClr val="black">
                      <a:lumMod val="65000"/>
                      <a:lumOff val="35000"/>
                    </a:prstClr>
                  </a:solidFill>
                  <a:latin typeface="微软雅黑 Light" panose="020B0502040204020203" pitchFamily="34" charset="-122"/>
                  <a:ea typeface="微软雅黑 Light" panose="020B0502040204020203" pitchFamily="34" charset="-122"/>
                  <a:cs typeface="Open Sans" panose="020B0606030504020204" pitchFamily="34" charset="0"/>
                  <a:sym typeface="+mn-ea"/>
                </a:rPr>
                <a:t> /*IE模型*/</a:t>
              </a:r>
              <a:endParaRPr lang="zh-CN" altLang="en-US" sz="1600" dirty="0">
                <a:solidFill>
                  <a:prstClr val="black">
                    <a:lumMod val="65000"/>
                    <a:lumOff val="35000"/>
                  </a:prstClr>
                </a:solidFill>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1600" dirty="0">
                  <a:solidFill>
                    <a:prstClr val="black">
                      <a:lumMod val="65000"/>
                      <a:lumOff val="35000"/>
                    </a:prstClr>
                  </a:solidFill>
                  <a:latin typeface="微软雅黑 Light" panose="020B0502040204020203" pitchFamily="34" charset="-122"/>
                  <a:ea typeface="微软雅黑 Light" panose="020B0502040204020203" pitchFamily="34" charset="-122"/>
                  <a:cs typeface="Open Sans" panose="020B0606030504020204" pitchFamily="34" charset="0"/>
                  <a:sym typeface="+mn-ea"/>
                </a:rPr>
                <a:t>box-sizing:border-box;</a:t>
              </a:r>
              <a:endParaRPr lang="en-US" altLang="zh-CN" sz="1600" dirty="0">
                <a:solidFill>
                  <a:prstClr val="black">
                    <a:lumMod val="65000"/>
                    <a:lumOff val="35000"/>
                  </a:prstClr>
                </a:solidFill>
                <a:latin typeface="微软雅黑 Light" panose="020B0502040204020203" pitchFamily="34" charset="-122"/>
                <a:ea typeface="微软雅黑 Light" panose="020B0502040204020203" pitchFamily="34" charset="-122"/>
                <a:cs typeface="Open Sans" panose="020B0606030504020204" pitchFamily="34" charset="0"/>
              </a:endParaRPr>
            </a:p>
          </p:txBody>
        </p:sp>
        <p:sp>
          <p:nvSpPr>
            <p:cNvPr id="10" name="TextBox 10"/>
            <p:cNvSpPr txBox="1"/>
            <p:nvPr/>
          </p:nvSpPr>
          <p:spPr>
            <a:xfrm>
              <a:off x="3687661" y="1203598"/>
              <a:ext cx="2252491" cy="276225"/>
            </a:xfrm>
            <a:prstGeom prst="rect">
              <a:avLst/>
            </a:prstGeom>
            <a:noFill/>
          </p:spPr>
          <p:txBody>
            <a:bodyPr wrap="square" rtlCol="0">
              <a:spAutoFit/>
            </a:bodyPr>
            <a:lstStyle/>
            <a:p>
              <a:pPr lvl="0" algn="ctr" defTabSz="1218565" latinLnBrk="1"/>
              <a:r>
                <a:rPr lang="zh-CN" altLang="en-US" b="1" kern="300" spc="300" dirty="0">
                  <a:solidFill>
                    <a:prstClr val="black">
                      <a:lumMod val="75000"/>
                      <a:lumOff val="25000"/>
                    </a:prstClr>
                  </a:solidFill>
                  <a:latin typeface="微软雅黑 Light" panose="020B0502040204020203" pitchFamily="34" charset="-122"/>
                  <a:ea typeface="微软雅黑 Light" panose="020B0502040204020203" pitchFamily="34" charset="-122"/>
                  <a:cs typeface="Arial" panose="020B0604020202020204" pitchFamily="34" charset="0"/>
                </a:rPr>
                <a:t>css如何设置两种模型</a:t>
              </a:r>
              <a:endParaRPr lang="zh-CN" altLang="en-US" b="1" kern="300" spc="300" dirty="0">
                <a:solidFill>
                  <a:prstClr val="black">
                    <a:lumMod val="75000"/>
                    <a:lumOff val="25000"/>
                  </a:prstClr>
                </a:solidFill>
                <a:latin typeface="微软雅黑 Light" panose="020B0502040204020203" pitchFamily="34" charset="-122"/>
                <a:ea typeface="微软雅黑 Light" panose="020B0502040204020203" pitchFamily="34" charset="-122"/>
                <a:cs typeface="Arial" panose="020B0604020202020204" pitchFamily="34" charset="0"/>
              </a:endParaRPr>
            </a:p>
          </p:txBody>
        </p:sp>
      </p:gr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22" presetClass="entr" presetSubtype="1"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ipe(up)">
                                      <p:cBhvr>
                                        <p:cTn id="12" dur="500"/>
                                        <p:tgtEl>
                                          <p:spTgt spid="3"/>
                                        </p:tgtEl>
                                      </p:cBhvr>
                                    </p:animEffect>
                                  </p:childTnLst>
                                </p:cTn>
                              </p:par>
                            </p:childTnLst>
                          </p:cTn>
                        </p:par>
                        <p:par>
                          <p:cTn id="13" fill="hold">
                            <p:stCondLst>
                              <p:cond delay="1000"/>
                            </p:stCondLst>
                            <p:childTnLst>
                              <p:par>
                                <p:cTn id="14" presetID="42" presetClass="entr" presetSubtype="0" fill="hold" nodeType="after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1000"/>
                                        <p:tgtEl>
                                          <p:spTgt spid="8"/>
                                        </p:tgtEl>
                                      </p:cBhvr>
                                    </p:animEffect>
                                    <p:anim calcmode="lin" valueType="num">
                                      <p:cBhvr>
                                        <p:cTn id="17" dur="1000" fill="hold"/>
                                        <p:tgtEl>
                                          <p:spTgt spid="8"/>
                                        </p:tgtEl>
                                        <p:attrNameLst>
                                          <p:attrName>ppt_x</p:attrName>
                                        </p:attrNameLst>
                                      </p:cBhvr>
                                      <p:tavLst>
                                        <p:tav tm="0">
                                          <p:val>
                                            <p:strVal val="#ppt_x"/>
                                          </p:val>
                                        </p:tav>
                                        <p:tav tm="100000">
                                          <p:val>
                                            <p:strVal val="#ppt_x"/>
                                          </p:val>
                                        </p:tav>
                                      </p:tavLst>
                                    </p:anim>
                                    <p:anim calcmode="lin" valueType="num">
                                      <p:cBhvr>
                                        <p:cTn id="18"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537335" y="3714115"/>
            <a:ext cx="10019665" cy="1957044"/>
            <a:chOff x="1043608" y="1682322"/>
            <a:chExt cx="4410961" cy="1384261"/>
          </a:xfrm>
        </p:grpSpPr>
        <p:sp>
          <p:nvSpPr>
            <p:cNvPr id="3" name="矩形 1"/>
            <p:cNvSpPr>
              <a:spLocks noChangeArrowheads="1"/>
            </p:cNvSpPr>
            <p:nvPr/>
          </p:nvSpPr>
          <p:spPr bwMode="auto">
            <a:xfrm>
              <a:off x="1043608" y="1682322"/>
              <a:ext cx="4207451" cy="75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lvl="0">
                <a:lnSpc>
                  <a:spcPct val="150000"/>
                </a:lnSpc>
                <a:defRPr/>
              </a:pPr>
              <a:r>
                <a:rPr lang="zh-CN" altLang="en-US"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sym typeface="+mn-ea"/>
                </a:rPr>
                <a:t>从上面两图不难看出在标准模型中，盒模型的宽高只是内容（content）的宽高，</a:t>
              </a:r>
              <a:endParaRPr lang="zh-CN" altLang="en-US" sz="1200" dirty="0">
                <a:solidFill>
                  <a:prstClr val="black">
                    <a:lumMod val="65000"/>
                    <a:lumOff val="35000"/>
                  </a:prstClr>
                </a:solidFill>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endParaRPr lang="zh-CN" altLang="en-US" sz="1200" dirty="0">
                <a:solidFill>
                  <a:prstClr val="black">
                    <a:lumMod val="65000"/>
                    <a:lumOff val="35000"/>
                  </a:prstClr>
                </a:solidFill>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endParaRPr lang="en-US" altLang="zh-CN" sz="1200" dirty="0">
                <a:solidFill>
                  <a:schemeClr val="bg1">
                    <a:lumMod val="50000"/>
                  </a:schemeClr>
                </a:solidFill>
                <a:latin typeface="微软雅黑 Light" panose="020B0502040204020203" pitchFamily="34" charset="-122"/>
                <a:ea typeface="微软雅黑 Light" panose="020B0502040204020203" pitchFamily="34" charset="-122"/>
                <a:cs typeface="Open Sans" panose="020B0606030504020204" pitchFamily="34" charset="0"/>
              </a:endParaRPr>
            </a:p>
          </p:txBody>
        </p:sp>
        <p:sp>
          <p:nvSpPr>
            <p:cNvPr id="4" name="矩形 1"/>
            <p:cNvSpPr>
              <a:spLocks noChangeArrowheads="1"/>
            </p:cNvSpPr>
            <p:nvPr/>
          </p:nvSpPr>
          <p:spPr bwMode="auto">
            <a:xfrm>
              <a:off x="1043608" y="2414417"/>
              <a:ext cx="3528392" cy="652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50000"/>
                </a:lnSpc>
                <a:defRPr/>
              </a:pPr>
              <a:r>
                <a:rPr lang="zh-CN" altLang="en-US"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而在IE模型中盒模型的宽高是内容(content)+填充(padding)+边框(border)的总宽高。</a:t>
              </a:r>
              <a:endParaRPr lang="zh-CN" altLang="en-US"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p:txBody>
        </p:sp>
        <p:cxnSp>
          <p:nvCxnSpPr>
            <p:cNvPr id="7" name="直接连接符 6"/>
            <p:cNvCxnSpPr/>
            <p:nvPr/>
          </p:nvCxnSpPr>
          <p:spPr>
            <a:xfrm flipH="1">
              <a:off x="4662482" y="1897626"/>
              <a:ext cx="792087" cy="0"/>
            </a:xfrm>
            <a:prstGeom prst="line">
              <a:avLst/>
            </a:prstGeom>
            <a:ln w="6350">
              <a:solidFill>
                <a:schemeClr val="bg1">
                  <a:lumMod val="75000"/>
                </a:schemeClr>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8" name="直接连接符 7"/>
            <p:cNvCxnSpPr/>
            <p:nvPr/>
          </p:nvCxnSpPr>
          <p:spPr>
            <a:xfrm flipH="1">
              <a:off x="4662482" y="2624638"/>
              <a:ext cx="792087" cy="0"/>
            </a:xfrm>
            <a:prstGeom prst="line">
              <a:avLst/>
            </a:prstGeom>
            <a:ln w="6350">
              <a:solidFill>
                <a:schemeClr val="bg1">
                  <a:lumMod val="75000"/>
                </a:schemeClr>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pic>
        <p:nvPicPr>
          <p:cNvPr id="18" name="图片 17"/>
          <p:cNvPicPr>
            <a:picLocks noChangeAspect="1"/>
          </p:cNvPicPr>
          <p:nvPr/>
        </p:nvPicPr>
        <p:blipFill>
          <a:blip r:embed="rId1"/>
          <a:stretch>
            <a:fillRect/>
          </a:stretch>
        </p:blipFill>
        <p:spPr>
          <a:xfrm>
            <a:off x="915035" y="594995"/>
            <a:ext cx="4672330" cy="3119755"/>
          </a:xfrm>
          <a:prstGeom prst="rect">
            <a:avLst/>
          </a:prstGeom>
        </p:spPr>
      </p:pic>
      <p:pic>
        <p:nvPicPr>
          <p:cNvPr id="19" name="图片 18"/>
          <p:cNvPicPr>
            <a:picLocks noChangeAspect="1"/>
          </p:cNvPicPr>
          <p:nvPr/>
        </p:nvPicPr>
        <p:blipFill>
          <a:blip r:embed="rId2"/>
          <a:stretch>
            <a:fillRect/>
          </a:stretch>
        </p:blipFill>
        <p:spPr>
          <a:xfrm>
            <a:off x="5730240" y="730885"/>
            <a:ext cx="4636135" cy="2983865"/>
          </a:xfrm>
          <a:prstGeom prst="rect">
            <a:avLst/>
          </a:prstGeom>
        </p:spPr>
      </p:pic>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anim calcmode="lin" valueType="num">
                                      <p:cBhvr>
                                        <p:cTn id="8" dur="750" fill="hold"/>
                                        <p:tgtEl>
                                          <p:spTgt spid="2"/>
                                        </p:tgtEl>
                                        <p:attrNameLst>
                                          <p:attrName>ppt_x</p:attrName>
                                        </p:attrNameLst>
                                      </p:cBhvr>
                                      <p:tavLst>
                                        <p:tav tm="0">
                                          <p:val>
                                            <p:strVal val="#ppt_x"/>
                                          </p:val>
                                        </p:tav>
                                        <p:tav tm="100000">
                                          <p:val>
                                            <p:strVal val="#ppt_x"/>
                                          </p:val>
                                        </p:tav>
                                      </p:tavLst>
                                    </p:anim>
                                    <p:anim calcmode="lin" valueType="num">
                                      <p:cBhvr>
                                        <p:cTn id="9" dur="75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0" name="矩形 29"/>
          <p:cNvSpPr/>
          <p:nvPr>
            <p:custDataLst>
              <p:tags r:id="rId1"/>
            </p:custDataLst>
          </p:nvPr>
        </p:nvSpPr>
        <p:spPr>
          <a:xfrm>
            <a:off x="1524000" y="857250"/>
            <a:ext cx="9144000" cy="5143500"/>
          </a:xfrm>
          <a:prstGeom prst="rect">
            <a:avLst/>
          </a:prstGeom>
          <a:pattFill prst="ltUpDiag">
            <a:fgClr>
              <a:schemeClr val="bg1">
                <a:lumMod val="8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algn="ctr" fontAlgn="base"/>
            <a:endParaRPr lang="zh-CN" altLang="en-US" sz="1350" strike="noStrike" noProof="1" dirty="0"/>
          </a:p>
        </p:txBody>
      </p:sp>
      <p:sp>
        <p:nvSpPr>
          <p:cNvPr id="52" name="等腰三角形 51"/>
          <p:cNvSpPr/>
          <p:nvPr>
            <p:custDataLst>
              <p:tags r:id="rId2"/>
            </p:custDataLst>
          </p:nvPr>
        </p:nvSpPr>
        <p:spPr>
          <a:xfrm rot="18491121">
            <a:off x="3740944" y="1270794"/>
            <a:ext cx="339725" cy="293688"/>
          </a:xfrm>
          <a:prstGeom prst="triangle">
            <a:avLst/>
          </a:prstGeom>
          <a:solidFill>
            <a:schemeClr val="tx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mn-ea"/>
            </a:endParaRPr>
          </a:p>
        </p:txBody>
      </p:sp>
      <p:sp>
        <p:nvSpPr>
          <p:cNvPr id="44" name="任意多边形: 形状 43"/>
          <p:cNvSpPr/>
          <p:nvPr>
            <p:custDataLst>
              <p:tags r:id="rId3"/>
            </p:custDataLst>
          </p:nvPr>
        </p:nvSpPr>
        <p:spPr>
          <a:xfrm>
            <a:off x="1524000" y="857250"/>
            <a:ext cx="2233613" cy="1981200"/>
          </a:xfrm>
          <a:custGeom>
            <a:avLst/>
            <a:gdLst>
              <a:gd name="connsiteX0" fmla="*/ 1850739 w 2977092"/>
              <a:gd name="connsiteY0" fmla="*/ 0 h 2641354"/>
              <a:gd name="connsiteX1" fmla="*/ 2976103 w 2977092"/>
              <a:gd name="connsiteY1" fmla="*/ 0 h 2641354"/>
              <a:gd name="connsiteX2" fmla="*/ 2977092 w 2977092"/>
              <a:gd name="connsiteY2" fmla="*/ 19598 h 2641354"/>
              <a:gd name="connsiteX3" fmla="*/ 355336 w 2977092"/>
              <a:gd name="connsiteY3" fmla="*/ 2641354 h 2641354"/>
              <a:gd name="connsiteX4" fmla="*/ 87277 w 2977092"/>
              <a:gd name="connsiteY4" fmla="*/ 2627818 h 2641354"/>
              <a:gd name="connsiteX5" fmla="*/ 0 w 2977092"/>
              <a:gd name="connsiteY5" fmla="*/ 2614498 h 2641354"/>
              <a:gd name="connsiteX6" fmla="*/ 0 w 2977092"/>
              <a:gd name="connsiteY6" fmla="*/ 1471767 h 2641354"/>
              <a:gd name="connsiteX7" fmla="*/ 53761 w 2977092"/>
              <a:gd name="connsiteY7" fmla="*/ 1485590 h 2641354"/>
              <a:gd name="connsiteX8" fmla="*/ 355336 w 2977092"/>
              <a:gd name="connsiteY8" fmla="*/ 1515991 h 2641354"/>
              <a:gd name="connsiteX9" fmla="*/ 1851729 w 2977092"/>
              <a:gd name="connsiteY9" fmla="*/ 19598 h 264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7092" h="2641354">
                <a:moveTo>
                  <a:pt x="1850739" y="0"/>
                </a:moveTo>
                <a:lnTo>
                  <a:pt x="2976103" y="0"/>
                </a:lnTo>
                <a:lnTo>
                  <a:pt x="2977092" y="19598"/>
                </a:lnTo>
                <a:cubicBezTo>
                  <a:pt x="2977092" y="1467554"/>
                  <a:pt x="1803292" y="2641354"/>
                  <a:pt x="355336" y="2641354"/>
                </a:cubicBezTo>
                <a:cubicBezTo>
                  <a:pt x="264839" y="2641354"/>
                  <a:pt x="175412" y="2636769"/>
                  <a:pt x="87277" y="2627818"/>
                </a:cubicBezTo>
                <a:lnTo>
                  <a:pt x="0" y="2614498"/>
                </a:lnTo>
                <a:lnTo>
                  <a:pt x="0" y="1471767"/>
                </a:lnTo>
                <a:lnTo>
                  <a:pt x="53761" y="1485590"/>
                </a:lnTo>
                <a:cubicBezTo>
                  <a:pt x="151172" y="1505523"/>
                  <a:pt x="252032" y="1515991"/>
                  <a:pt x="355336" y="1515991"/>
                </a:cubicBezTo>
                <a:cubicBezTo>
                  <a:pt x="1181771" y="1515991"/>
                  <a:pt x="1851729" y="846033"/>
                  <a:pt x="1851729" y="1959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mn-ea"/>
            </a:endParaRPr>
          </a:p>
        </p:txBody>
      </p:sp>
      <p:sp>
        <p:nvSpPr>
          <p:cNvPr id="39" name="任意多边形: 形状 38"/>
          <p:cNvSpPr/>
          <p:nvPr>
            <p:custDataLst>
              <p:tags r:id="rId4"/>
            </p:custDataLst>
          </p:nvPr>
        </p:nvSpPr>
        <p:spPr>
          <a:xfrm>
            <a:off x="9113838" y="4165600"/>
            <a:ext cx="1554163" cy="1835150"/>
          </a:xfrm>
          <a:custGeom>
            <a:avLst/>
            <a:gdLst>
              <a:gd name="connsiteX0" fmla="*/ 2057367 w 2073263"/>
              <a:gd name="connsiteY0" fmla="*/ 0 h 2445954"/>
              <a:gd name="connsiteX1" fmla="*/ 2073263 w 2073263"/>
              <a:gd name="connsiteY1" fmla="*/ 803 h 2445954"/>
              <a:gd name="connsiteX2" fmla="*/ 2073263 w 2073263"/>
              <a:gd name="connsiteY2" fmla="*/ 973979 h 2445954"/>
              <a:gd name="connsiteX3" fmla="*/ 2057367 w 2073263"/>
              <a:gd name="connsiteY3" fmla="*/ 973176 h 2445954"/>
              <a:gd name="connsiteX4" fmla="*/ 973176 w 2073263"/>
              <a:gd name="connsiteY4" fmla="*/ 2057367 h 2445954"/>
              <a:gd name="connsiteX5" fmla="*/ 995203 w 2073263"/>
              <a:gd name="connsiteY5" fmla="*/ 2275870 h 2445954"/>
              <a:gd name="connsiteX6" fmla="*/ 1048000 w 2073263"/>
              <a:gd name="connsiteY6" fmla="*/ 2445954 h 2445954"/>
              <a:gd name="connsiteX7" fmla="*/ 39173 w 2073263"/>
              <a:gd name="connsiteY7" fmla="*/ 2445954 h 2445954"/>
              <a:gd name="connsiteX8" fmla="*/ 0 w 2073263"/>
              <a:gd name="connsiteY8" fmla="*/ 2057367 h 2445954"/>
              <a:gd name="connsiteX9" fmla="*/ 2057367 w 2073263"/>
              <a:gd name="connsiteY9" fmla="*/ 0 h 2445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73263" h="2445954">
                <a:moveTo>
                  <a:pt x="2057367" y="0"/>
                </a:moveTo>
                <a:lnTo>
                  <a:pt x="2073263" y="803"/>
                </a:lnTo>
                <a:lnTo>
                  <a:pt x="2073263" y="973979"/>
                </a:lnTo>
                <a:lnTo>
                  <a:pt x="2057367" y="973176"/>
                </a:lnTo>
                <a:cubicBezTo>
                  <a:pt x="1458585" y="973176"/>
                  <a:pt x="973176" y="1458585"/>
                  <a:pt x="973176" y="2057367"/>
                </a:cubicBezTo>
                <a:cubicBezTo>
                  <a:pt x="973176" y="2132215"/>
                  <a:pt x="980760" y="2205291"/>
                  <a:pt x="995203" y="2275870"/>
                </a:cubicBezTo>
                <a:lnTo>
                  <a:pt x="1048000" y="2445954"/>
                </a:lnTo>
                <a:lnTo>
                  <a:pt x="39173" y="2445954"/>
                </a:lnTo>
                <a:lnTo>
                  <a:pt x="0" y="2057367"/>
                </a:lnTo>
                <a:cubicBezTo>
                  <a:pt x="0" y="921116"/>
                  <a:pt x="921115" y="0"/>
                  <a:pt x="205736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endParaRPr kumimoji="1" lang="zh-CN" altLang="en-US" sz="1200" b="1" strike="noStrike" noProof="1" dirty="0">
              <a:solidFill>
                <a:schemeClr val="bg1"/>
              </a:solidFill>
              <a:latin typeface="+mn-ea"/>
            </a:endParaRPr>
          </a:p>
        </p:txBody>
      </p:sp>
      <p:sp>
        <p:nvSpPr>
          <p:cNvPr id="47" name="椭圆 46"/>
          <p:cNvSpPr/>
          <p:nvPr>
            <p:custDataLst>
              <p:tags r:id="rId5"/>
            </p:custDataLst>
          </p:nvPr>
        </p:nvSpPr>
        <p:spPr>
          <a:xfrm>
            <a:off x="8964613" y="3676650"/>
            <a:ext cx="1136650" cy="1135063"/>
          </a:xfrm>
          <a:prstGeom prst="ellipse">
            <a:avLst/>
          </a:prstGeom>
          <a:solidFill>
            <a:schemeClr val="tx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mn-ea"/>
            </a:endParaRPr>
          </a:p>
        </p:txBody>
      </p:sp>
      <p:sp>
        <p:nvSpPr>
          <p:cNvPr id="37" name="任意多边形: 形状 36"/>
          <p:cNvSpPr/>
          <p:nvPr>
            <p:custDataLst>
              <p:tags r:id="rId6"/>
            </p:custDataLst>
          </p:nvPr>
        </p:nvSpPr>
        <p:spPr>
          <a:xfrm>
            <a:off x="3052763" y="1647825"/>
            <a:ext cx="6334125" cy="3932238"/>
          </a:xfrm>
          <a:custGeom>
            <a:avLst/>
            <a:gdLst>
              <a:gd name="connsiteX0" fmla="*/ 0 w 8445500"/>
              <a:gd name="connsiteY0" fmla="*/ 0 h 5243512"/>
              <a:gd name="connsiteX1" fmla="*/ 8445500 w 8445500"/>
              <a:gd name="connsiteY1" fmla="*/ 0 h 5243512"/>
              <a:gd name="connsiteX2" fmla="*/ 8445500 w 8445500"/>
              <a:gd name="connsiteY2" fmla="*/ 4705350 h 5243512"/>
              <a:gd name="connsiteX3" fmla="*/ 1382307 w 8445500"/>
              <a:gd name="connsiteY3" fmla="*/ 4705350 h 5243512"/>
              <a:gd name="connsiteX4" fmla="*/ 844145 w 8445500"/>
              <a:gd name="connsiteY4" fmla="*/ 5243512 h 5243512"/>
              <a:gd name="connsiteX5" fmla="*/ 305983 w 8445500"/>
              <a:gd name="connsiteY5" fmla="*/ 4705350 h 5243512"/>
              <a:gd name="connsiteX6" fmla="*/ 301246 w 8445500"/>
              <a:gd name="connsiteY6" fmla="*/ 4705350 h 5243512"/>
              <a:gd name="connsiteX7" fmla="*/ 0 w 8445500"/>
              <a:gd name="connsiteY7" fmla="*/ 4404104 h 524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45500" h="5243512">
                <a:moveTo>
                  <a:pt x="0" y="0"/>
                </a:moveTo>
                <a:lnTo>
                  <a:pt x="8445500" y="0"/>
                </a:lnTo>
                <a:lnTo>
                  <a:pt x="8445500" y="4705350"/>
                </a:lnTo>
                <a:lnTo>
                  <a:pt x="1382307" y="4705350"/>
                </a:lnTo>
                <a:lnTo>
                  <a:pt x="844145" y="5243512"/>
                </a:lnTo>
                <a:lnTo>
                  <a:pt x="305983" y="4705350"/>
                </a:lnTo>
                <a:lnTo>
                  <a:pt x="301246" y="4705350"/>
                </a:lnTo>
                <a:lnTo>
                  <a:pt x="0" y="4404104"/>
                </a:lnTo>
                <a:close/>
              </a:path>
            </a:pathLst>
          </a:custGeom>
          <a:solidFill>
            <a:schemeClr val="accent3">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mn-ea"/>
            </a:endParaRPr>
          </a:p>
        </p:txBody>
      </p:sp>
      <p:sp>
        <p:nvSpPr>
          <p:cNvPr id="36" name="任意多边形: 形状 35"/>
          <p:cNvSpPr/>
          <p:nvPr>
            <p:custDataLst>
              <p:tags r:id="rId7"/>
            </p:custDataLst>
          </p:nvPr>
        </p:nvSpPr>
        <p:spPr>
          <a:xfrm>
            <a:off x="2928303" y="1534478"/>
            <a:ext cx="6334125" cy="3933825"/>
          </a:xfrm>
          <a:custGeom>
            <a:avLst/>
            <a:gdLst>
              <a:gd name="connsiteX0" fmla="*/ 0 w 8445500"/>
              <a:gd name="connsiteY0" fmla="*/ 0 h 5243512"/>
              <a:gd name="connsiteX1" fmla="*/ 8445500 w 8445500"/>
              <a:gd name="connsiteY1" fmla="*/ 0 h 5243512"/>
              <a:gd name="connsiteX2" fmla="*/ 8445500 w 8445500"/>
              <a:gd name="connsiteY2" fmla="*/ 4705350 h 5243512"/>
              <a:gd name="connsiteX3" fmla="*/ 1382307 w 8445500"/>
              <a:gd name="connsiteY3" fmla="*/ 4705350 h 5243512"/>
              <a:gd name="connsiteX4" fmla="*/ 844145 w 8445500"/>
              <a:gd name="connsiteY4" fmla="*/ 5243512 h 5243512"/>
              <a:gd name="connsiteX5" fmla="*/ 305983 w 8445500"/>
              <a:gd name="connsiteY5" fmla="*/ 4705350 h 5243512"/>
              <a:gd name="connsiteX6" fmla="*/ 301246 w 8445500"/>
              <a:gd name="connsiteY6" fmla="*/ 4705350 h 5243512"/>
              <a:gd name="connsiteX7" fmla="*/ 0 w 8445500"/>
              <a:gd name="connsiteY7" fmla="*/ 4404104 h 524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45500" h="5243512">
                <a:moveTo>
                  <a:pt x="0" y="0"/>
                </a:moveTo>
                <a:lnTo>
                  <a:pt x="8445500" y="0"/>
                </a:lnTo>
                <a:lnTo>
                  <a:pt x="8445500" y="4705350"/>
                </a:lnTo>
                <a:lnTo>
                  <a:pt x="1382307" y="4705350"/>
                </a:lnTo>
                <a:lnTo>
                  <a:pt x="844145" y="5243512"/>
                </a:lnTo>
                <a:lnTo>
                  <a:pt x="305983" y="4705350"/>
                </a:lnTo>
                <a:lnTo>
                  <a:pt x="301246" y="4705350"/>
                </a:lnTo>
                <a:lnTo>
                  <a:pt x="0" y="4404104"/>
                </a:lnTo>
                <a:close/>
              </a:path>
            </a:pathLst>
          </a:cu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mn-ea"/>
            </a:endParaRPr>
          </a:p>
        </p:txBody>
      </p:sp>
      <p:sp>
        <p:nvSpPr>
          <p:cNvPr id="28" name="任意多边形: 形状 27"/>
          <p:cNvSpPr/>
          <p:nvPr>
            <p:custDataLst>
              <p:tags r:id="rId8"/>
            </p:custDataLst>
          </p:nvPr>
        </p:nvSpPr>
        <p:spPr>
          <a:xfrm rot="10800000">
            <a:off x="8609013" y="1379538"/>
            <a:ext cx="346075" cy="422275"/>
          </a:xfrm>
          <a:custGeom>
            <a:avLst/>
            <a:gdLst>
              <a:gd name="connsiteX0" fmla="*/ 174788 w 340237"/>
              <a:gd name="connsiteY0" fmla="*/ 0 h 415819"/>
              <a:gd name="connsiteX1" fmla="*/ 340237 w 340237"/>
              <a:gd name="connsiteY1" fmla="*/ 0 h 415819"/>
              <a:gd name="connsiteX2" fmla="*/ 241322 w 340237"/>
              <a:gd name="connsiteY2" fmla="*/ 415819 h 415819"/>
              <a:gd name="connsiteX3" fmla="*/ 0 w 340237"/>
              <a:gd name="connsiteY3" fmla="*/ 415819 h 415819"/>
            </a:gdLst>
            <a:ahLst/>
            <a:cxnLst>
              <a:cxn ang="0">
                <a:pos x="connsiteX0" y="connsiteY0"/>
              </a:cxn>
              <a:cxn ang="0">
                <a:pos x="connsiteX1" y="connsiteY1"/>
              </a:cxn>
              <a:cxn ang="0">
                <a:pos x="connsiteX2" y="connsiteY2"/>
              </a:cxn>
              <a:cxn ang="0">
                <a:pos x="connsiteX3" y="connsiteY3"/>
              </a:cxn>
            </a:cxnLst>
            <a:rect l="l" t="t" r="r" b="b"/>
            <a:pathLst>
              <a:path w="340237" h="415819">
                <a:moveTo>
                  <a:pt x="174788" y="0"/>
                </a:moveTo>
                <a:lnTo>
                  <a:pt x="340237" y="0"/>
                </a:lnTo>
                <a:lnTo>
                  <a:pt x="241322" y="415819"/>
                </a:lnTo>
                <a:lnTo>
                  <a:pt x="0" y="415819"/>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endParaRPr lang="zh-CN" altLang="en-US" sz="1350" strike="noStrike" noProof="1"/>
          </a:p>
        </p:txBody>
      </p:sp>
      <p:sp>
        <p:nvSpPr>
          <p:cNvPr id="29" name="任意多边形: 形状 28"/>
          <p:cNvSpPr/>
          <p:nvPr>
            <p:custDataLst>
              <p:tags r:id="rId9"/>
            </p:custDataLst>
          </p:nvPr>
        </p:nvSpPr>
        <p:spPr>
          <a:xfrm rot="10800000">
            <a:off x="8223250" y="1379538"/>
            <a:ext cx="346075" cy="422275"/>
          </a:xfrm>
          <a:custGeom>
            <a:avLst/>
            <a:gdLst>
              <a:gd name="connsiteX0" fmla="*/ 174788 w 340237"/>
              <a:gd name="connsiteY0" fmla="*/ 0 h 415819"/>
              <a:gd name="connsiteX1" fmla="*/ 340237 w 340237"/>
              <a:gd name="connsiteY1" fmla="*/ 0 h 415819"/>
              <a:gd name="connsiteX2" fmla="*/ 241322 w 340237"/>
              <a:gd name="connsiteY2" fmla="*/ 415819 h 415819"/>
              <a:gd name="connsiteX3" fmla="*/ 0 w 340237"/>
              <a:gd name="connsiteY3" fmla="*/ 415819 h 415819"/>
            </a:gdLst>
            <a:ahLst/>
            <a:cxnLst>
              <a:cxn ang="0">
                <a:pos x="connsiteX0" y="connsiteY0"/>
              </a:cxn>
              <a:cxn ang="0">
                <a:pos x="connsiteX1" y="connsiteY1"/>
              </a:cxn>
              <a:cxn ang="0">
                <a:pos x="connsiteX2" y="connsiteY2"/>
              </a:cxn>
              <a:cxn ang="0">
                <a:pos x="connsiteX3" y="connsiteY3"/>
              </a:cxn>
            </a:cxnLst>
            <a:rect l="l" t="t" r="r" b="b"/>
            <a:pathLst>
              <a:path w="340237" h="415819">
                <a:moveTo>
                  <a:pt x="174788" y="0"/>
                </a:moveTo>
                <a:lnTo>
                  <a:pt x="340237" y="0"/>
                </a:lnTo>
                <a:lnTo>
                  <a:pt x="241322" y="415819"/>
                </a:lnTo>
                <a:lnTo>
                  <a:pt x="0" y="415819"/>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endParaRPr lang="zh-CN" altLang="en-US" sz="1350" strike="noStrike" noProof="1"/>
          </a:p>
        </p:txBody>
      </p:sp>
      <p:sp>
        <p:nvSpPr>
          <p:cNvPr id="5" name="文本框 4"/>
          <p:cNvSpPr txBox="1"/>
          <p:nvPr>
            <p:custDataLst>
              <p:tags r:id="rId10"/>
            </p:custDataLst>
          </p:nvPr>
        </p:nvSpPr>
        <p:spPr>
          <a:xfrm>
            <a:off x="2979420" y="1534795"/>
            <a:ext cx="6407785" cy="4118610"/>
          </a:xfrm>
          <a:prstGeom prst="rect">
            <a:avLst/>
          </a:prstGeom>
          <a:noFill/>
        </p:spPr>
        <p:txBody>
          <a:bodyPr wrap="square" lIns="76200" tIns="0" rIns="61912" bIns="0" rtlCol="0">
            <a:noAutofit/>
          </a:bodyPr>
          <a:lstStyle>
            <a:defPPr>
              <a:defRPr lang="zh-CN"/>
            </a:defPPr>
            <a:lvl1pPr fontAlgn="auto">
              <a:lnSpc>
                <a:spcPct val="130000"/>
              </a:lnSpc>
              <a:spcAft>
                <a:spcPts val="1000"/>
              </a:spcAft>
              <a:defRPr sz="1600" spc="150"/>
            </a:lvl1pPr>
          </a:lstStyle>
          <a:p>
            <a:pPr indent="0" fontAlgn="ctr">
              <a:spcBef>
                <a:spcPts val="1000"/>
              </a:spcBef>
              <a:spcAft>
                <a:spcPts val="0"/>
              </a:spcAft>
              <a:buClr>
                <a:schemeClr val="tx2">
                  <a:lumMod val="75000"/>
                </a:schemeClr>
              </a:buClr>
              <a:buSzPct val="130000"/>
              <a:buFont typeface="WPS-Bullets" pitchFamily="2" charset="0"/>
              <a:buNone/>
            </a:pPr>
            <a:r>
              <a:rPr lang="en-US" altLang="zh-CN"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1. 设置 Meta 标签</a:t>
            </a:r>
            <a:endParaRPr lang="en-US" altLang="zh-CN"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大多数移动浏览器将HTML页面放大为宽的视图（viewport）以符合屏幕分辨率。你可以使用视图的meta标签来进行重置。下面的视图标签告诉浏览器，使用设备的宽度作为视图宽度并禁止初始的缩放。在&lt;head&gt;标签里加入这个meta标签。</a:t>
            </a:r>
            <a:endParaRPr lang="en-US" altLang="zh-CN"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lt;meta name="viewport" content="width=device-width, initial-scale=1, maximum-scale=1, user-scalable=no"&gt;</a:t>
            </a:r>
            <a:endParaRPr lang="en-US" altLang="zh-CN"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user-scalable = no 属性能够解决 iPad 切换横屏之后触摸才能回到具体尺寸的问题。 ）</a:t>
            </a:r>
            <a:endParaRPr lang="en-US" altLang="zh-CN"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p:txBody>
      </p:sp>
      <p:sp>
        <p:nvSpPr>
          <p:cNvPr id="45" name="椭圆 44"/>
          <p:cNvSpPr/>
          <p:nvPr>
            <p:custDataLst>
              <p:tags r:id="rId11"/>
            </p:custDataLst>
          </p:nvPr>
        </p:nvSpPr>
        <p:spPr>
          <a:xfrm>
            <a:off x="2046288" y="2635250"/>
            <a:ext cx="501650" cy="501650"/>
          </a:xfrm>
          <a:prstGeom prst="ellipse">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mn-ea"/>
            </a:endParaRPr>
          </a:p>
        </p:txBody>
      </p:sp>
      <p:sp>
        <p:nvSpPr>
          <p:cNvPr id="46" name="椭圆 45"/>
          <p:cNvSpPr/>
          <p:nvPr>
            <p:custDataLst>
              <p:tags r:id="rId12"/>
            </p:custDataLst>
          </p:nvPr>
        </p:nvSpPr>
        <p:spPr>
          <a:xfrm>
            <a:off x="1881188" y="3281363"/>
            <a:ext cx="147638" cy="147638"/>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mn-ea"/>
            </a:endParaRPr>
          </a:p>
        </p:txBody>
      </p:sp>
      <p:sp>
        <p:nvSpPr>
          <p:cNvPr id="48" name="椭圆 47"/>
          <p:cNvSpPr/>
          <p:nvPr>
            <p:custDataLst>
              <p:tags r:id="rId13"/>
            </p:custDataLst>
          </p:nvPr>
        </p:nvSpPr>
        <p:spPr>
          <a:xfrm>
            <a:off x="9686925" y="3303588"/>
            <a:ext cx="249238" cy="250825"/>
          </a:xfrm>
          <a:prstGeom prst="ellipse">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mn-ea"/>
            </a:endParaRPr>
          </a:p>
        </p:txBody>
      </p:sp>
      <p:sp>
        <p:nvSpPr>
          <p:cNvPr id="50" name="等腰三角形 49"/>
          <p:cNvSpPr/>
          <p:nvPr>
            <p:custDataLst>
              <p:tags r:id="rId14"/>
            </p:custDataLst>
          </p:nvPr>
        </p:nvSpPr>
        <p:spPr>
          <a:xfrm rot="19271054">
            <a:off x="10299700" y="2560638"/>
            <a:ext cx="122238" cy="104775"/>
          </a:xfrm>
          <a:prstGeom prst="triangle">
            <a:avLst/>
          </a:prstGeom>
          <a:solidFill>
            <a:schemeClr val="tx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mn-ea"/>
            </a:endParaRPr>
          </a:p>
        </p:txBody>
      </p:sp>
      <p:sp>
        <p:nvSpPr>
          <p:cNvPr id="51" name="椭圆 50"/>
          <p:cNvSpPr/>
          <p:nvPr>
            <p:custDataLst>
              <p:tags r:id="rId15"/>
            </p:custDataLst>
          </p:nvPr>
        </p:nvSpPr>
        <p:spPr>
          <a:xfrm>
            <a:off x="9994900" y="3208338"/>
            <a:ext cx="115888" cy="112713"/>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mn-ea"/>
            </a:endParaRPr>
          </a:p>
        </p:txBody>
      </p:sp>
    </p:spTree>
    <p:custDataLst>
      <p:tags r:id="rId16"/>
    </p:custData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0" name="矩形 29"/>
          <p:cNvSpPr/>
          <p:nvPr>
            <p:custDataLst>
              <p:tags r:id="rId1"/>
            </p:custDataLst>
          </p:nvPr>
        </p:nvSpPr>
        <p:spPr>
          <a:xfrm>
            <a:off x="1524000" y="857250"/>
            <a:ext cx="9144000" cy="5143500"/>
          </a:xfrm>
          <a:prstGeom prst="rect">
            <a:avLst/>
          </a:prstGeom>
          <a:pattFill prst="ltUpDiag">
            <a:fgClr>
              <a:schemeClr val="bg1">
                <a:lumMod val="8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algn="ctr" fontAlgn="base"/>
            <a:endParaRPr lang="zh-CN" altLang="en-US" sz="1350" strike="noStrike" noProof="1" dirty="0"/>
          </a:p>
        </p:txBody>
      </p:sp>
      <p:sp>
        <p:nvSpPr>
          <p:cNvPr id="52" name="等腰三角形 51"/>
          <p:cNvSpPr/>
          <p:nvPr>
            <p:custDataLst>
              <p:tags r:id="rId2"/>
            </p:custDataLst>
          </p:nvPr>
        </p:nvSpPr>
        <p:spPr>
          <a:xfrm rot="18491121">
            <a:off x="3740944" y="1270794"/>
            <a:ext cx="339725" cy="293688"/>
          </a:xfrm>
          <a:prstGeom prst="triangle">
            <a:avLst/>
          </a:prstGeom>
          <a:solidFill>
            <a:schemeClr val="tx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mn-ea"/>
            </a:endParaRPr>
          </a:p>
        </p:txBody>
      </p:sp>
      <p:sp>
        <p:nvSpPr>
          <p:cNvPr id="44" name="任意多边形: 形状 43"/>
          <p:cNvSpPr/>
          <p:nvPr>
            <p:custDataLst>
              <p:tags r:id="rId3"/>
            </p:custDataLst>
          </p:nvPr>
        </p:nvSpPr>
        <p:spPr>
          <a:xfrm>
            <a:off x="1524000" y="857250"/>
            <a:ext cx="2233613" cy="1981200"/>
          </a:xfrm>
          <a:custGeom>
            <a:avLst/>
            <a:gdLst>
              <a:gd name="connsiteX0" fmla="*/ 1850739 w 2977092"/>
              <a:gd name="connsiteY0" fmla="*/ 0 h 2641354"/>
              <a:gd name="connsiteX1" fmla="*/ 2976103 w 2977092"/>
              <a:gd name="connsiteY1" fmla="*/ 0 h 2641354"/>
              <a:gd name="connsiteX2" fmla="*/ 2977092 w 2977092"/>
              <a:gd name="connsiteY2" fmla="*/ 19598 h 2641354"/>
              <a:gd name="connsiteX3" fmla="*/ 355336 w 2977092"/>
              <a:gd name="connsiteY3" fmla="*/ 2641354 h 2641354"/>
              <a:gd name="connsiteX4" fmla="*/ 87277 w 2977092"/>
              <a:gd name="connsiteY4" fmla="*/ 2627818 h 2641354"/>
              <a:gd name="connsiteX5" fmla="*/ 0 w 2977092"/>
              <a:gd name="connsiteY5" fmla="*/ 2614498 h 2641354"/>
              <a:gd name="connsiteX6" fmla="*/ 0 w 2977092"/>
              <a:gd name="connsiteY6" fmla="*/ 1471767 h 2641354"/>
              <a:gd name="connsiteX7" fmla="*/ 53761 w 2977092"/>
              <a:gd name="connsiteY7" fmla="*/ 1485590 h 2641354"/>
              <a:gd name="connsiteX8" fmla="*/ 355336 w 2977092"/>
              <a:gd name="connsiteY8" fmla="*/ 1515991 h 2641354"/>
              <a:gd name="connsiteX9" fmla="*/ 1851729 w 2977092"/>
              <a:gd name="connsiteY9" fmla="*/ 19598 h 264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7092" h="2641354">
                <a:moveTo>
                  <a:pt x="1850739" y="0"/>
                </a:moveTo>
                <a:lnTo>
                  <a:pt x="2976103" y="0"/>
                </a:lnTo>
                <a:lnTo>
                  <a:pt x="2977092" y="19598"/>
                </a:lnTo>
                <a:cubicBezTo>
                  <a:pt x="2977092" y="1467554"/>
                  <a:pt x="1803292" y="2641354"/>
                  <a:pt x="355336" y="2641354"/>
                </a:cubicBezTo>
                <a:cubicBezTo>
                  <a:pt x="264839" y="2641354"/>
                  <a:pt x="175412" y="2636769"/>
                  <a:pt x="87277" y="2627818"/>
                </a:cubicBezTo>
                <a:lnTo>
                  <a:pt x="0" y="2614498"/>
                </a:lnTo>
                <a:lnTo>
                  <a:pt x="0" y="1471767"/>
                </a:lnTo>
                <a:lnTo>
                  <a:pt x="53761" y="1485590"/>
                </a:lnTo>
                <a:cubicBezTo>
                  <a:pt x="151172" y="1505523"/>
                  <a:pt x="252032" y="1515991"/>
                  <a:pt x="355336" y="1515991"/>
                </a:cubicBezTo>
                <a:cubicBezTo>
                  <a:pt x="1181771" y="1515991"/>
                  <a:pt x="1851729" y="846033"/>
                  <a:pt x="1851729" y="1959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mn-ea"/>
            </a:endParaRPr>
          </a:p>
        </p:txBody>
      </p:sp>
      <p:sp>
        <p:nvSpPr>
          <p:cNvPr id="39" name="任意多边形: 形状 38"/>
          <p:cNvSpPr/>
          <p:nvPr>
            <p:custDataLst>
              <p:tags r:id="rId4"/>
            </p:custDataLst>
          </p:nvPr>
        </p:nvSpPr>
        <p:spPr>
          <a:xfrm>
            <a:off x="9113838" y="4165600"/>
            <a:ext cx="1554163" cy="1835150"/>
          </a:xfrm>
          <a:custGeom>
            <a:avLst/>
            <a:gdLst>
              <a:gd name="connsiteX0" fmla="*/ 2057367 w 2073263"/>
              <a:gd name="connsiteY0" fmla="*/ 0 h 2445954"/>
              <a:gd name="connsiteX1" fmla="*/ 2073263 w 2073263"/>
              <a:gd name="connsiteY1" fmla="*/ 803 h 2445954"/>
              <a:gd name="connsiteX2" fmla="*/ 2073263 w 2073263"/>
              <a:gd name="connsiteY2" fmla="*/ 973979 h 2445954"/>
              <a:gd name="connsiteX3" fmla="*/ 2057367 w 2073263"/>
              <a:gd name="connsiteY3" fmla="*/ 973176 h 2445954"/>
              <a:gd name="connsiteX4" fmla="*/ 973176 w 2073263"/>
              <a:gd name="connsiteY4" fmla="*/ 2057367 h 2445954"/>
              <a:gd name="connsiteX5" fmla="*/ 995203 w 2073263"/>
              <a:gd name="connsiteY5" fmla="*/ 2275870 h 2445954"/>
              <a:gd name="connsiteX6" fmla="*/ 1048000 w 2073263"/>
              <a:gd name="connsiteY6" fmla="*/ 2445954 h 2445954"/>
              <a:gd name="connsiteX7" fmla="*/ 39173 w 2073263"/>
              <a:gd name="connsiteY7" fmla="*/ 2445954 h 2445954"/>
              <a:gd name="connsiteX8" fmla="*/ 0 w 2073263"/>
              <a:gd name="connsiteY8" fmla="*/ 2057367 h 2445954"/>
              <a:gd name="connsiteX9" fmla="*/ 2057367 w 2073263"/>
              <a:gd name="connsiteY9" fmla="*/ 0 h 2445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73263" h="2445954">
                <a:moveTo>
                  <a:pt x="2057367" y="0"/>
                </a:moveTo>
                <a:lnTo>
                  <a:pt x="2073263" y="803"/>
                </a:lnTo>
                <a:lnTo>
                  <a:pt x="2073263" y="973979"/>
                </a:lnTo>
                <a:lnTo>
                  <a:pt x="2057367" y="973176"/>
                </a:lnTo>
                <a:cubicBezTo>
                  <a:pt x="1458585" y="973176"/>
                  <a:pt x="973176" y="1458585"/>
                  <a:pt x="973176" y="2057367"/>
                </a:cubicBezTo>
                <a:cubicBezTo>
                  <a:pt x="973176" y="2132215"/>
                  <a:pt x="980760" y="2205291"/>
                  <a:pt x="995203" y="2275870"/>
                </a:cubicBezTo>
                <a:lnTo>
                  <a:pt x="1048000" y="2445954"/>
                </a:lnTo>
                <a:lnTo>
                  <a:pt x="39173" y="2445954"/>
                </a:lnTo>
                <a:lnTo>
                  <a:pt x="0" y="2057367"/>
                </a:lnTo>
                <a:cubicBezTo>
                  <a:pt x="0" y="921116"/>
                  <a:pt x="921115" y="0"/>
                  <a:pt x="205736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endParaRPr kumimoji="1" lang="zh-CN" altLang="en-US" sz="1200" b="1" strike="noStrike" noProof="1" dirty="0">
              <a:solidFill>
                <a:schemeClr val="bg1"/>
              </a:solidFill>
              <a:latin typeface="+mn-ea"/>
            </a:endParaRPr>
          </a:p>
        </p:txBody>
      </p:sp>
      <p:sp>
        <p:nvSpPr>
          <p:cNvPr id="47" name="椭圆 46"/>
          <p:cNvSpPr/>
          <p:nvPr>
            <p:custDataLst>
              <p:tags r:id="rId5"/>
            </p:custDataLst>
          </p:nvPr>
        </p:nvSpPr>
        <p:spPr>
          <a:xfrm>
            <a:off x="8964613" y="3676650"/>
            <a:ext cx="1136650" cy="1135063"/>
          </a:xfrm>
          <a:prstGeom prst="ellipse">
            <a:avLst/>
          </a:prstGeom>
          <a:solidFill>
            <a:schemeClr val="tx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mn-ea"/>
            </a:endParaRPr>
          </a:p>
        </p:txBody>
      </p:sp>
      <p:sp>
        <p:nvSpPr>
          <p:cNvPr id="37" name="任意多边形: 形状 36"/>
          <p:cNvSpPr/>
          <p:nvPr>
            <p:custDataLst>
              <p:tags r:id="rId6"/>
            </p:custDataLst>
          </p:nvPr>
        </p:nvSpPr>
        <p:spPr>
          <a:xfrm>
            <a:off x="3052763" y="1647825"/>
            <a:ext cx="6334125" cy="3932238"/>
          </a:xfrm>
          <a:custGeom>
            <a:avLst/>
            <a:gdLst>
              <a:gd name="connsiteX0" fmla="*/ 0 w 8445500"/>
              <a:gd name="connsiteY0" fmla="*/ 0 h 5243512"/>
              <a:gd name="connsiteX1" fmla="*/ 8445500 w 8445500"/>
              <a:gd name="connsiteY1" fmla="*/ 0 h 5243512"/>
              <a:gd name="connsiteX2" fmla="*/ 8445500 w 8445500"/>
              <a:gd name="connsiteY2" fmla="*/ 4705350 h 5243512"/>
              <a:gd name="connsiteX3" fmla="*/ 1382307 w 8445500"/>
              <a:gd name="connsiteY3" fmla="*/ 4705350 h 5243512"/>
              <a:gd name="connsiteX4" fmla="*/ 844145 w 8445500"/>
              <a:gd name="connsiteY4" fmla="*/ 5243512 h 5243512"/>
              <a:gd name="connsiteX5" fmla="*/ 305983 w 8445500"/>
              <a:gd name="connsiteY5" fmla="*/ 4705350 h 5243512"/>
              <a:gd name="connsiteX6" fmla="*/ 301246 w 8445500"/>
              <a:gd name="connsiteY6" fmla="*/ 4705350 h 5243512"/>
              <a:gd name="connsiteX7" fmla="*/ 0 w 8445500"/>
              <a:gd name="connsiteY7" fmla="*/ 4404104 h 524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45500" h="5243512">
                <a:moveTo>
                  <a:pt x="0" y="0"/>
                </a:moveTo>
                <a:lnTo>
                  <a:pt x="8445500" y="0"/>
                </a:lnTo>
                <a:lnTo>
                  <a:pt x="8445500" y="4705350"/>
                </a:lnTo>
                <a:lnTo>
                  <a:pt x="1382307" y="4705350"/>
                </a:lnTo>
                <a:lnTo>
                  <a:pt x="844145" y="5243512"/>
                </a:lnTo>
                <a:lnTo>
                  <a:pt x="305983" y="4705350"/>
                </a:lnTo>
                <a:lnTo>
                  <a:pt x="301246" y="4705350"/>
                </a:lnTo>
                <a:lnTo>
                  <a:pt x="0" y="4404104"/>
                </a:lnTo>
                <a:close/>
              </a:path>
            </a:pathLst>
          </a:custGeom>
          <a:solidFill>
            <a:schemeClr val="accent3">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mn-ea"/>
            </a:endParaRPr>
          </a:p>
        </p:txBody>
      </p:sp>
      <p:sp>
        <p:nvSpPr>
          <p:cNvPr id="36" name="任意多边形: 形状 35"/>
          <p:cNvSpPr/>
          <p:nvPr>
            <p:custDataLst>
              <p:tags r:id="rId7"/>
            </p:custDataLst>
          </p:nvPr>
        </p:nvSpPr>
        <p:spPr>
          <a:xfrm>
            <a:off x="2928303" y="1534478"/>
            <a:ext cx="6334125" cy="3933825"/>
          </a:xfrm>
          <a:custGeom>
            <a:avLst/>
            <a:gdLst>
              <a:gd name="connsiteX0" fmla="*/ 0 w 8445500"/>
              <a:gd name="connsiteY0" fmla="*/ 0 h 5243512"/>
              <a:gd name="connsiteX1" fmla="*/ 8445500 w 8445500"/>
              <a:gd name="connsiteY1" fmla="*/ 0 h 5243512"/>
              <a:gd name="connsiteX2" fmla="*/ 8445500 w 8445500"/>
              <a:gd name="connsiteY2" fmla="*/ 4705350 h 5243512"/>
              <a:gd name="connsiteX3" fmla="*/ 1382307 w 8445500"/>
              <a:gd name="connsiteY3" fmla="*/ 4705350 h 5243512"/>
              <a:gd name="connsiteX4" fmla="*/ 844145 w 8445500"/>
              <a:gd name="connsiteY4" fmla="*/ 5243512 h 5243512"/>
              <a:gd name="connsiteX5" fmla="*/ 305983 w 8445500"/>
              <a:gd name="connsiteY5" fmla="*/ 4705350 h 5243512"/>
              <a:gd name="connsiteX6" fmla="*/ 301246 w 8445500"/>
              <a:gd name="connsiteY6" fmla="*/ 4705350 h 5243512"/>
              <a:gd name="connsiteX7" fmla="*/ 0 w 8445500"/>
              <a:gd name="connsiteY7" fmla="*/ 4404104 h 524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45500" h="5243512">
                <a:moveTo>
                  <a:pt x="0" y="0"/>
                </a:moveTo>
                <a:lnTo>
                  <a:pt x="8445500" y="0"/>
                </a:lnTo>
                <a:lnTo>
                  <a:pt x="8445500" y="4705350"/>
                </a:lnTo>
                <a:lnTo>
                  <a:pt x="1382307" y="4705350"/>
                </a:lnTo>
                <a:lnTo>
                  <a:pt x="844145" y="5243512"/>
                </a:lnTo>
                <a:lnTo>
                  <a:pt x="305983" y="4705350"/>
                </a:lnTo>
                <a:lnTo>
                  <a:pt x="301246" y="4705350"/>
                </a:lnTo>
                <a:lnTo>
                  <a:pt x="0" y="4404104"/>
                </a:lnTo>
                <a:close/>
              </a:path>
            </a:pathLst>
          </a:cu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mn-ea"/>
            </a:endParaRPr>
          </a:p>
        </p:txBody>
      </p:sp>
      <p:sp>
        <p:nvSpPr>
          <p:cNvPr id="28" name="任意多边形: 形状 27"/>
          <p:cNvSpPr/>
          <p:nvPr>
            <p:custDataLst>
              <p:tags r:id="rId8"/>
            </p:custDataLst>
          </p:nvPr>
        </p:nvSpPr>
        <p:spPr>
          <a:xfrm rot="10800000">
            <a:off x="8609013" y="1379538"/>
            <a:ext cx="346075" cy="422275"/>
          </a:xfrm>
          <a:custGeom>
            <a:avLst/>
            <a:gdLst>
              <a:gd name="connsiteX0" fmla="*/ 174788 w 340237"/>
              <a:gd name="connsiteY0" fmla="*/ 0 h 415819"/>
              <a:gd name="connsiteX1" fmla="*/ 340237 w 340237"/>
              <a:gd name="connsiteY1" fmla="*/ 0 h 415819"/>
              <a:gd name="connsiteX2" fmla="*/ 241322 w 340237"/>
              <a:gd name="connsiteY2" fmla="*/ 415819 h 415819"/>
              <a:gd name="connsiteX3" fmla="*/ 0 w 340237"/>
              <a:gd name="connsiteY3" fmla="*/ 415819 h 415819"/>
            </a:gdLst>
            <a:ahLst/>
            <a:cxnLst>
              <a:cxn ang="0">
                <a:pos x="connsiteX0" y="connsiteY0"/>
              </a:cxn>
              <a:cxn ang="0">
                <a:pos x="connsiteX1" y="connsiteY1"/>
              </a:cxn>
              <a:cxn ang="0">
                <a:pos x="connsiteX2" y="connsiteY2"/>
              </a:cxn>
              <a:cxn ang="0">
                <a:pos x="connsiteX3" y="connsiteY3"/>
              </a:cxn>
            </a:cxnLst>
            <a:rect l="l" t="t" r="r" b="b"/>
            <a:pathLst>
              <a:path w="340237" h="415819">
                <a:moveTo>
                  <a:pt x="174788" y="0"/>
                </a:moveTo>
                <a:lnTo>
                  <a:pt x="340237" y="0"/>
                </a:lnTo>
                <a:lnTo>
                  <a:pt x="241322" y="415819"/>
                </a:lnTo>
                <a:lnTo>
                  <a:pt x="0" y="415819"/>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endParaRPr lang="zh-CN" altLang="en-US" sz="1350" strike="noStrike" noProof="1"/>
          </a:p>
        </p:txBody>
      </p:sp>
      <p:sp>
        <p:nvSpPr>
          <p:cNvPr id="29" name="任意多边形: 形状 28"/>
          <p:cNvSpPr/>
          <p:nvPr>
            <p:custDataLst>
              <p:tags r:id="rId9"/>
            </p:custDataLst>
          </p:nvPr>
        </p:nvSpPr>
        <p:spPr>
          <a:xfrm rot="10800000">
            <a:off x="8223250" y="1379538"/>
            <a:ext cx="346075" cy="422275"/>
          </a:xfrm>
          <a:custGeom>
            <a:avLst/>
            <a:gdLst>
              <a:gd name="connsiteX0" fmla="*/ 174788 w 340237"/>
              <a:gd name="connsiteY0" fmla="*/ 0 h 415819"/>
              <a:gd name="connsiteX1" fmla="*/ 340237 w 340237"/>
              <a:gd name="connsiteY1" fmla="*/ 0 h 415819"/>
              <a:gd name="connsiteX2" fmla="*/ 241322 w 340237"/>
              <a:gd name="connsiteY2" fmla="*/ 415819 h 415819"/>
              <a:gd name="connsiteX3" fmla="*/ 0 w 340237"/>
              <a:gd name="connsiteY3" fmla="*/ 415819 h 415819"/>
            </a:gdLst>
            <a:ahLst/>
            <a:cxnLst>
              <a:cxn ang="0">
                <a:pos x="connsiteX0" y="connsiteY0"/>
              </a:cxn>
              <a:cxn ang="0">
                <a:pos x="connsiteX1" y="connsiteY1"/>
              </a:cxn>
              <a:cxn ang="0">
                <a:pos x="connsiteX2" y="connsiteY2"/>
              </a:cxn>
              <a:cxn ang="0">
                <a:pos x="connsiteX3" y="connsiteY3"/>
              </a:cxn>
            </a:cxnLst>
            <a:rect l="l" t="t" r="r" b="b"/>
            <a:pathLst>
              <a:path w="340237" h="415819">
                <a:moveTo>
                  <a:pt x="174788" y="0"/>
                </a:moveTo>
                <a:lnTo>
                  <a:pt x="340237" y="0"/>
                </a:lnTo>
                <a:lnTo>
                  <a:pt x="241322" y="415819"/>
                </a:lnTo>
                <a:lnTo>
                  <a:pt x="0" y="415819"/>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endParaRPr lang="zh-CN" altLang="en-US" sz="1350" strike="noStrike" noProof="1"/>
          </a:p>
        </p:txBody>
      </p:sp>
      <p:sp>
        <p:nvSpPr>
          <p:cNvPr id="5" name="文本框 4"/>
          <p:cNvSpPr txBox="1"/>
          <p:nvPr>
            <p:custDataLst>
              <p:tags r:id="rId10"/>
            </p:custDataLst>
          </p:nvPr>
        </p:nvSpPr>
        <p:spPr>
          <a:xfrm>
            <a:off x="2928620" y="1647825"/>
            <a:ext cx="6407785" cy="3467100"/>
          </a:xfrm>
          <a:prstGeom prst="rect">
            <a:avLst/>
          </a:prstGeom>
          <a:noFill/>
        </p:spPr>
        <p:txBody>
          <a:bodyPr wrap="square" lIns="76200" tIns="0" rIns="61912" bIns="0" rtlCol="0">
            <a:noAutofit/>
          </a:bodyPr>
          <a:lstStyle>
            <a:defPPr>
              <a:defRPr lang="zh-CN"/>
            </a:defPPr>
            <a:lvl1pPr fontAlgn="auto">
              <a:lnSpc>
                <a:spcPct val="130000"/>
              </a:lnSpc>
              <a:spcAft>
                <a:spcPts val="1000"/>
              </a:spcAft>
              <a:defRPr sz="1600" spc="150"/>
            </a:lvl1pPr>
          </a:lstStyle>
          <a:p>
            <a:pPr indent="0" fontAlgn="ctr">
              <a:spcBef>
                <a:spcPts val="1000"/>
              </a:spcBef>
              <a:spcAft>
                <a:spcPts val="0"/>
              </a:spcAft>
              <a:buClr>
                <a:schemeClr val="tx2">
                  <a:lumMod val="75000"/>
                </a:schemeClr>
              </a:buClr>
              <a:buSzPct val="130000"/>
              <a:buFont typeface="WPS-Bullets" pitchFamily="2" charset="0"/>
              <a:buNone/>
            </a:pPr>
            <a:r>
              <a:rPr lang="en-US" altLang="zh-CN"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2. 通过媒介查询来设置样式 Media Queries</a:t>
            </a:r>
            <a:endParaRPr lang="en-US" altLang="zh-CN"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Media Queries 是响应式设计的核心。它根据条件告诉浏览器如何为指定视图宽度渲染页面。</a:t>
            </a:r>
            <a:endParaRPr lang="en-US" altLang="zh-CN"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假如一个终端的分辨率小于 980px，那么可以这样写：</a:t>
            </a:r>
            <a:endParaRPr lang="en-US" altLang="zh-CN"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media screen and (max-width: 980px) {</a:t>
            </a:r>
            <a:endParaRPr lang="en-US" altLang="zh-CN"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  #head { … }</a:t>
            </a:r>
            <a:endParaRPr lang="en-US" altLang="zh-CN"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  #content { … }</a:t>
            </a:r>
            <a:endParaRPr lang="en-US" altLang="zh-CN"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  #footer { … }</a:t>
            </a:r>
            <a:endParaRPr lang="en-US" altLang="zh-CN"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a:t>
            </a:r>
            <a:endParaRPr lang="en-US" altLang="zh-CN"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这里的样式就会覆盖</a:t>
            </a:r>
            <a:r>
              <a:rPr lang="zh-CN" altLang="en-US"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之前</a:t>
            </a:r>
            <a:r>
              <a:rPr lang="en-US" altLang="zh-CN"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已经定义好的样式。</a:t>
            </a:r>
            <a:endParaRPr lang="en-US" altLang="zh-CN"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p:txBody>
      </p:sp>
      <p:sp>
        <p:nvSpPr>
          <p:cNvPr id="45" name="椭圆 44"/>
          <p:cNvSpPr/>
          <p:nvPr>
            <p:custDataLst>
              <p:tags r:id="rId11"/>
            </p:custDataLst>
          </p:nvPr>
        </p:nvSpPr>
        <p:spPr>
          <a:xfrm>
            <a:off x="2046288" y="2635250"/>
            <a:ext cx="501650" cy="501650"/>
          </a:xfrm>
          <a:prstGeom prst="ellipse">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mn-ea"/>
            </a:endParaRPr>
          </a:p>
        </p:txBody>
      </p:sp>
      <p:sp>
        <p:nvSpPr>
          <p:cNvPr id="46" name="椭圆 45"/>
          <p:cNvSpPr/>
          <p:nvPr>
            <p:custDataLst>
              <p:tags r:id="rId12"/>
            </p:custDataLst>
          </p:nvPr>
        </p:nvSpPr>
        <p:spPr>
          <a:xfrm>
            <a:off x="1881188" y="3281363"/>
            <a:ext cx="147638" cy="147638"/>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mn-ea"/>
            </a:endParaRPr>
          </a:p>
        </p:txBody>
      </p:sp>
      <p:sp>
        <p:nvSpPr>
          <p:cNvPr id="48" name="椭圆 47"/>
          <p:cNvSpPr/>
          <p:nvPr>
            <p:custDataLst>
              <p:tags r:id="rId13"/>
            </p:custDataLst>
          </p:nvPr>
        </p:nvSpPr>
        <p:spPr>
          <a:xfrm>
            <a:off x="9686925" y="3303588"/>
            <a:ext cx="249238" cy="250825"/>
          </a:xfrm>
          <a:prstGeom prst="ellipse">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mn-ea"/>
            </a:endParaRPr>
          </a:p>
        </p:txBody>
      </p:sp>
      <p:sp>
        <p:nvSpPr>
          <p:cNvPr id="50" name="等腰三角形 49"/>
          <p:cNvSpPr/>
          <p:nvPr>
            <p:custDataLst>
              <p:tags r:id="rId14"/>
            </p:custDataLst>
          </p:nvPr>
        </p:nvSpPr>
        <p:spPr>
          <a:xfrm rot="19271054">
            <a:off x="10299700" y="2560638"/>
            <a:ext cx="122238" cy="104775"/>
          </a:xfrm>
          <a:prstGeom prst="triangle">
            <a:avLst/>
          </a:prstGeom>
          <a:solidFill>
            <a:schemeClr val="tx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mn-ea"/>
            </a:endParaRPr>
          </a:p>
        </p:txBody>
      </p:sp>
      <p:sp>
        <p:nvSpPr>
          <p:cNvPr id="51" name="椭圆 50"/>
          <p:cNvSpPr/>
          <p:nvPr>
            <p:custDataLst>
              <p:tags r:id="rId15"/>
            </p:custDataLst>
          </p:nvPr>
        </p:nvSpPr>
        <p:spPr>
          <a:xfrm>
            <a:off x="9994900" y="3208338"/>
            <a:ext cx="115888" cy="112713"/>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mn-ea"/>
            </a:endParaRPr>
          </a:p>
        </p:txBody>
      </p:sp>
    </p:spTree>
    <p:custDataLst>
      <p:tags r:id="rId16"/>
    </p:custData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idx="4294967295"/>
          </p:nvPr>
        </p:nvSpPr>
        <p:spPr>
          <a:xfrm>
            <a:off x="241300" y="346710"/>
            <a:ext cx="10515600" cy="1325880"/>
          </a:xfrm>
        </p:spPr>
        <p:txBody>
          <a:bodyPr>
            <a:normAutofit fontScale="90000"/>
          </a:bodyPr>
          <a:p>
            <a:r>
              <a:rPr lang="zh-CN" altLang="en-US" b="1" spc="300" dirty="0">
                <a:solidFill>
                  <a:schemeClr val="tx1">
                    <a:lumMod val="75000"/>
                    <a:lumOff val="25000"/>
                  </a:schemeClr>
                </a:solidFill>
                <a:uFillTx/>
                <a:latin typeface="Arial" panose="020B0604020202020204" pitchFamily="34" charset="0"/>
                <a:sym typeface="+mn-ea"/>
              </a:rPr>
              <a:t>常用屏幕大小</a:t>
            </a:r>
            <a:br>
              <a:rPr lang="zh-CN" altLang="en-US" b="1" spc="300" dirty="0">
                <a:solidFill>
                  <a:schemeClr val="tx1">
                    <a:lumMod val="75000"/>
                    <a:lumOff val="25000"/>
                  </a:schemeClr>
                </a:solidFill>
                <a:uFillTx/>
                <a:latin typeface="Arial" panose="020B0604020202020204" pitchFamily="34" charset="0"/>
                <a:ea typeface="微软雅黑" panose="020B0503020204020204" charset="-122"/>
              </a:rPr>
            </a:br>
            <a:endParaRPr lang="zh-CN" altLang="en-US"/>
          </a:p>
        </p:txBody>
      </p:sp>
      <p:sp>
        <p:nvSpPr>
          <p:cNvPr id="16" name="矩形 15"/>
          <p:cNvSpPr/>
          <p:nvPr>
            <p:custDataLst>
              <p:tags r:id="rId1"/>
            </p:custDataLst>
          </p:nvPr>
        </p:nvSpPr>
        <p:spPr>
          <a:xfrm>
            <a:off x="549644" y="1832469"/>
            <a:ext cx="11363028" cy="4499877"/>
          </a:xfrm>
          <a:prstGeom prst="rect">
            <a:avLst/>
          </a:prstGeom>
          <a:pattFill prst="ltDnDiag">
            <a:fgClr>
              <a:schemeClr val="bg1">
                <a:lumMod val="65000"/>
              </a:schemeClr>
            </a:fgClr>
            <a:bgClr>
              <a:schemeClr val="bg1">
                <a:lumMod val="9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600" b="1" dirty="0">
              <a:solidFill>
                <a:schemeClr val="bg1"/>
              </a:solidFill>
              <a:latin typeface="+mn-ea"/>
            </a:endParaRPr>
          </a:p>
        </p:txBody>
      </p:sp>
      <p:sp>
        <p:nvSpPr>
          <p:cNvPr id="17" name="矩形 16"/>
          <p:cNvSpPr/>
          <p:nvPr>
            <p:custDataLst>
              <p:tags r:id="rId2"/>
            </p:custDataLst>
          </p:nvPr>
        </p:nvSpPr>
        <p:spPr>
          <a:xfrm>
            <a:off x="333829" y="1672533"/>
            <a:ext cx="11321142" cy="4408572"/>
          </a:xfrm>
          <a:prstGeom prst="rect">
            <a:avLst/>
          </a:prstGeom>
          <a:solidFill>
            <a:schemeClr val="bg1"/>
          </a:solidFill>
          <a:ln w="508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600" b="1" dirty="0">
              <a:solidFill>
                <a:schemeClr val="bg1"/>
              </a:solidFill>
              <a:latin typeface="+mn-ea"/>
            </a:endParaRPr>
          </a:p>
        </p:txBody>
      </p:sp>
      <p:sp>
        <p:nvSpPr>
          <p:cNvPr id="80" name="椭圆 79"/>
          <p:cNvSpPr/>
          <p:nvPr>
            <p:custDataLst>
              <p:tags r:id="rId3"/>
            </p:custDataLst>
          </p:nvPr>
        </p:nvSpPr>
        <p:spPr>
          <a:xfrm>
            <a:off x="10532745" y="5830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1" name="椭圆 80"/>
          <p:cNvSpPr/>
          <p:nvPr>
            <p:custDataLst>
              <p:tags r:id="rId4"/>
            </p:custDataLst>
          </p:nvPr>
        </p:nvSpPr>
        <p:spPr>
          <a:xfrm>
            <a:off x="10685145" y="5830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2" name="椭圆 81"/>
          <p:cNvSpPr/>
          <p:nvPr>
            <p:custDataLst>
              <p:tags r:id="rId5"/>
            </p:custDataLst>
          </p:nvPr>
        </p:nvSpPr>
        <p:spPr>
          <a:xfrm>
            <a:off x="10837545" y="5830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3" name="椭圆 82"/>
          <p:cNvSpPr/>
          <p:nvPr>
            <p:custDataLst>
              <p:tags r:id="rId6"/>
            </p:custDataLst>
          </p:nvPr>
        </p:nvSpPr>
        <p:spPr>
          <a:xfrm>
            <a:off x="10989945" y="5830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4" name="椭圆 83"/>
          <p:cNvSpPr/>
          <p:nvPr>
            <p:custDataLst>
              <p:tags r:id="rId7"/>
            </p:custDataLst>
          </p:nvPr>
        </p:nvSpPr>
        <p:spPr>
          <a:xfrm>
            <a:off x="11142345" y="5830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5" name="椭圆 84"/>
          <p:cNvSpPr/>
          <p:nvPr>
            <p:custDataLst>
              <p:tags r:id="rId8"/>
            </p:custDataLst>
          </p:nvPr>
        </p:nvSpPr>
        <p:spPr>
          <a:xfrm>
            <a:off x="11294745" y="5830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6" name="椭圆 85"/>
          <p:cNvSpPr/>
          <p:nvPr>
            <p:custDataLst>
              <p:tags r:id="rId9"/>
            </p:custDataLst>
          </p:nvPr>
        </p:nvSpPr>
        <p:spPr>
          <a:xfrm>
            <a:off x="11447145" y="5830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7" name="椭圆 86"/>
          <p:cNvSpPr/>
          <p:nvPr>
            <p:custDataLst>
              <p:tags r:id="rId10"/>
            </p:custDataLst>
          </p:nvPr>
        </p:nvSpPr>
        <p:spPr>
          <a:xfrm>
            <a:off x="11599545" y="5830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8" name="椭圆 87"/>
          <p:cNvSpPr/>
          <p:nvPr>
            <p:custDataLst>
              <p:tags r:id="rId11"/>
            </p:custDataLst>
          </p:nvPr>
        </p:nvSpPr>
        <p:spPr>
          <a:xfrm>
            <a:off x="11751945" y="5830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9" name="椭圆 88"/>
          <p:cNvSpPr/>
          <p:nvPr>
            <p:custDataLst>
              <p:tags r:id="rId12"/>
            </p:custDataLst>
          </p:nvPr>
        </p:nvSpPr>
        <p:spPr>
          <a:xfrm>
            <a:off x="11904345" y="5830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0" name="椭圆 89"/>
          <p:cNvSpPr/>
          <p:nvPr>
            <p:custDataLst>
              <p:tags r:id="rId13"/>
            </p:custDataLst>
          </p:nvPr>
        </p:nvSpPr>
        <p:spPr>
          <a:xfrm>
            <a:off x="12056745" y="5830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9" name="椭圆 68"/>
          <p:cNvSpPr/>
          <p:nvPr>
            <p:custDataLst>
              <p:tags r:id="rId14"/>
            </p:custDataLst>
          </p:nvPr>
        </p:nvSpPr>
        <p:spPr>
          <a:xfrm>
            <a:off x="10532745" y="59829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0" name="椭圆 69"/>
          <p:cNvSpPr/>
          <p:nvPr>
            <p:custDataLst>
              <p:tags r:id="rId15"/>
            </p:custDataLst>
          </p:nvPr>
        </p:nvSpPr>
        <p:spPr>
          <a:xfrm>
            <a:off x="10685145" y="59829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1" name="椭圆 70"/>
          <p:cNvSpPr/>
          <p:nvPr>
            <p:custDataLst>
              <p:tags r:id="rId16"/>
            </p:custDataLst>
          </p:nvPr>
        </p:nvSpPr>
        <p:spPr>
          <a:xfrm>
            <a:off x="10837545" y="59829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2" name="椭圆 71"/>
          <p:cNvSpPr/>
          <p:nvPr>
            <p:custDataLst>
              <p:tags r:id="rId17"/>
            </p:custDataLst>
          </p:nvPr>
        </p:nvSpPr>
        <p:spPr>
          <a:xfrm>
            <a:off x="10989945" y="59829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3" name="椭圆 72"/>
          <p:cNvSpPr/>
          <p:nvPr>
            <p:custDataLst>
              <p:tags r:id="rId18"/>
            </p:custDataLst>
          </p:nvPr>
        </p:nvSpPr>
        <p:spPr>
          <a:xfrm>
            <a:off x="11142345" y="59829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4" name="椭圆 73"/>
          <p:cNvSpPr/>
          <p:nvPr>
            <p:custDataLst>
              <p:tags r:id="rId19"/>
            </p:custDataLst>
          </p:nvPr>
        </p:nvSpPr>
        <p:spPr>
          <a:xfrm>
            <a:off x="11294745" y="59829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5" name="椭圆 74"/>
          <p:cNvSpPr/>
          <p:nvPr>
            <p:custDataLst>
              <p:tags r:id="rId20"/>
            </p:custDataLst>
          </p:nvPr>
        </p:nvSpPr>
        <p:spPr>
          <a:xfrm>
            <a:off x="11447145" y="59829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椭圆 75"/>
          <p:cNvSpPr/>
          <p:nvPr>
            <p:custDataLst>
              <p:tags r:id="rId21"/>
            </p:custDataLst>
          </p:nvPr>
        </p:nvSpPr>
        <p:spPr>
          <a:xfrm>
            <a:off x="11599545" y="59829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椭圆 76"/>
          <p:cNvSpPr/>
          <p:nvPr>
            <p:custDataLst>
              <p:tags r:id="rId22"/>
            </p:custDataLst>
          </p:nvPr>
        </p:nvSpPr>
        <p:spPr>
          <a:xfrm>
            <a:off x="11751945" y="59829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8" name="椭圆 77"/>
          <p:cNvSpPr/>
          <p:nvPr>
            <p:custDataLst>
              <p:tags r:id="rId23"/>
            </p:custDataLst>
          </p:nvPr>
        </p:nvSpPr>
        <p:spPr>
          <a:xfrm>
            <a:off x="11904345" y="59829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9" name="椭圆 78"/>
          <p:cNvSpPr/>
          <p:nvPr>
            <p:custDataLst>
              <p:tags r:id="rId24"/>
            </p:custDataLst>
          </p:nvPr>
        </p:nvSpPr>
        <p:spPr>
          <a:xfrm>
            <a:off x="12056745" y="59829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8" name="椭圆 57"/>
          <p:cNvSpPr/>
          <p:nvPr>
            <p:custDataLst>
              <p:tags r:id="rId25"/>
            </p:custDataLst>
          </p:nvPr>
        </p:nvSpPr>
        <p:spPr>
          <a:xfrm>
            <a:off x="10532745" y="61353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椭圆 58"/>
          <p:cNvSpPr/>
          <p:nvPr>
            <p:custDataLst>
              <p:tags r:id="rId26"/>
            </p:custDataLst>
          </p:nvPr>
        </p:nvSpPr>
        <p:spPr>
          <a:xfrm>
            <a:off x="10685145" y="61353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椭圆 59"/>
          <p:cNvSpPr/>
          <p:nvPr>
            <p:custDataLst>
              <p:tags r:id="rId27"/>
            </p:custDataLst>
          </p:nvPr>
        </p:nvSpPr>
        <p:spPr>
          <a:xfrm>
            <a:off x="10837545" y="61353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椭圆 60"/>
          <p:cNvSpPr/>
          <p:nvPr>
            <p:custDataLst>
              <p:tags r:id="rId28"/>
            </p:custDataLst>
          </p:nvPr>
        </p:nvSpPr>
        <p:spPr>
          <a:xfrm>
            <a:off x="10989945" y="61353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椭圆 61"/>
          <p:cNvSpPr/>
          <p:nvPr>
            <p:custDataLst>
              <p:tags r:id="rId29"/>
            </p:custDataLst>
          </p:nvPr>
        </p:nvSpPr>
        <p:spPr>
          <a:xfrm>
            <a:off x="11142345" y="61353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3" name="椭圆 62"/>
          <p:cNvSpPr/>
          <p:nvPr>
            <p:custDataLst>
              <p:tags r:id="rId30"/>
            </p:custDataLst>
          </p:nvPr>
        </p:nvSpPr>
        <p:spPr>
          <a:xfrm>
            <a:off x="11294745" y="61353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4" name="椭圆 63"/>
          <p:cNvSpPr/>
          <p:nvPr>
            <p:custDataLst>
              <p:tags r:id="rId31"/>
            </p:custDataLst>
          </p:nvPr>
        </p:nvSpPr>
        <p:spPr>
          <a:xfrm>
            <a:off x="11447145" y="61353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5" name="椭圆 64"/>
          <p:cNvSpPr/>
          <p:nvPr>
            <p:custDataLst>
              <p:tags r:id="rId32"/>
            </p:custDataLst>
          </p:nvPr>
        </p:nvSpPr>
        <p:spPr>
          <a:xfrm>
            <a:off x="11599545" y="61353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6" name="椭圆 65"/>
          <p:cNvSpPr/>
          <p:nvPr>
            <p:custDataLst>
              <p:tags r:id="rId33"/>
            </p:custDataLst>
          </p:nvPr>
        </p:nvSpPr>
        <p:spPr>
          <a:xfrm>
            <a:off x="11751945" y="61353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7" name="椭圆 66"/>
          <p:cNvSpPr/>
          <p:nvPr>
            <p:custDataLst>
              <p:tags r:id="rId34"/>
            </p:custDataLst>
          </p:nvPr>
        </p:nvSpPr>
        <p:spPr>
          <a:xfrm>
            <a:off x="11904345" y="61353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8" name="椭圆 67"/>
          <p:cNvSpPr/>
          <p:nvPr>
            <p:custDataLst>
              <p:tags r:id="rId35"/>
            </p:custDataLst>
          </p:nvPr>
        </p:nvSpPr>
        <p:spPr>
          <a:xfrm>
            <a:off x="12056745" y="61353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椭圆 46"/>
          <p:cNvSpPr/>
          <p:nvPr>
            <p:custDataLst>
              <p:tags r:id="rId36"/>
            </p:custDataLst>
          </p:nvPr>
        </p:nvSpPr>
        <p:spPr>
          <a:xfrm>
            <a:off x="10532745" y="62877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椭圆 47"/>
          <p:cNvSpPr/>
          <p:nvPr>
            <p:custDataLst>
              <p:tags r:id="rId37"/>
            </p:custDataLst>
          </p:nvPr>
        </p:nvSpPr>
        <p:spPr>
          <a:xfrm>
            <a:off x="10685145" y="62877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椭圆 48"/>
          <p:cNvSpPr/>
          <p:nvPr>
            <p:custDataLst>
              <p:tags r:id="rId38"/>
            </p:custDataLst>
          </p:nvPr>
        </p:nvSpPr>
        <p:spPr>
          <a:xfrm>
            <a:off x="10837545" y="62877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椭圆 49"/>
          <p:cNvSpPr/>
          <p:nvPr>
            <p:custDataLst>
              <p:tags r:id="rId39"/>
            </p:custDataLst>
          </p:nvPr>
        </p:nvSpPr>
        <p:spPr>
          <a:xfrm>
            <a:off x="10989945" y="62877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椭圆 50"/>
          <p:cNvSpPr/>
          <p:nvPr>
            <p:custDataLst>
              <p:tags r:id="rId40"/>
            </p:custDataLst>
          </p:nvPr>
        </p:nvSpPr>
        <p:spPr>
          <a:xfrm>
            <a:off x="11142345" y="62877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椭圆 51"/>
          <p:cNvSpPr/>
          <p:nvPr>
            <p:custDataLst>
              <p:tags r:id="rId41"/>
            </p:custDataLst>
          </p:nvPr>
        </p:nvSpPr>
        <p:spPr>
          <a:xfrm>
            <a:off x="11294745" y="62877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3" name="椭圆 52"/>
          <p:cNvSpPr/>
          <p:nvPr>
            <p:custDataLst>
              <p:tags r:id="rId42"/>
            </p:custDataLst>
          </p:nvPr>
        </p:nvSpPr>
        <p:spPr>
          <a:xfrm>
            <a:off x="11447145" y="62877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椭圆 53"/>
          <p:cNvSpPr/>
          <p:nvPr>
            <p:custDataLst>
              <p:tags r:id="rId43"/>
            </p:custDataLst>
          </p:nvPr>
        </p:nvSpPr>
        <p:spPr>
          <a:xfrm>
            <a:off x="11599545" y="62877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5" name="椭圆 54"/>
          <p:cNvSpPr/>
          <p:nvPr>
            <p:custDataLst>
              <p:tags r:id="rId44"/>
            </p:custDataLst>
          </p:nvPr>
        </p:nvSpPr>
        <p:spPr>
          <a:xfrm>
            <a:off x="11751945" y="62877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椭圆 55"/>
          <p:cNvSpPr/>
          <p:nvPr>
            <p:custDataLst>
              <p:tags r:id="rId45"/>
            </p:custDataLst>
          </p:nvPr>
        </p:nvSpPr>
        <p:spPr>
          <a:xfrm>
            <a:off x="11904345" y="62877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7" name="椭圆 56"/>
          <p:cNvSpPr/>
          <p:nvPr>
            <p:custDataLst>
              <p:tags r:id="rId46"/>
            </p:custDataLst>
          </p:nvPr>
        </p:nvSpPr>
        <p:spPr>
          <a:xfrm>
            <a:off x="12056745" y="62877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椭圆 35"/>
          <p:cNvSpPr/>
          <p:nvPr>
            <p:custDataLst>
              <p:tags r:id="rId47"/>
            </p:custDataLst>
          </p:nvPr>
        </p:nvSpPr>
        <p:spPr>
          <a:xfrm>
            <a:off x="10532745" y="64401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椭圆 36"/>
          <p:cNvSpPr/>
          <p:nvPr>
            <p:custDataLst>
              <p:tags r:id="rId48"/>
            </p:custDataLst>
          </p:nvPr>
        </p:nvSpPr>
        <p:spPr>
          <a:xfrm>
            <a:off x="10685145" y="64401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椭圆 37"/>
          <p:cNvSpPr/>
          <p:nvPr>
            <p:custDataLst>
              <p:tags r:id="rId49"/>
            </p:custDataLst>
          </p:nvPr>
        </p:nvSpPr>
        <p:spPr>
          <a:xfrm>
            <a:off x="10837545" y="64401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椭圆 38"/>
          <p:cNvSpPr/>
          <p:nvPr>
            <p:custDataLst>
              <p:tags r:id="rId50"/>
            </p:custDataLst>
          </p:nvPr>
        </p:nvSpPr>
        <p:spPr>
          <a:xfrm>
            <a:off x="10989945" y="64401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椭圆 39"/>
          <p:cNvSpPr/>
          <p:nvPr>
            <p:custDataLst>
              <p:tags r:id="rId51"/>
            </p:custDataLst>
          </p:nvPr>
        </p:nvSpPr>
        <p:spPr>
          <a:xfrm>
            <a:off x="11142345" y="64401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椭圆 40"/>
          <p:cNvSpPr/>
          <p:nvPr>
            <p:custDataLst>
              <p:tags r:id="rId52"/>
            </p:custDataLst>
          </p:nvPr>
        </p:nvSpPr>
        <p:spPr>
          <a:xfrm>
            <a:off x="11294745" y="64401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椭圆 41"/>
          <p:cNvSpPr/>
          <p:nvPr>
            <p:custDataLst>
              <p:tags r:id="rId53"/>
            </p:custDataLst>
          </p:nvPr>
        </p:nvSpPr>
        <p:spPr>
          <a:xfrm>
            <a:off x="11447145" y="64401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椭圆 42"/>
          <p:cNvSpPr/>
          <p:nvPr>
            <p:custDataLst>
              <p:tags r:id="rId54"/>
            </p:custDataLst>
          </p:nvPr>
        </p:nvSpPr>
        <p:spPr>
          <a:xfrm>
            <a:off x="11599545" y="64401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椭圆 43"/>
          <p:cNvSpPr/>
          <p:nvPr>
            <p:custDataLst>
              <p:tags r:id="rId55"/>
            </p:custDataLst>
          </p:nvPr>
        </p:nvSpPr>
        <p:spPr>
          <a:xfrm>
            <a:off x="11751945" y="64401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椭圆 44"/>
          <p:cNvSpPr/>
          <p:nvPr>
            <p:custDataLst>
              <p:tags r:id="rId56"/>
            </p:custDataLst>
          </p:nvPr>
        </p:nvSpPr>
        <p:spPr>
          <a:xfrm>
            <a:off x="11904345" y="64401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椭圆 45"/>
          <p:cNvSpPr/>
          <p:nvPr>
            <p:custDataLst>
              <p:tags r:id="rId57"/>
            </p:custDataLst>
          </p:nvPr>
        </p:nvSpPr>
        <p:spPr>
          <a:xfrm>
            <a:off x="12056745" y="64401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椭圆 24"/>
          <p:cNvSpPr/>
          <p:nvPr>
            <p:custDataLst>
              <p:tags r:id="rId58"/>
            </p:custDataLst>
          </p:nvPr>
        </p:nvSpPr>
        <p:spPr>
          <a:xfrm>
            <a:off x="10532745" y="6592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椭圆 25"/>
          <p:cNvSpPr/>
          <p:nvPr>
            <p:custDataLst>
              <p:tags r:id="rId59"/>
            </p:custDataLst>
          </p:nvPr>
        </p:nvSpPr>
        <p:spPr>
          <a:xfrm>
            <a:off x="10685145" y="6592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椭圆 26"/>
          <p:cNvSpPr/>
          <p:nvPr>
            <p:custDataLst>
              <p:tags r:id="rId60"/>
            </p:custDataLst>
          </p:nvPr>
        </p:nvSpPr>
        <p:spPr>
          <a:xfrm>
            <a:off x="10837545" y="6592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椭圆 27"/>
          <p:cNvSpPr/>
          <p:nvPr>
            <p:custDataLst>
              <p:tags r:id="rId61"/>
            </p:custDataLst>
          </p:nvPr>
        </p:nvSpPr>
        <p:spPr>
          <a:xfrm>
            <a:off x="10989945" y="6592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椭圆 28"/>
          <p:cNvSpPr/>
          <p:nvPr>
            <p:custDataLst>
              <p:tags r:id="rId62"/>
            </p:custDataLst>
          </p:nvPr>
        </p:nvSpPr>
        <p:spPr>
          <a:xfrm>
            <a:off x="11142345" y="6592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椭圆 29"/>
          <p:cNvSpPr/>
          <p:nvPr>
            <p:custDataLst>
              <p:tags r:id="rId63"/>
            </p:custDataLst>
          </p:nvPr>
        </p:nvSpPr>
        <p:spPr>
          <a:xfrm>
            <a:off x="11294745" y="6592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椭圆 30"/>
          <p:cNvSpPr/>
          <p:nvPr>
            <p:custDataLst>
              <p:tags r:id="rId64"/>
            </p:custDataLst>
          </p:nvPr>
        </p:nvSpPr>
        <p:spPr>
          <a:xfrm>
            <a:off x="11447145" y="6592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椭圆 31"/>
          <p:cNvSpPr/>
          <p:nvPr>
            <p:custDataLst>
              <p:tags r:id="rId65"/>
            </p:custDataLst>
          </p:nvPr>
        </p:nvSpPr>
        <p:spPr>
          <a:xfrm>
            <a:off x="11599545" y="6592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椭圆 32"/>
          <p:cNvSpPr/>
          <p:nvPr>
            <p:custDataLst>
              <p:tags r:id="rId66"/>
            </p:custDataLst>
          </p:nvPr>
        </p:nvSpPr>
        <p:spPr>
          <a:xfrm>
            <a:off x="11751945" y="6592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椭圆 33"/>
          <p:cNvSpPr/>
          <p:nvPr>
            <p:custDataLst>
              <p:tags r:id="rId67"/>
            </p:custDataLst>
          </p:nvPr>
        </p:nvSpPr>
        <p:spPr>
          <a:xfrm>
            <a:off x="11904345" y="6592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椭圆 34"/>
          <p:cNvSpPr/>
          <p:nvPr>
            <p:custDataLst>
              <p:tags r:id="rId68"/>
            </p:custDataLst>
          </p:nvPr>
        </p:nvSpPr>
        <p:spPr>
          <a:xfrm>
            <a:off x="12056745" y="6592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文本框 1"/>
          <p:cNvSpPr txBox="1"/>
          <p:nvPr>
            <p:custDataLst>
              <p:tags r:id="rId69"/>
            </p:custDataLst>
          </p:nvPr>
        </p:nvSpPr>
        <p:spPr>
          <a:xfrm>
            <a:off x="568325" y="1831975"/>
            <a:ext cx="10852150" cy="4150995"/>
          </a:xfrm>
          <a:prstGeom prst="rect">
            <a:avLst/>
          </a:prstGeom>
          <a:noFill/>
        </p:spPr>
        <p:txBody>
          <a:bodyPr wrap="square" lIns="101600" tIns="0" rIns="82550" bIns="0" rtlCol="0">
            <a:noAutofit/>
          </a:bodyPr>
          <a:lstStyle>
            <a:defPPr>
              <a:defRPr lang="zh-CN"/>
            </a:defPPr>
            <a:lvl1pPr fontAlgn="auto">
              <a:lnSpc>
                <a:spcPct val="130000"/>
              </a:lnSpc>
              <a:spcAft>
                <a:spcPts val="1000"/>
              </a:spcAft>
              <a:defRPr sz="1600" spc="150"/>
            </a:lvl1pPr>
          </a:lstStyle>
          <a:p>
            <a:pPr marL="355600" indent="-355600" fontAlgn="ctr">
              <a:spcBef>
                <a:spcPts val="1000"/>
              </a:spcBef>
              <a:spcAft>
                <a:spcPts val="0"/>
              </a:spcAft>
              <a:buClr>
                <a:schemeClr val="accent2"/>
              </a:buClr>
              <a:buSzPct val="100000"/>
              <a:buFont typeface="WPS-Bullets" pitchFamily="2" charset="0"/>
              <a:buChar char=""/>
            </a:pPr>
            <a:r>
              <a:rPr lang="zh-CN" altLang="en-US" sz="1600" spc="150" dirty="0">
                <a:solidFill>
                  <a:schemeClr val="tx1">
                    <a:lumMod val="75000"/>
                    <a:lumOff val="25000"/>
                  </a:schemeClr>
                </a:solidFill>
                <a:latin typeface="Arial" panose="020B0604020202020204" pitchFamily="34" charset="0"/>
                <a:ea typeface="微软雅黑" panose="020B0503020204020204" charset="-122"/>
                <a:sym typeface="+mn-ea"/>
              </a:rPr>
              <a:t>@media screen and (min-width:1200px){</a:t>
            </a:r>
            <a:endParaRPr lang="zh-CN" altLang="en-US" sz="1600" spc="150" dirty="0">
              <a:solidFill>
                <a:schemeClr val="tx1">
                  <a:lumMod val="75000"/>
                  <a:lumOff val="25000"/>
                </a:schemeClr>
              </a:solidFill>
              <a:latin typeface="Arial" panose="020B0604020202020204" pitchFamily="34" charset="0"/>
              <a:ea typeface="微软雅黑" panose="020B0503020204020204" charset="-122"/>
              <a:sym typeface="+mn-ea"/>
            </a:endParaRPr>
          </a:p>
          <a:p>
            <a:pPr indent="0" fontAlgn="ctr">
              <a:spcBef>
                <a:spcPts val="1000"/>
              </a:spcBef>
              <a:spcAft>
                <a:spcPts val="0"/>
              </a:spcAft>
              <a:buClr>
                <a:schemeClr val="accent2"/>
              </a:buClr>
              <a:buSzPct val="100000"/>
              <a:buFont typeface="WPS-Bullets" pitchFamily="2" charset="0"/>
              <a:buNone/>
            </a:pPr>
            <a:r>
              <a:rPr lang="zh-CN" altLang="en-US" sz="1600" spc="150" dirty="0">
                <a:solidFill>
                  <a:schemeClr val="tx1">
                    <a:lumMod val="75000"/>
                    <a:lumOff val="25000"/>
                  </a:schemeClr>
                </a:solidFill>
                <a:latin typeface="Arial" panose="020B0604020202020204" pitchFamily="34" charset="0"/>
                <a:ea typeface="微软雅黑" panose="020B0503020204020204" charset="-122"/>
                <a:sym typeface="+mn-ea"/>
              </a:rPr>
              <a:t>  /* 大屏幕（</a:t>
            </a:r>
            <a:r>
              <a:rPr lang="zh-CN" altLang="en-US" dirty="0">
                <a:solidFill>
                  <a:schemeClr val="tx1">
                    <a:lumMod val="75000"/>
                    <a:lumOff val="25000"/>
                  </a:schemeClr>
                </a:solidFill>
                <a:latin typeface="Arial" panose="020B0604020202020204" pitchFamily="34" charset="0"/>
                <a:ea typeface="微软雅黑" panose="020B0503020204020204" charset="-122"/>
                <a:sym typeface="+mn-ea"/>
              </a:rPr>
              <a:t> 1280分辨率以上</a:t>
            </a:r>
            <a:r>
              <a:rPr lang="zh-CN" altLang="en-US" sz="1600" spc="150" dirty="0">
                <a:solidFill>
                  <a:schemeClr val="tx1">
                    <a:lumMod val="75000"/>
                    <a:lumOff val="25000"/>
                  </a:schemeClr>
                </a:solidFill>
                <a:latin typeface="Arial" panose="020B0604020202020204" pitchFamily="34" charset="0"/>
                <a:ea typeface="微软雅黑" panose="020B0503020204020204" charset="-122"/>
                <a:sym typeface="+mn-ea"/>
              </a:rPr>
              <a:t>大桌面显示器，大于等于 1200px） */     }</a:t>
            </a:r>
            <a:endParaRPr lang="zh-CN" altLang="en-US" sz="1600" spc="150" dirty="0">
              <a:solidFill>
                <a:schemeClr val="tx1">
                  <a:lumMod val="75000"/>
                  <a:lumOff val="25000"/>
                </a:schemeClr>
              </a:solidFill>
              <a:latin typeface="Arial" panose="020B0604020202020204" pitchFamily="34" charset="0"/>
              <a:ea typeface="微软雅黑" panose="020B0503020204020204" charset="-122"/>
              <a:sym typeface="+mn-ea"/>
            </a:endParaRPr>
          </a:p>
          <a:p>
            <a:pPr marL="355600" indent="-355600" fontAlgn="ctr">
              <a:spcBef>
                <a:spcPts val="1000"/>
              </a:spcBef>
              <a:spcAft>
                <a:spcPts val="0"/>
              </a:spcAft>
              <a:buClr>
                <a:schemeClr val="accent2"/>
              </a:buClr>
              <a:buSzPct val="100000"/>
              <a:buFont typeface="WPS-Bullets" pitchFamily="2" charset="0"/>
              <a:buChar char=""/>
            </a:pPr>
            <a:r>
              <a:rPr lang="zh-CN" altLang="en-US" sz="1600" spc="150" dirty="0">
                <a:solidFill>
                  <a:schemeClr val="tx1">
                    <a:lumMod val="75000"/>
                    <a:lumOff val="25000"/>
                  </a:schemeClr>
                </a:solidFill>
                <a:latin typeface="Arial" panose="020B0604020202020204" pitchFamily="34" charset="0"/>
                <a:ea typeface="微软雅黑" panose="020B0503020204020204" charset="-122"/>
                <a:sym typeface="+mn-ea"/>
              </a:rPr>
              <a:t>@media screen and (min-width: 9</a:t>
            </a:r>
            <a:r>
              <a:rPr lang="en-US" altLang="zh-CN" sz="1600" spc="150" dirty="0">
                <a:solidFill>
                  <a:schemeClr val="tx1">
                    <a:lumMod val="75000"/>
                    <a:lumOff val="25000"/>
                  </a:schemeClr>
                </a:solidFill>
                <a:latin typeface="Arial" panose="020B0604020202020204" pitchFamily="34" charset="0"/>
                <a:ea typeface="微软雅黑" panose="020B0503020204020204" charset="-122"/>
                <a:sym typeface="+mn-ea"/>
              </a:rPr>
              <a:t>92</a:t>
            </a:r>
            <a:r>
              <a:rPr lang="zh-CN" altLang="en-US" sz="1600" spc="150" dirty="0">
                <a:solidFill>
                  <a:schemeClr val="tx1">
                    <a:lumMod val="75000"/>
                    <a:lumOff val="25000"/>
                  </a:schemeClr>
                </a:solidFill>
                <a:latin typeface="Arial" panose="020B0604020202020204" pitchFamily="34" charset="0"/>
                <a:ea typeface="微软雅黑" panose="020B0503020204020204" charset="-122"/>
                <a:sym typeface="+mn-ea"/>
              </a:rPr>
              <a:t>px) and (max-width: 1199px) {</a:t>
            </a:r>
            <a:endParaRPr lang="zh-CN" altLang="en-US" sz="1600" spc="150" dirty="0">
              <a:solidFill>
                <a:schemeClr val="tx1">
                  <a:lumMod val="75000"/>
                  <a:lumOff val="25000"/>
                </a:schemeClr>
              </a:solidFill>
              <a:latin typeface="Arial" panose="020B0604020202020204" pitchFamily="34" charset="0"/>
              <a:ea typeface="微软雅黑" panose="020B0503020204020204" charset="-122"/>
              <a:sym typeface="+mn-ea"/>
            </a:endParaRPr>
          </a:p>
          <a:p>
            <a:pPr indent="0" fontAlgn="ctr">
              <a:spcBef>
                <a:spcPts val="1000"/>
              </a:spcBef>
              <a:spcAft>
                <a:spcPts val="0"/>
              </a:spcAft>
              <a:buClr>
                <a:schemeClr val="accent2"/>
              </a:buClr>
              <a:buSzPct val="100000"/>
              <a:buFont typeface="WPS-Bullets" pitchFamily="2" charset="0"/>
              <a:buNone/>
            </a:pPr>
            <a:r>
              <a:rPr lang="zh-CN" altLang="en-US" sz="1600" spc="150" dirty="0">
                <a:solidFill>
                  <a:schemeClr val="tx1">
                    <a:lumMod val="75000"/>
                    <a:lumOff val="25000"/>
                  </a:schemeClr>
                </a:solidFill>
                <a:latin typeface="Arial" panose="020B0604020202020204" pitchFamily="34" charset="0"/>
                <a:ea typeface="微软雅黑" panose="020B0503020204020204" charset="-122"/>
                <a:sym typeface="+mn-ea"/>
              </a:rPr>
              <a:t>   /* 中等屏幕（1100分辨率，桌面显示器，大于等于 992px） */       }</a:t>
            </a:r>
            <a:endParaRPr lang="zh-CN" altLang="en-US" sz="1600" spc="150" dirty="0">
              <a:solidFill>
                <a:schemeClr val="tx1">
                  <a:lumMod val="75000"/>
                  <a:lumOff val="25000"/>
                </a:schemeClr>
              </a:solidFill>
              <a:latin typeface="Arial" panose="020B0604020202020204" pitchFamily="34" charset="0"/>
              <a:ea typeface="微软雅黑" panose="020B0503020204020204" charset="-122"/>
              <a:sym typeface="+mn-ea"/>
            </a:endParaRPr>
          </a:p>
          <a:p>
            <a:pPr marL="355600" indent="-355600" fontAlgn="ctr">
              <a:spcBef>
                <a:spcPts val="1000"/>
              </a:spcBef>
              <a:spcAft>
                <a:spcPts val="0"/>
              </a:spcAft>
              <a:buClr>
                <a:schemeClr val="accent2"/>
              </a:buClr>
              <a:buSzPct val="100000"/>
              <a:buFont typeface="WPS-Bullets" pitchFamily="2" charset="0"/>
              <a:buChar char=""/>
            </a:pPr>
            <a:r>
              <a:rPr lang="zh-CN" altLang="en-US" sz="1600" spc="150" dirty="0">
                <a:solidFill>
                  <a:schemeClr val="tx1">
                    <a:lumMod val="75000"/>
                    <a:lumOff val="25000"/>
                  </a:schemeClr>
                </a:solidFill>
                <a:latin typeface="Arial" panose="020B0604020202020204" pitchFamily="34" charset="0"/>
                <a:ea typeface="微软雅黑" panose="020B0503020204020204" charset="-122"/>
                <a:sym typeface="+mn-ea"/>
              </a:rPr>
              <a:t>@media screen and (min-width: 768px) and (max-width: 9</a:t>
            </a:r>
            <a:r>
              <a:rPr lang="en-US" altLang="zh-CN" sz="1600" spc="150" dirty="0">
                <a:solidFill>
                  <a:schemeClr val="tx1">
                    <a:lumMod val="75000"/>
                    <a:lumOff val="25000"/>
                  </a:schemeClr>
                </a:solidFill>
                <a:latin typeface="Arial" panose="020B0604020202020204" pitchFamily="34" charset="0"/>
                <a:ea typeface="微软雅黑" panose="020B0503020204020204" charset="-122"/>
                <a:sym typeface="+mn-ea"/>
              </a:rPr>
              <a:t>91</a:t>
            </a:r>
            <a:r>
              <a:rPr lang="zh-CN" altLang="en-US" sz="1600" spc="150" dirty="0">
                <a:solidFill>
                  <a:schemeClr val="tx1">
                    <a:lumMod val="75000"/>
                    <a:lumOff val="25000"/>
                  </a:schemeClr>
                </a:solidFill>
                <a:latin typeface="Arial" panose="020B0604020202020204" pitchFamily="34" charset="0"/>
                <a:ea typeface="微软雅黑" panose="020B0503020204020204" charset="-122"/>
                <a:sym typeface="+mn-ea"/>
              </a:rPr>
              <a:t>px) {</a:t>
            </a:r>
            <a:endParaRPr lang="zh-CN" altLang="en-US" sz="1600" spc="150" dirty="0">
              <a:solidFill>
                <a:schemeClr val="tx1">
                  <a:lumMod val="75000"/>
                  <a:lumOff val="25000"/>
                </a:schemeClr>
              </a:solidFill>
              <a:latin typeface="Arial" panose="020B0604020202020204" pitchFamily="34" charset="0"/>
              <a:ea typeface="微软雅黑" panose="020B0503020204020204" charset="-122"/>
              <a:sym typeface="+mn-ea"/>
            </a:endParaRPr>
          </a:p>
          <a:p>
            <a:pPr indent="0" fontAlgn="ctr">
              <a:spcBef>
                <a:spcPts val="1000"/>
              </a:spcBef>
              <a:spcAft>
                <a:spcPts val="0"/>
              </a:spcAft>
              <a:buClr>
                <a:schemeClr val="accent2"/>
              </a:buClr>
              <a:buSzPct val="100000"/>
              <a:buFont typeface="WPS-Bullets" pitchFamily="2" charset="0"/>
              <a:buNone/>
            </a:pPr>
            <a:r>
              <a:rPr lang="zh-CN" altLang="en-US" sz="1600" spc="150" dirty="0">
                <a:solidFill>
                  <a:schemeClr val="tx1">
                    <a:lumMod val="75000"/>
                    <a:lumOff val="25000"/>
                  </a:schemeClr>
                </a:solidFill>
                <a:latin typeface="Arial" panose="020B0604020202020204" pitchFamily="34" charset="0"/>
                <a:ea typeface="微软雅黑" panose="020B0503020204020204" charset="-122"/>
                <a:sym typeface="+mn-ea"/>
              </a:rPr>
              <a:t>   /* 小屏幕（720分辨率，平板，大于等于 768px） */        </a:t>
            </a:r>
            <a:r>
              <a:rPr lang="en-US" altLang="zh-CN" sz="1600" spc="150" dirty="0">
                <a:solidFill>
                  <a:schemeClr val="tx1">
                    <a:lumMod val="75000"/>
                    <a:lumOff val="25000"/>
                  </a:schemeClr>
                </a:solidFill>
                <a:latin typeface="Arial" panose="020B0604020202020204" pitchFamily="34" charset="0"/>
                <a:ea typeface="微软雅黑" panose="020B0503020204020204" charset="-122"/>
                <a:sym typeface="+mn-ea"/>
              </a:rPr>
              <a:t>}</a:t>
            </a:r>
            <a:endParaRPr lang="en-US" altLang="zh-CN" sz="1600" spc="150" dirty="0">
              <a:solidFill>
                <a:schemeClr val="tx1">
                  <a:lumMod val="75000"/>
                  <a:lumOff val="25000"/>
                </a:schemeClr>
              </a:solidFill>
              <a:latin typeface="Arial" panose="020B0604020202020204" pitchFamily="34" charset="0"/>
              <a:ea typeface="微软雅黑" panose="020B0503020204020204" charset="-122"/>
              <a:sym typeface="+mn-ea"/>
            </a:endParaRPr>
          </a:p>
          <a:p>
            <a:pPr marL="355600" indent="-355600" fontAlgn="ctr">
              <a:spcBef>
                <a:spcPts val="1000"/>
              </a:spcBef>
              <a:spcAft>
                <a:spcPts val="0"/>
              </a:spcAft>
              <a:buClr>
                <a:schemeClr val="accent2"/>
              </a:buClr>
              <a:buSzPct val="100000"/>
              <a:buFont typeface="WPS-Bullets" pitchFamily="2" charset="0"/>
              <a:buChar char=""/>
            </a:pPr>
            <a:r>
              <a:rPr lang="zh-CN" altLang="en-US" dirty="0">
                <a:solidFill>
                  <a:schemeClr val="tx1">
                    <a:lumMod val="75000"/>
                    <a:lumOff val="25000"/>
                  </a:schemeClr>
                </a:solidFill>
                <a:latin typeface="Arial" panose="020B0604020202020204" pitchFamily="34" charset="0"/>
                <a:ea typeface="微软雅黑" panose="020B0503020204020204" charset="-122"/>
                <a:sym typeface="+mn-ea"/>
              </a:rPr>
              <a:t>@media only screen and (min-width: 480px) and (max-width: 767px){</a:t>
            </a:r>
            <a:endParaRPr lang="zh-CN" altLang="en-US" dirty="0">
              <a:solidFill>
                <a:schemeClr val="tx1">
                  <a:lumMod val="75000"/>
                  <a:lumOff val="25000"/>
                </a:schemeClr>
              </a:solidFill>
              <a:latin typeface="Arial" panose="020B0604020202020204" pitchFamily="34" charset="0"/>
              <a:ea typeface="微软雅黑" panose="020B0503020204020204" charset="-122"/>
              <a:sym typeface="+mn-ea"/>
            </a:endParaRPr>
          </a:p>
          <a:p>
            <a:pPr indent="0" fontAlgn="ctr">
              <a:spcBef>
                <a:spcPts val="1000"/>
              </a:spcBef>
              <a:spcAft>
                <a:spcPts val="0"/>
              </a:spcAft>
              <a:buClr>
                <a:schemeClr val="accent2"/>
              </a:buClr>
              <a:buSzPct val="100000"/>
              <a:buFont typeface="WPS-Bullets" pitchFamily="2" charset="0"/>
              <a:buNone/>
            </a:pPr>
            <a:r>
              <a:rPr lang="zh-CN" altLang="en-US" dirty="0">
                <a:solidFill>
                  <a:schemeClr val="tx1">
                    <a:lumMod val="75000"/>
                    <a:lumOff val="25000"/>
                  </a:schemeClr>
                </a:solidFill>
                <a:latin typeface="Arial" panose="020B0604020202020204" pitchFamily="34" charset="0"/>
                <a:ea typeface="微软雅黑" panose="020B0503020204020204" charset="-122"/>
                <a:sym typeface="+mn-ea"/>
              </a:rPr>
              <a:t>      /* 超小屏幕（手机，小于 768px） */        </a:t>
            </a:r>
            <a:r>
              <a:rPr lang="en-US" altLang="zh-CN" dirty="0">
                <a:solidFill>
                  <a:schemeClr val="tx1">
                    <a:lumMod val="75000"/>
                    <a:lumOff val="25000"/>
                  </a:schemeClr>
                </a:solidFill>
                <a:latin typeface="Arial" panose="020B0604020202020204" pitchFamily="34" charset="0"/>
                <a:ea typeface="微软雅黑" panose="020B0503020204020204" charset="-122"/>
                <a:sym typeface="+mn-ea"/>
              </a:rPr>
              <a:t>}</a:t>
            </a:r>
            <a:endParaRPr lang="en-US" altLang="zh-CN" dirty="0">
              <a:solidFill>
                <a:schemeClr val="tx1">
                  <a:lumMod val="75000"/>
                  <a:lumOff val="25000"/>
                </a:schemeClr>
              </a:solidFill>
              <a:latin typeface="Arial" panose="020B0604020202020204" pitchFamily="34" charset="0"/>
              <a:ea typeface="微软雅黑" panose="020B0503020204020204" charset="-122"/>
              <a:sym typeface="+mn-ea"/>
            </a:endParaRPr>
          </a:p>
          <a:p>
            <a:pPr marL="355600" indent="-355600" fontAlgn="ctr">
              <a:spcBef>
                <a:spcPts val="1000"/>
              </a:spcBef>
              <a:spcAft>
                <a:spcPts val="0"/>
              </a:spcAft>
              <a:buClr>
                <a:schemeClr val="accent2"/>
              </a:buClr>
              <a:buSzPct val="100000"/>
              <a:buFont typeface="WPS-Bullets" pitchFamily="2" charset="0"/>
              <a:buChar char=""/>
            </a:pPr>
            <a:r>
              <a:rPr lang="zh-CN" altLang="en-US" dirty="0">
                <a:solidFill>
                  <a:schemeClr val="tx1">
                    <a:lumMod val="75000"/>
                    <a:lumOff val="25000"/>
                  </a:schemeClr>
                </a:solidFill>
                <a:latin typeface="Arial" panose="020B0604020202020204" pitchFamily="34" charset="0"/>
                <a:ea typeface="微软雅黑" panose="020B0503020204020204" charset="-122"/>
                <a:sym typeface="+mn-ea"/>
              </a:rPr>
              <a:t>@media only screen and (max-width: 479px) {   /*440分辨率以下（小于479px） */      </a:t>
            </a:r>
            <a:r>
              <a:rPr lang="en-US" altLang="zh-CN" dirty="0">
                <a:solidFill>
                  <a:schemeClr val="tx1">
                    <a:lumMod val="75000"/>
                    <a:lumOff val="25000"/>
                  </a:schemeClr>
                </a:solidFill>
                <a:latin typeface="Arial" panose="020B0604020202020204" pitchFamily="34" charset="0"/>
                <a:ea typeface="微软雅黑" panose="020B0503020204020204" charset="-122"/>
                <a:sym typeface="+mn-ea"/>
              </a:rPr>
              <a:t>}</a:t>
            </a:r>
            <a:endParaRPr lang="en-US" altLang="zh-CN" dirty="0">
              <a:solidFill>
                <a:schemeClr val="tx1">
                  <a:lumMod val="75000"/>
                  <a:lumOff val="25000"/>
                </a:schemeClr>
              </a:solidFill>
              <a:latin typeface="Arial" panose="020B0604020202020204" pitchFamily="34" charset="0"/>
              <a:ea typeface="微软雅黑" panose="020B0503020204020204" charset="-122"/>
              <a:sym typeface="+mn-ea"/>
            </a:endParaRPr>
          </a:p>
          <a:p>
            <a:pPr indent="0" fontAlgn="ctr">
              <a:spcBef>
                <a:spcPts val="1000"/>
              </a:spcBef>
              <a:spcAft>
                <a:spcPts val="0"/>
              </a:spcAft>
              <a:buClr>
                <a:schemeClr val="accent2"/>
              </a:buClr>
              <a:buSzPct val="100000"/>
              <a:buFont typeface="WPS-Bullets" pitchFamily="2" charset="0"/>
              <a:buNone/>
            </a:pPr>
            <a:endParaRPr lang="zh-CN" altLang="en-US" dirty="0">
              <a:solidFill>
                <a:schemeClr val="tx1">
                  <a:lumMod val="75000"/>
                  <a:lumOff val="25000"/>
                </a:schemeClr>
              </a:solidFill>
              <a:latin typeface="Arial" panose="020B0604020202020204" pitchFamily="34" charset="0"/>
              <a:ea typeface="微软雅黑" panose="020B0503020204020204" charset="-122"/>
              <a:sym typeface="+mn-ea"/>
            </a:endParaRPr>
          </a:p>
          <a:p>
            <a:pPr indent="0" fontAlgn="ctr">
              <a:spcBef>
                <a:spcPts val="1000"/>
              </a:spcBef>
              <a:spcAft>
                <a:spcPts val="0"/>
              </a:spcAft>
              <a:buClr>
                <a:schemeClr val="accent2"/>
              </a:buClr>
              <a:buSzPct val="100000"/>
              <a:buFont typeface="WPS-Bullets" pitchFamily="2" charset="0"/>
              <a:buNone/>
            </a:pPr>
            <a:endParaRPr lang="en-US" altLang="zh-CN" sz="1600" spc="150" dirty="0">
              <a:solidFill>
                <a:schemeClr val="tx1">
                  <a:lumMod val="75000"/>
                  <a:lumOff val="25000"/>
                </a:schemeClr>
              </a:solidFill>
              <a:latin typeface="Arial" panose="020B0604020202020204" pitchFamily="34" charset="0"/>
              <a:ea typeface="微软雅黑" panose="020B0503020204020204" charset="-122"/>
              <a:sym typeface="+mn-ea"/>
            </a:endParaRPr>
          </a:p>
        </p:txBody>
      </p:sp>
      <p:sp>
        <p:nvSpPr>
          <p:cNvPr id="14" name="任意多边形: 形状 13"/>
          <p:cNvSpPr>
            <a:spLocks noChangeAspect="1"/>
          </p:cNvSpPr>
          <p:nvPr>
            <p:custDataLst>
              <p:tags r:id="rId70"/>
            </p:custDataLst>
          </p:nvPr>
        </p:nvSpPr>
        <p:spPr>
          <a:xfrm rot="10800000">
            <a:off x="11371580" y="776605"/>
            <a:ext cx="281940" cy="572135"/>
          </a:xfrm>
          <a:custGeom>
            <a:avLst/>
            <a:gdLst>
              <a:gd name="connsiteX0" fmla="*/ 207995 w 295275"/>
              <a:gd name="connsiteY0" fmla="*/ 0 h 599179"/>
              <a:gd name="connsiteX1" fmla="*/ 218480 w 295275"/>
              <a:gd name="connsiteY1" fmla="*/ 17025 h 599179"/>
              <a:gd name="connsiteX2" fmla="*/ 263922 w 295275"/>
              <a:gd name="connsiteY2" fmla="*/ 59952 h 599179"/>
              <a:gd name="connsiteX3" fmla="*/ 275967 w 295275"/>
              <a:gd name="connsiteY3" fmla="*/ 66705 h 599179"/>
              <a:gd name="connsiteX4" fmla="*/ 258864 w 295275"/>
              <a:gd name="connsiteY4" fmla="*/ 77309 h 599179"/>
              <a:gd name="connsiteX5" fmla="*/ 164932 w 295275"/>
              <a:gd name="connsiteY5" fmla="*/ 229252 h 599179"/>
              <a:gd name="connsiteX6" fmla="*/ 145322 w 295275"/>
              <a:gd name="connsiteY6" fmla="*/ 303904 h 599179"/>
              <a:gd name="connsiteX7" fmla="*/ 295275 w 295275"/>
              <a:gd name="connsiteY7" fmla="*/ 303904 h 599179"/>
              <a:gd name="connsiteX8" fmla="*/ 295275 w 295275"/>
              <a:gd name="connsiteY8" fmla="*/ 599179 h 599179"/>
              <a:gd name="connsiteX9" fmla="*/ 0 w 295275"/>
              <a:gd name="connsiteY9" fmla="*/ 599179 h 599179"/>
              <a:gd name="connsiteX10" fmla="*/ 0 w 295275"/>
              <a:gd name="connsiteY10" fmla="*/ 303904 h 599179"/>
              <a:gd name="connsiteX11" fmla="*/ 5952 w 295275"/>
              <a:gd name="connsiteY11" fmla="*/ 269304 h 599179"/>
              <a:gd name="connsiteX12" fmla="*/ 204540 w 295275"/>
              <a:gd name="connsiteY12" fmla="*/ 547 h 599179"/>
              <a:gd name="connsiteX0-1" fmla="*/ 207995 w 295275"/>
              <a:gd name="connsiteY0-2" fmla="*/ 0 h 599179"/>
              <a:gd name="connsiteX1-3" fmla="*/ 218480 w 295275"/>
              <a:gd name="connsiteY1-4" fmla="*/ 17025 h 599179"/>
              <a:gd name="connsiteX2-5" fmla="*/ 263922 w 295275"/>
              <a:gd name="connsiteY2-6" fmla="*/ 59952 h 599179"/>
              <a:gd name="connsiteX3-7" fmla="*/ 275967 w 295275"/>
              <a:gd name="connsiteY3-8" fmla="*/ 66705 h 599179"/>
              <a:gd name="connsiteX4-9" fmla="*/ 258864 w 295275"/>
              <a:gd name="connsiteY4-10" fmla="*/ 77309 h 599179"/>
              <a:gd name="connsiteX5-11" fmla="*/ 164932 w 295275"/>
              <a:gd name="connsiteY5-12" fmla="*/ 229252 h 599179"/>
              <a:gd name="connsiteX6-13" fmla="*/ 152376 w 295275"/>
              <a:gd name="connsiteY6-14" fmla="*/ 303904 h 599179"/>
              <a:gd name="connsiteX7-15" fmla="*/ 295275 w 295275"/>
              <a:gd name="connsiteY7-16" fmla="*/ 303904 h 599179"/>
              <a:gd name="connsiteX8-17" fmla="*/ 295275 w 295275"/>
              <a:gd name="connsiteY8-18" fmla="*/ 599179 h 599179"/>
              <a:gd name="connsiteX9-19" fmla="*/ 0 w 295275"/>
              <a:gd name="connsiteY9-20" fmla="*/ 599179 h 599179"/>
              <a:gd name="connsiteX10-21" fmla="*/ 0 w 295275"/>
              <a:gd name="connsiteY10-22" fmla="*/ 303904 h 599179"/>
              <a:gd name="connsiteX11-23" fmla="*/ 5952 w 295275"/>
              <a:gd name="connsiteY11-24" fmla="*/ 269304 h 599179"/>
              <a:gd name="connsiteX12-25" fmla="*/ 204540 w 295275"/>
              <a:gd name="connsiteY12-26" fmla="*/ 547 h 599179"/>
              <a:gd name="connsiteX13" fmla="*/ 207995 w 295275"/>
              <a:gd name="connsiteY13" fmla="*/ 0 h 599179"/>
              <a:gd name="connsiteX0-27" fmla="*/ 207995 w 295275"/>
              <a:gd name="connsiteY0-28" fmla="*/ 0 h 599179"/>
              <a:gd name="connsiteX1-29" fmla="*/ 218480 w 295275"/>
              <a:gd name="connsiteY1-30" fmla="*/ 17025 h 599179"/>
              <a:gd name="connsiteX2-31" fmla="*/ 263922 w 295275"/>
              <a:gd name="connsiteY2-32" fmla="*/ 59952 h 599179"/>
              <a:gd name="connsiteX3-33" fmla="*/ 275967 w 295275"/>
              <a:gd name="connsiteY3-34" fmla="*/ 66705 h 599179"/>
              <a:gd name="connsiteX4-35" fmla="*/ 258864 w 295275"/>
              <a:gd name="connsiteY4-36" fmla="*/ 77309 h 599179"/>
              <a:gd name="connsiteX5-37" fmla="*/ 164932 w 295275"/>
              <a:gd name="connsiteY5-38" fmla="*/ 229252 h 599179"/>
              <a:gd name="connsiteX6-39" fmla="*/ 152376 w 295275"/>
              <a:gd name="connsiteY6-40" fmla="*/ 303904 h 599179"/>
              <a:gd name="connsiteX7-41" fmla="*/ 295275 w 295275"/>
              <a:gd name="connsiteY7-42" fmla="*/ 303904 h 599179"/>
              <a:gd name="connsiteX8-43" fmla="*/ 295275 w 295275"/>
              <a:gd name="connsiteY8-44" fmla="*/ 599179 h 599179"/>
              <a:gd name="connsiteX9-45" fmla="*/ 0 w 295275"/>
              <a:gd name="connsiteY9-46" fmla="*/ 599179 h 599179"/>
              <a:gd name="connsiteX10-47" fmla="*/ 0 w 295275"/>
              <a:gd name="connsiteY10-48" fmla="*/ 303904 h 599179"/>
              <a:gd name="connsiteX11-49" fmla="*/ 5952 w 295275"/>
              <a:gd name="connsiteY11-50" fmla="*/ 269304 h 599179"/>
              <a:gd name="connsiteX12-51" fmla="*/ 204540 w 295275"/>
              <a:gd name="connsiteY12-52" fmla="*/ 547 h 599179"/>
              <a:gd name="connsiteX13-53" fmla="*/ 207995 w 295275"/>
              <a:gd name="connsiteY13-54" fmla="*/ 0 h 599179"/>
              <a:gd name="connsiteX0-55" fmla="*/ 207995 w 295275"/>
              <a:gd name="connsiteY0-56" fmla="*/ 0 h 599179"/>
              <a:gd name="connsiteX1-57" fmla="*/ 218480 w 295275"/>
              <a:gd name="connsiteY1-58" fmla="*/ 17025 h 599179"/>
              <a:gd name="connsiteX2-59" fmla="*/ 263922 w 295275"/>
              <a:gd name="connsiteY2-60" fmla="*/ 59952 h 599179"/>
              <a:gd name="connsiteX3-61" fmla="*/ 275967 w 295275"/>
              <a:gd name="connsiteY3-62" fmla="*/ 66705 h 599179"/>
              <a:gd name="connsiteX4-63" fmla="*/ 258864 w 295275"/>
              <a:gd name="connsiteY4-64" fmla="*/ 77309 h 599179"/>
              <a:gd name="connsiteX5-65" fmla="*/ 164932 w 295275"/>
              <a:gd name="connsiteY5-66" fmla="*/ 229252 h 599179"/>
              <a:gd name="connsiteX6-67" fmla="*/ 152376 w 295275"/>
              <a:gd name="connsiteY6-68" fmla="*/ 303904 h 599179"/>
              <a:gd name="connsiteX7-69" fmla="*/ 295275 w 295275"/>
              <a:gd name="connsiteY7-70" fmla="*/ 303904 h 599179"/>
              <a:gd name="connsiteX8-71" fmla="*/ 295275 w 295275"/>
              <a:gd name="connsiteY8-72" fmla="*/ 599179 h 599179"/>
              <a:gd name="connsiteX9-73" fmla="*/ 0 w 295275"/>
              <a:gd name="connsiteY9-74" fmla="*/ 599179 h 599179"/>
              <a:gd name="connsiteX10-75" fmla="*/ 0 w 295275"/>
              <a:gd name="connsiteY10-76" fmla="*/ 303904 h 599179"/>
              <a:gd name="connsiteX11-77" fmla="*/ 5952 w 295275"/>
              <a:gd name="connsiteY11-78" fmla="*/ 269304 h 599179"/>
              <a:gd name="connsiteX12-79" fmla="*/ 204540 w 295275"/>
              <a:gd name="connsiteY12-80" fmla="*/ 547 h 599179"/>
              <a:gd name="connsiteX13-81" fmla="*/ 207995 w 295275"/>
              <a:gd name="connsiteY13-82" fmla="*/ 0 h 599179"/>
              <a:gd name="connsiteX0-83" fmla="*/ 207995 w 295275"/>
              <a:gd name="connsiteY0-84" fmla="*/ 0 h 599179"/>
              <a:gd name="connsiteX1-85" fmla="*/ 218480 w 295275"/>
              <a:gd name="connsiteY1-86" fmla="*/ 17025 h 599179"/>
              <a:gd name="connsiteX2-87" fmla="*/ 263922 w 295275"/>
              <a:gd name="connsiteY2-88" fmla="*/ 59952 h 599179"/>
              <a:gd name="connsiteX3-89" fmla="*/ 275967 w 295275"/>
              <a:gd name="connsiteY3-90" fmla="*/ 66705 h 599179"/>
              <a:gd name="connsiteX4-91" fmla="*/ 258864 w 295275"/>
              <a:gd name="connsiteY4-92" fmla="*/ 77309 h 599179"/>
              <a:gd name="connsiteX5-93" fmla="*/ 152376 w 295275"/>
              <a:gd name="connsiteY5-94" fmla="*/ 303904 h 599179"/>
              <a:gd name="connsiteX6-95" fmla="*/ 295275 w 295275"/>
              <a:gd name="connsiteY6-96" fmla="*/ 303904 h 599179"/>
              <a:gd name="connsiteX7-97" fmla="*/ 295275 w 295275"/>
              <a:gd name="connsiteY7-98" fmla="*/ 599179 h 599179"/>
              <a:gd name="connsiteX8-99" fmla="*/ 0 w 295275"/>
              <a:gd name="connsiteY8-100" fmla="*/ 599179 h 599179"/>
              <a:gd name="connsiteX9-101" fmla="*/ 0 w 295275"/>
              <a:gd name="connsiteY9-102" fmla="*/ 303904 h 599179"/>
              <a:gd name="connsiteX10-103" fmla="*/ 5952 w 295275"/>
              <a:gd name="connsiteY10-104" fmla="*/ 269304 h 599179"/>
              <a:gd name="connsiteX11-105" fmla="*/ 204540 w 295275"/>
              <a:gd name="connsiteY11-106" fmla="*/ 547 h 599179"/>
              <a:gd name="connsiteX12-107" fmla="*/ 207995 w 295275"/>
              <a:gd name="connsiteY12-108" fmla="*/ 0 h 599179"/>
              <a:gd name="connsiteX0-109" fmla="*/ 207995 w 295275"/>
              <a:gd name="connsiteY0-110" fmla="*/ 0 h 599179"/>
              <a:gd name="connsiteX1-111" fmla="*/ 218480 w 295275"/>
              <a:gd name="connsiteY1-112" fmla="*/ 17025 h 599179"/>
              <a:gd name="connsiteX2-113" fmla="*/ 263922 w 295275"/>
              <a:gd name="connsiteY2-114" fmla="*/ 59952 h 599179"/>
              <a:gd name="connsiteX3-115" fmla="*/ 275967 w 295275"/>
              <a:gd name="connsiteY3-116" fmla="*/ 66705 h 599179"/>
              <a:gd name="connsiteX4-117" fmla="*/ 258864 w 295275"/>
              <a:gd name="connsiteY4-118" fmla="*/ 77309 h 599179"/>
              <a:gd name="connsiteX5-119" fmla="*/ 152376 w 295275"/>
              <a:gd name="connsiteY5-120" fmla="*/ 303904 h 599179"/>
              <a:gd name="connsiteX6-121" fmla="*/ 295275 w 295275"/>
              <a:gd name="connsiteY6-122" fmla="*/ 303904 h 599179"/>
              <a:gd name="connsiteX7-123" fmla="*/ 295275 w 295275"/>
              <a:gd name="connsiteY7-124" fmla="*/ 599179 h 599179"/>
              <a:gd name="connsiteX8-125" fmla="*/ 0 w 295275"/>
              <a:gd name="connsiteY8-126" fmla="*/ 599179 h 599179"/>
              <a:gd name="connsiteX9-127" fmla="*/ 0 w 295275"/>
              <a:gd name="connsiteY9-128" fmla="*/ 303904 h 599179"/>
              <a:gd name="connsiteX10-129" fmla="*/ 5952 w 295275"/>
              <a:gd name="connsiteY10-130" fmla="*/ 269304 h 599179"/>
              <a:gd name="connsiteX11-131" fmla="*/ 204540 w 295275"/>
              <a:gd name="connsiteY11-132" fmla="*/ 547 h 599179"/>
              <a:gd name="connsiteX12-133" fmla="*/ 207995 w 295275"/>
              <a:gd name="connsiteY12-134" fmla="*/ 0 h 599179"/>
              <a:gd name="connsiteX0-135" fmla="*/ 207995 w 295275"/>
              <a:gd name="connsiteY0-136" fmla="*/ 0 h 599179"/>
              <a:gd name="connsiteX1-137" fmla="*/ 218480 w 295275"/>
              <a:gd name="connsiteY1-138" fmla="*/ 17025 h 599179"/>
              <a:gd name="connsiteX2-139" fmla="*/ 263922 w 295275"/>
              <a:gd name="connsiteY2-140" fmla="*/ 59952 h 599179"/>
              <a:gd name="connsiteX3-141" fmla="*/ 275967 w 295275"/>
              <a:gd name="connsiteY3-142" fmla="*/ 66705 h 599179"/>
              <a:gd name="connsiteX4-143" fmla="*/ 152376 w 295275"/>
              <a:gd name="connsiteY4-144" fmla="*/ 303904 h 599179"/>
              <a:gd name="connsiteX5-145" fmla="*/ 295275 w 295275"/>
              <a:gd name="connsiteY5-146" fmla="*/ 303904 h 599179"/>
              <a:gd name="connsiteX6-147" fmla="*/ 295275 w 295275"/>
              <a:gd name="connsiteY6-148" fmla="*/ 599179 h 599179"/>
              <a:gd name="connsiteX7-149" fmla="*/ 0 w 295275"/>
              <a:gd name="connsiteY7-150" fmla="*/ 599179 h 599179"/>
              <a:gd name="connsiteX8-151" fmla="*/ 0 w 295275"/>
              <a:gd name="connsiteY8-152" fmla="*/ 303904 h 599179"/>
              <a:gd name="connsiteX9-153" fmla="*/ 5952 w 295275"/>
              <a:gd name="connsiteY9-154" fmla="*/ 269304 h 599179"/>
              <a:gd name="connsiteX10-155" fmla="*/ 204540 w 295275"/>
              <a:gd name="connsiteY10-156" fmla="*/ 547 h 599179"/>
              <a:gd name="connsiteX11-157" fmla="*/ 207995 w 295275"/>
              <a:gd name="connsiteY11-158" fmla="*/ 0 h 599179"/>
              <a:gd name="connsiteX0-159" fmla="*/ 207995 w 295275"/>
              <a:gd name="connsiteY0-160" fmla="*/ 0 h 599179"/>
              <a:gd name="connsiteX1-161" fmla="*/ 218480 w 295275"/>
              <a:gd name="connsiteY1-162" fmla="*/ 17025 h 599179"/>
              <a:gd name="connsiteX2-163" fmla="*/ 263922 w 295275"/>
              <a:gd name="connsiteY2-164" fmla="*/ 59952 h 599179"/>
              <a:gd name="connsiteX3-165" fmla="*/ 275967 w 295275"/>
              <a:gd name="connsiteY3-166" fmla="*/ 66705 h 599179"/>
              <a:gd name="connsiteX4-167" fmla="*/ 152376 w 295275"/>
              <a:gd name="connsiteY4-168" fmla="*/ 303904 h 599179"/>
              <a:gd name="connsiteX5-169" fmla="*/ 295275 w 295275"/>
              <a:gd name="connsiteY5-170" fmla="*/ 303904 h 599179"/>
              <a:gd name="connsiteX6-171" fmla="*/ 295275 w 295275"/>
              <a:gd name="connsiteY6-172" fmla="*/ 599179 h 599179"/>
              <a:gd name="connsiteX7-173" fmla="*/ 0 w 295275"/>
              <a:gd name="connsiteY7-174" fmla="*/ 599179 h 599179"/>
              <a:gd name="connsiteX8-175" fmla="*/ 0 w 295275"/>
              <a:gd name="connsiteY8-176" fmla="*/ 303904 h 599179"/>
              <a:gd name="connsiteX9-177" fmla="*/ 5952 w 295275"/>
              <a:gd name="connsiteY9-178" fmla="*/ 269304 h 599179"/>
              <a:gd name="connsiteX10-179" fmla="*/ 204540 w 295275"/>
              <a:gd name="connsiteY10-180" fmla="*/ 547 h 599179"/>
              <a:gd name="connsiteX11-181" fmla="*/ 207995 w 295275"/>
              <a:gd name="connsiteY11-182" fmla="*/ 0 h 599179"/>
              <a:gd name="connsiteX0-183" fmla="*/ 207995 w 295275"/>
              <a:gd name="connsiteY0-184" fmla="*/ 0 h 599179"/>
              <a:gd name="connsiteX1-185" fmla="*/ 218480 w 295275"/>
              <a:gd name="connsiteY1-186" fmla="*/ 17025 h 599179"/>
              <a:gd name="connsiteX2-187" fmla="*/ 263922 w 295275"/>
              <a:gd name="connsiteY2-188" fmla="*/ 59952 h 599179"/>
              <a:gd name="connsiteX3-189" fmla="*/ 275967 w 295275"/>
              <a:gd name="connsiteY3-190" fmla="*/ 66705 h 599179"/>
              <a:gd name="connsiteX4-191" fmla="*/ 152376 w 295275"/>
              <a:gd name="connsiteY4-192" fmla="*/ 303904 h 599179"/>
              <a:gd name="connsiteX5-193" fmla="*/ 295275 w 295275"/>
              <a:gd name="connsiteY5-194" fmla="*/ 303904 h 599179"/>
              <a:gd name="connsiteX6-195" fmla="*/ 295275 w 295275"/>
              <a:gd name="connsiteY6-196" fmla="*/ 599179 h 599179"/>
              <a:gd name="connsiteX7-197" fmla="*/ 0 w 295275"/>
              <a:gd name="connsiteY7-198" fmla="*/ 599179 h 599179"/>
              <a:gd name="connsiteX8-199" fmla="*/ 0 w 295275"/>
              <a:gd name="connsiteY8-200" fmla="*/ 303904 h 599179"/>
              <a:gd name="connsiteX9-201" fmla="*/ 5952 w 295275"/>
              <a:gd name="connsiteY9-202" fmla="*/ 269304 h 599179"/>
              <a:gd name="connsiteX10-203" fmla="*/ 204540 w 295275"/>
              <a:gd name="connsiteY10-204" fmla="*/ 547 h 599179"/>
              <a:gd name="connsiteX11-205" fmla="*/ 207995 w 295275"/>
              <a:gd name="connsiteY11-206" fmla="*/ 0 h 599179"/>
              <a:gd name="connsiteX0-207" fmla="*/ 207995 w 295275"/>
              <a:gd name="connsiteY0-208" fmla="*/ 0 h 599179"/>
              <a:gd name="connsiteX1-209" fmla="*/ 218480 w 295275"/>
              <a:gd name="connsiteY1-210" fmla="*/ 17025 h 599179"/>
              <a:gd name="connsiteX2-211" fmla="*/ 263922 w 295275"/>
              <a:gd name="connsiteY2-212" fmla="*/ 59952 h 599179"/>
              <a:gd name="connsiteX3-213" fmla="*/ 275967 w 295275"/>
              <a:gd name="connsiteY3-214" fmla="*/ 66705 h 599179"/>
              <a:gd name="connsiteX4-215" fmla="*/ 152376 w 295275"/>
              <a:gd name="connsiteY4-216" fmla="*/ 303904 h 599179"/>
              <a:gd name="connsiteX5-217" fmla="*/ 295275 w 295275"/>
              <a:gd name="connsiteY5-218" fmla="*/ 303904 h 599179"/>
              <a:gd name="connsiteX6-219" fmla="*/ 295275 w 295275"/>
              <a:gd name="connsiteY6-220" fmla="*/ 599179 h 599179"/>
              <a:gd name="connsiteX7-221" fmla="*/ 0 w 295275"/>
              <a:gd name="connsiteY7-222" fmla="*/ 599179 h 599179"/>
              <a:gd name="connsiteX8-223" fmla="*/ 0 w 295275"/>
              <a:gd name="connsiteY8-224" fmla="*/ 303904 h 599179"/>
              <a:gd name="connsiteX9-225" fmla="*/ 5952 w 295275"/>
              <a:gd name="connsiteY9-226" fmla="*/ 269304 h 599179"/>
              <a:gd name="connsiteX10-227" fmla="*/ 204540 w 295275"/>
              <a:gd name="connsiteY10-228" fmla="*/ 547 h 599179"/>
              <a:gd name="connsiteX11-229" fmla="*/ 207995 w 295275"/>
              <a:gd name="connsiteY11-230" fmla="*/ 0 h 599179"/>
              <a:gd name="connsiteX0-231" fmla="*/ 207995 w 295275"/>
              <a:gd name="connsiteY0-232" fmla="*/ 0 h 599179"/>
              <a:gd name="connsiteX1-233" fmla="*/ 218480 w 295275"/>
              <a:gd name="connsiteY1-234" fmla="*/ 17025 h 599179"/>
              <a:gd name="connsiteX2-235" fmla="*/ 263922 w 295275"/>
              <a:gd name="connsiteY2-236" fmla="*/ 59952 h 599179"/>
              <a:gd name="connsiteX3-237" fmla="*/ 275967 w 295275"/>
              <a:gd name="connsiteY3-238" fmla="*/ 66705 h 599179"/>
              <a:gd name="connsiteX4-239" fmla="*/ 152376 w 295275"/>
              <a:gd name="connsiteY4-240" fmla="*/ 303904 h 599179"/>
              <a:gd name="connsiteX5-241" fmla="*/ 295275 w 295275"/>
              <a:gd name="connsiteY5-242" fmla="*/ 303904 h 599179"/>
              <a:gd name="connsiteX6-243" fmla="*/ 295275 w 295275"/>
              <a:gd name="connsiteY6-244" fmla="*/ 599179 h 599179"/>
              <a:gd name="connsiteX7-245" fmla="*/ 0 w 295275"/>
              <a:gd name="connsiteY7-246" fmla="*/ 599179 h 599179"/>
              <a:gd name="connsiteX8-247" fmla="*/ 0 w 295275"/>
              <a:gd name="connsiteY8-248" fmla="*/ 303904 h 599179"/>
              <a:gd name="connsiteX9-249" fmla="*/ 204540 w 295275"/>
              <a:gd name="connsiteY9-250" fmla="*/ 547 h 599179"/>
              <a:gd name="connsiteX10-251" fmla="*/ 207995 w 295275"/>
              <a:gd name="connsiteY10-252" fmla="*/ 0 h 599179"/>
              <a:gd name="connsiteX0-253" fmla="*/ 207995 w 295275"/>
              <a:gd name="connsiteY0-254" fmla="*/ 0 h 599179"/>
              <a:gd name="connsiteX1-255" fmla="*/ 218480 w 295275"/>
              <a:gd name="connsiteY1-256" fmla="*/ 17025 h 599179"/>
              <a:gd name="connsiteX2-257" fmla="*/ 263922 w 295275"/>
              <a:gd name="connsiteY2-258" fmla="*/ 59952 h 599179"/>
              <a:gd name="connsiteX3-259" fmla="*/ 275967 w 295275"/>
              <a:gd name="connsiteY3-260" fmla="*/ 66705 h 599179"/>
              <a:gd name="connsiteX4-261" fmla="*/ 152376 w 295275"/>
              <a:gd name="connsiteY4-262" fmla="*/ 303904 h 599179"/>
              <a:gd name="connsiteX5-263" fmla="*/ 295275 w 295275"/>
              <a:gd name="connsiteY5-264" fmla="*/ 303904 h 599179"/>
              <a:gd name="connsiteX6-265" fmla="*/ 295275 w 295275"/>
              <a:gd name="connsiteY6-266" fmla="*/ 599179 h 599179"/>
              <a:gd name="connsiteX7-267" fmla="*/ 0 w 295275"/>
              <a:gd name="connsiteY7-268" fmla="*/ 599179 h 599179"/>
              <a:gd name="connsiteX8-269" fmla="*/ 0 w 295275"/>
              <a:gd name="connsiteY8-270" fmla="*/ 303904 h 599179"/>
              <a:gd name="connsiteX9-271" fmla="*/ 204540 w 295275"/>
              <a:gd name="connsiteY9-272" fmla="*/ 547 h 599179"/>
              <a:gd name="connsiteX10-273" fmla="*/ 207995 w 295275"/>
              <a:gd name="connsiteY10-274" fmla="*/ 0 h 599179"/>
              <a:gd name="connsiteX0-275" fmla="*/ 207995 w 295275"/>
              <a:gd name="connsiteY0-276" fmla="*/ 0 h 599179"/>
              <a:gd name="connsiteX1-277" fmla="*/ 218480 w 295275"/>
              <a:gd name="connsiteY1-278" fmla="*/ 17025 h 599179"/>
              <a:gd name="connsiteX2-279" fmla="*/ 263922 w 295275"/>
              <a:gd name="connsiteY2-280" fmla="*/ 59952 h 599179"/>
              <a:gd name="connsiteX3-281" fmla="*/ 275967 w 295275"/>
              <a:gd name="connsiteY3-282" fmla="*/ 66705 h 599179"/>
              <a:gd name="connsiteX4-283" fmla="*/ 152376 w 295275"/>
              <a:gd name="connsiteY4-284" fmla="*/ 303904 h 599179"/>
              <a:gd name="connsiteX5-285" fmla="*/ 295275 w 295275"/>
              <a:gd name="connsiteY5-286" fmla="*/ 303904 h 599179"/>
              <a:gd name="connsiteX6-287" fmla="*/ 295275 w 295275"/>
              <a:gd name="connsiteY6-288" fmla="*/ 599179 h 599179"/>
              <a:gd name="connsiteX7-289" fmla="*/ 0 w 295275"/>
              <a:gd name="connsiteY7-290" fmla="*/ 599179 h 599179"/>
              <a:gd name="connsiteX8-291" fmla="*/ 0 w 295275"/>
              <a:gd name="connsiteY8-292" fmla="*/ 303904 h 599179"/>
              <a:gd name="connsiteX9-293" fmla="*/ 207995 w 295275"/>
              <a:gd name="connsiteY9-294" fmla="*/ 0 h 599179"/>
              <a:gd name="connsiteX0-295" fmla="*/ 207995 w 295275"/>
              <a:gd name="connsiteY0-296" fmla="*/ 0 h 599179"/>
              <a:gd name="connsiteX1-297" fmla="*/ 218480 w 295275"/>
              <a:gd name="connsiteY1-298" fmla="*/ 17025 h 599179"/>
              <a:gd name="connsiteX2-299" fmla="*/ 263922 w 295275"/>
              <a:gd name="connsiteY2-300" fmla="*/ 59952 h 599179"/>
              <a:gd name="connsiteX3-301" fmla="*/ 275967 w 295275"/>
              <a:gd name="connsiteY3-302" fmla="*/ 66705 h 599179"/>
              <a:gd name="connsiteX4-303" fmla="*/ 152376 w 295275"/>
              <a:gd name="connsiteY4-304" fmla="*/ 303904 h 599179"/>
              <a:gd name="connsiteX5-305" fmla="*/ 295275 w 295275"/>
              <a:gd name="connsiteY5-306" fmla="*/ 303904 h 599179"/>
              <a:gd name="connsiteX6-307" fmla="*/ 295275 w 295275"/>
              <a:gd name="connsiteY6-308" fmla="*/ 599179 h 599179"/>
              <a:gd name="connsiteX7-309" fmla="*/ 0 w 295275"/>
              <a:gd name="connsiteY7-310" fmla="*/ 599179 h 599179"/>
              <a:gd name="connsiteX8-311" fmla="*/ 0 w 295275"/>
              <a:gd name="connsiteY8-312" fmla="*/ 303904 h 599179"/>
              <a:gd name="connsiteX9-313" fmla="*/ 207995 w 295275"/>
              <a:gd name="connsiteY9-314" fmla="*/ 0 h 599179"/>
              <a:gd name="connsiteX0-315" fmla="*/ 207995 w 295275"/>
              <a:gd name="connsiteY0-316" fmla="*/ 0 h 599179"/>
              <a:gd name="connsiteX1-317" fmla="*/ 218480 w 295275"/>
              <a:gd name="connsiteY1-318" fmla="*/ 17025 h 599179"/>
              <a:gd name="connsiteX2-319" fmla="*/ 263922 w 295275"/>
              <a:gd name="connsiteY2-320" fmla="*/ 59952 h 599179"/>
              <a:gd name="connsiteX3-321" fmla="*/ 275967 w 295275"/>
              <a:gd name="connsiteY3-322" fmla="*/ 66705 h 599179"/>
              <a:gd name="connsiteX4-323" fmla="*/ 152376 w 295275"/>
              <a:gd name="connsiteY4-324" fmla="*/ 303904 h 599179"/>
              <a:gd name="connsiteX5-325" fmla="*/ 295275 w 295275"/>
              <a:gd name="connsiteY5-326" fmla="*/ 303904 h 599179"/>
              <a:gd name="connsiteX6-327" fmla="*/ 295275 w 295275"/>
              <a:gd name="connsiteY6-328" fmla="*/ 599179 h 599179"/>
              <a:gd name="connsiteX7-329" fmla="*/ 0 w 295275"/>
              <a:gd name="connsiteY7-330" fmla="*/ 599179 h 599179"/>
              <a:gd name="connsiteX8-331" fmla="*/ 0 w 295275"/>
              <a:gd name="connsiteY8-332" fmla="*/ 303904 h 599179"/>
              <a:gd name="connsiteX9-333" fmla="*/ 207995 w 295275"/>
              <a:gd name="connsiteY9-334" fmla="*/ 0 h 599179"/>
              <a:gd name="connsiteX0-335" fmla="*/ 207995 w 295275"/>
              <a:gd name="connsiteY0-336" fmla="*/ 0 h 599179"/>
              <a:gd name="connsiteX1-337" fmla="*/ 218480 w 295275"/>
              <a:gd name="connsiteY1-338" fmla="*/ 17025 h 599179"/>
              <a:gd name="connsiteX2-339" fmla="*/ 263922 w 295275"/>
              <a:gd name="connsiteY2-340" fmla="*/ 59952 h 599179"/>
              <a:gd name="connsiteX3-341" fmla="*/ 275967 w 295275"/>
              <a:gd name="connsiteY3-342" fmla="*/ 66705 h 599179"/>
              <a:gd name="connsiteX4-343" fmla="*/ 152376 w 295275"/>
              <a:gd name="connsiteY4-344" fmla="*/ 303904 h 599179"/>
              <a:gd name="connsiteX5-345" fmla="*/ 295275 w 295275"/>
              <a:gd name="connsiteY5-346" fmla="*/ 303904 h 599179"/>
              <a:gd name="connsiteX6-347" fmla="*/ 295275 w 295275"/>
              <a:gd name="connsiteY6-348" fmla="*/ 599179 h 599179"/>
              <a:gd name="connsiteX7-349" fmla="*/ 0 w 295275"/>
              <a:gd name="connsiteY7-350" fmla="*/ 599179 h 599179"/>
              <a:gd name="connsiteX8-351" fmla="*/ 0 w 295275"/>
              <a:gd name="connsiteY8-352" fmla="*/ 303904 h 599179"/>
              <a:gd name="connsiteX9-353" fmla="*/ 207995 w 295275"/>
              <a:gd name="connsiteY9-354" fmla="*/ 0 h 599179"/>
              <a:gd name="connsiteX0-355" fmla="*/ 207995 w 295275"/>
              <a:gd name="connsiteY0-356" fmla="*/ 0 h 599179"/>
              <a:gd name="connsiteX1-357" fmla="*/ 218480 w 295275"/>
              <a:gd name="connsiteY1-358" fmla="*/ 17025 h 599179"/>
              <a:gd name="connsiteX2-359" fmla="*/ 263922 w 295275"/>
              <a:gd name="connsiteY2-360" fmla="*/ 59952 h 599179"/>
              <a:gd name="connsiteX3-361" fmla="*/ 275967 w 295275"/>
              <a:gd name="connsiteY3-362" fmla="*/ 66705 h 599179"/>
              <a:gd name="connsiteX4-363" fmla="*/ 152376 w 295275"/>
              <a:gd name="connsiteY4-364" fmla="*/ 303904 h 599179"/>
              <a:gd name="connsiteX5-365" fmla="*/ 295275 w 295275"/>
              <a:gd name="connsiteY5-366" fmla="*/ 303904 h 599179"/>
              <a:gd name="connsiteX6-367" fmla="*/ 295275 w 295275"/>
              <a:gd name="connsiteY6-368" fmla="*/ 599179 h 599179"/>
              <a:gd name="connsiteX7-369" fmla="*/ 0 w 295275"/>
              <a:gd name="connsiteY7-370" fmla="*/ 599179 h 599179"/>
              <a:gd name="connsiteX8-371" fmla="*/ 0 w 295275"/>
              <a:gd name="connsiteY8-372" fmla="*/ 303904 h 599179"/>
              <a:gd name="connsiteX9-373" fmla="*/ 207995 w 295275"/>
              <a:gd name="connsiteY9-374" fmla="*/ 0 h 599179"/>
              <a:gd name="connsiteX0-375" fmla="*/ 207995 w 295275"/>
              <a:gd name="connsiteY0-376" fmla="*/ 0 h 599179"/>
              <a:gd name="connsiteX1-377" fmla="*/ 218480 w 295275"/>
              <a:gd name="connsiteY1-378" fmla="*/ 17025 h 599179"/>
              <a:gd name="connsiteX2-379" fmla="*/ 263922 w 295275"/>
              <a:gd name="connsiteY2-380" fmla="*/ 59952 h 599179"/>
              <a:gd name="connsiteX3-381" fmla="*/ 275967 w 295275"/>
              <a:gd name="connsiteY3-382" fmla="*/ 66705 h 599179"/>
              <a:gd name="connsiteX4-383" fmla="*/ 152376 w 295275"/>
              <a:gd name="connsiteY4-384" fmla="*/ 303904 h 599179"/>
              <a:gd name="connsiteX5-385" fmla="*/ 295275 w 295275"/>
              <a:gd name="connsiteY5-386" fmla="*/ 303904 h 599179"/>
              <a:gd name="connsiteX6-387" fmla="*/ 295275 w 295275"/>
              <a:gd name="connsiteY6-388" fmla="*/ 599179 h 599179"/>
              <a:gd name="connsiteX7-389" fmla="*/ 0 w 295275"/>
              <a:gd name="connsiteY7-390" fmla="*/ 599179 h 599179"/>
              <a:gd name="connsiteX8-391" fmla="*/ 0 w 295275"/>
              <a:gd name="connsiteY8-392" fmla="*/ 303904 h 599179"/>
              <a:gd name="connsiteX9-393" fmla="*/ 207995 w 295275"/>
              <a:gd name="connsiteY9-394" fmla="*/ 0 h 599179"/>
              <a:gd name="connsiteX0-395" fmla="*/ 207995 w 295275"/>
              <a:gd name="connsiteY0-396" fmla="*/ 0 h 599179"/>
              <a:gd name="connsiteX1-397" fmla="*/ 218480 w 295275"/>
              <a:gd name="connsiteY1-398" fmla="*/ 17025 h 599179"/>
              <a:gd name="connsiteX2-399" fmla="*/ 263922 w 295275"/>
              <a:gd name="connsiteY2-400" fmla="*/ 59952 h 599179"/>
              <a:gd name="connsiteX3-401" fmla="*/ 275967 w 295275"/>
              <a:gd name="connsiteY3-402" fmla="*/ 66705 h 599179"/>
              <a:gd name="connsiteX4-403" fmla="*/ 152376 w 295275"/>
              <a:gd name="connsiteY4-404" fmla="*/ 303904 h 599179"/>
              <a:gd name="connsiteX5-405" fmla="*/ 295275 w 295275"/>
              <a:gd name="connsiteY5-406" fmla="*/ 303904 h 599179"/>
              <a:gd name="connsiteX6-407" fmla="*/ 295275 w 295275"/>
              <a:gd name="connsiteY6-408" fmla="*/ 599179 h 599179"/>
              <a:gd name="connsiteX7-409" fmla="*/ 0 w 295275"/>
              <a:gd name="connsiteY7-410" fmla="*/ 599179 h 599179"/>
              <a:gd name="connsiteX8-411" fmla="*/ 0 w 295275"/>
              <a:gd name="connsiteY8-412" fmla="*/ 303904 h 599179"/>
              <a:gd name="connsiteX9-413" fmla="*/ 207995 w 295275"/>
              <a:gd name="connsiteY9-414" fmla="*/ 0 h 599179"/>
              <a:gd name="connsiteX0-415" fmla="*/ 207995 w 295275"/>
              <a:gd name="connsiteY0-416" fmla="*/ 0 h 599179"/>
              <a:gd name="connsiteX1-417" fmla="*/ 218480 w 295275"/>
              <a:gd name="connsiteY1-418" fmla="*/ 17025 h 599179"/>
              <a:gd name="connsiteX2-419" fmla="*/ 263922 w 295275"/>
              <a:gd name="connsiteY2-420" fmla="*/ 59952 h 599179"/>
              <a:gd name="connsiteX3-421" fmla="*/ 275967 w 295275"/>
              <a:gd name="connsiteY3-422" fmla="*/ 66705 h 599179"/>
              <a:gd name="connsiteX4-423" fmla="*/ 152376 w 295275"/>
              <a:gd name="connsiteY4-424" fmla="*/ 303904 h 599179"/>
              <a:gd name="connsiteX5-425" fmla="*/ 295275 w 295275"/>
              <a:gd name="connsiteY5-426" fmla="*/ 303904 h 599179"/>
              <a:gd name="connsiteX6-427" fmla="*/ 295275 w 295275"/>
              <a:gd name="connsiteY6-428" fmla="*/ 599179 h 599179"/>
              <a:gd name="connsiteX7-429" fmla="*/ 0 w 295275"/>
              <a:gd name="connsiteY7-430" fmla="*/ 599179 h 599179"/>
              <a:gd name="connsiteX8-431" fmla="*/ 0 w 295275"/>
              <a:gd name="connsiteY8-432" fmla="*/ 334942 h 599179"/>
              <a:gd name="connsiteX9-433" fmla="*/ 207995 w 295275"/>
              <a:gd name="connsiteY9-434" fmla="*/ 0 h 599179"/>
              <a:gd name="connsiteX0-435" fmla="*/ 207995 w 295275"/>
              <a:gd name="connsiteY0-436" fmla="*/ 0 h 599179"/>
              <a:gd name="connsiteX1-437" fmla="*/ 218480 w 295275"/>
              <a:gd name="connsiteY1-438" fmla="*/ 17025 h 599179"/>
              <a:gd name="connsiteX2-439" fmla="*/ 263922 w 295275"/>
              <a:gd name="connsiteY2-440" fmla="*/ 59952 h 599179"/>
              <a:gd name="connsiteX3-441" fmla="*/ 275967 w 295275"/>
              <a:gd name="connsiteY3-442" fmla="*/ 66705 h 599179"/>
              <a:gd name="connsiteX4-443" fmla="*/ 152376 w 295275"/>
              <a:gd name="connsiteY4-444" fmla="*/ 303904 h 599179"/>
              <a:gd name="connsiteX5-445" fmla="*/ 295275 w 295275"/>
              <a:gd name="connsiteY5-446" fmla="*/ 303904 h 599179"/>
              <a:gd name="connsiteX6-447" fmla="*/ 295275 w 295275"/>
              <a:gd name="connsiteY6-448" fmla="*/ 599179 h 599179"/>
              <a:gd name="connsiteX7-449" fmla="*/ 0 w 295275"/>
              <a:gd name="connsiteY7-450" fmla="*/ 599179 h 599179"/>
              <a:gd name="connsiteX8-451" fmla="*/ 0 w 295275"/>
              <a:gd name="connsiteY8-452" fmla="*/ 334942 h 599179"/>
              <a:gd name="connsiteX9-453" fmla="*/ 207995 w 295275"/>
              <a:gd name="connsiteY9-454" fmla="*/ 0 h 599179"/>
              <a:gd name="connsiteX0-455" fmla="*/ 207995 w 295275"/>
              <a:gd name="connsiteY0-456" fmla="*/ 0 h 599179"/>
              <a:gd name="connsiteX1-457" fmla="*/ 218480 w 295275"/>
              <a:gd name="connsiteY1-458" fmla="*/ 17025 h 599179"/>
              <a:gd name="connsiteX2-459" fmla="*/ 263922 w 295275"/>
              <a:gd name="connsiteY2-460" fmla="*/ 59952 h 599179"/>
              <a:gd name="connsiteX3-461" fmla="*/ 275967 w 295275"/>
              <a:gd name="connsiteY3-462" fmla="*/ 66705 h 599179"/>
              <a:gd name="connsiteX4-463" fmla="*/ 152376 w 295275"/>
              <a:gd name="connsiteY4-464" fmla="*/ 303904 h 599179"/>
              <a:gd name="connsiteX5-465" fmla="*/ 295275 w 295275"/>
              <a:gd name="connsiteY5-466" fmla="*/ 303904 h 599179"/>
              <a:gd name="connsiteX6-467" fmla="*/ 295275 w 295275"/>
              <a:gd name="connsiteY6-468" fmla="*/ 599179 h 599179"/>
              <a:gd name="connsiteX7-469" fmla="*/ 0 w 295275"/>
              <a:gd name="connsiteY7-470" fmla="*/ 599179 h 599179"/>
              <a:gd name="connsiteX8-471" fmla="*/ 0 w 295275"/>
              <a:gd name="connsiteY8-472" fmla="*/ 334942 h 599179"/>
              <a:gd name="connsiteX9-473" fmla="*/ 207995 w 295275"/>
              <a:gd name="connsiteY9-474" fmla="*/ 0 h 599179"/>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Lst>
            <a:rect l="l" t="t" r="r" b="b"/>
            <a:pathLst>
              <a:path w="295275" h="599179">
                <a:moveTo>
                  <a:pt x="207995" y="0"/>
                </a:moveTo>
                <a:lnTo>
                  <a:pt x="218480" y="17025"/>
                </a:lnTo>
                <a:cubicBezTo>
                  <a:pt x="231034" y="32364"/>
                  <a:pt x="246314" y="46986"/>
                  <a:pt x="263922" y="59952"/>
                </a:cubicBezTo>
                <a:lnTo>
                  <a:pt x="275967" y="66705"/>
                </a:lnTo>
                <a:cubicBezTo>
                  <a:pt x="274744" y="66607"/>
                  <a:pt x="166924" y="148026"/>
                  <a:pt x="152376" y="303904"/>
                </a:cubicBezTo>
                <a:lnTo>
                  <a:pt x="295275" y="303904"/>
                </a:lnTo>
                <a:lnTo>
                  <a:pt x="295275" y="599179"/>
                </a:lnTo>
                <a:lnTo>
                  <a:pt x="0" y="599179"/>
                </a:lnTo>
                <a:lnTo>
                  <a:pt x="0" y="334942"/>
                </a:lnTo>
                <a:cubicBezTo>
                  <a:pt x="10368" y="113589"/>
                  <a:pt x="207637" y="2353"/>
                  <a:pt x="207995" y="0"/>
                </a:cubicBezTo>
                <a:close/>
              </a:path>
            </a:pathLst>
          </a:custGeom>
          <a:solidFill>
            <a:schemeClr val="bg1">
              <a:lumMod val="85000"/>
            </a:schemeClr>
          </a:solidFill>
          <a:ln w="31750" cap="rnd">
            <a:no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dirty="0"/>
          </a:p>
        </p:txBody>
      </p:sp>
      <p:sp>
        <p:nvSpPr>
          <p:cNvPr id="15" name="任意多边形: 形状 14"/>
          <p:cNvSpPr>
            <a:spLocks noChangeAspect="1"/>
          </p:cNvSpPr>
          <p:nvPr>
            <p:custDataLst>
              <p:tags r:id="rId71"/>
            </p:custDataLst>
          </p:nvPr>
        </p:nvSpPr>
        <p:spPr>
          <a:xfrm rot="10800000">
            <a:off x="10997565" y="776605"/>
            <a:ext cx="281940" cy="572135"/>
          </a:xfrm>
          <a:custGeom>
            <a:avLst/>
            <a:gdLst>
              <a:gd name="connsiteX0" fmla="*/ 207995 w 295275"/>
              <a:gd name="connsiteY0" fmla="*/ 0 h 599179"/>
              <a:gd name="connsiteX1" fmla="*/ 218480 w 295275"/>
              <a:gd name="connsiteY1" fmla="*/ 17025 h 599179"/>
              <a:gd name="connsiteX2" fmla="*/ 263922 w 295275"/>
              <a:gd name="connsiteY2" fmla="*/ 59952 h 599179"/>
              <a:gd name="connsiteX3" fmla="*/ 275967 w 295275"/>
              <a:gd name="connsiteY3" fmla="*/ 66705 h 599179"/>
              <a:gd name="connsiteX4" fmla="*/ 258864 w 295275"/>
              <a:gd name="connsiteY4" fmla="*/ 77309 h 599179"/>
              <a:gd name="connsiteX5" fmla="*/ 164932 w 295275"/>
              <a:gd name="connsiteY5" fmla="*/ 229252 h 599179"/>
              <a:gd name="connsiteX6" fmla="*/ 145322 w 295275"/>
              <a:gd name="connsiteY6" fmla="*/ 303904 h 599179"/>
              <a:gd name="connsiteX7" fmla="*/ 295275 w 295275"/>
              <a:gd name="connsiteY7" fmla="*/ 303904 h 599179"/>
              <a:gd name="connsiteX8" fmla="*/ 295275 w 295275"/>
              <a:gd name="connsiteY8" fmla="*/ 599179 h 599179"/>
              <a:gd name="connsiteX9" fmla="*/ 0 w 295275"/>
              <a:gd name="connsiteY9" fmla="*/ 599179 h 599179"/>
              <a:gd name="connsiteX10" fmla="*/ 0 w 295275"/>
              <a:gd name="connsiteY10" fmla="*/ 303904 h 599179"/>
              <a:gd name="connsiteX11" fmla="*/ 5952 w 295275"/>
              <a:gd name="connsiteY11" fmla="*/ 269304 h 599179"/>
              <a:gd name="connsiteX12" fmla="*/ 204540 w 295275"/>
              <a:gd name="connsiteY12" fmla="*/ 547 h 599179"/>
              <a:gd name="connsiteX0-1" fmla="*/ 207995 w 295275"/>
              <a:gd name="connsiteY0-2" fmla="*/ 0 h 599179"/>
              <a:gd name="connsiteX1-3" fmla="*/ 218480 w 295275"/>
              <a:gd name="connsiteY1-4" fmla="*/ 17025 h 599179"/>
              <a:gd name="connsiteX2-5" fmla="*/ 263922 w 295275"/>
              <a:gd name="connsiteY2-6" fmla="*/ 59952 h 599179"/>
              <a:gd name="connsiteX3-7" fmla="*/ 275967 w 295275"/>
              <a:gd name="connsiteY3-8" fmla="*/ 66705 h 599179"/>
              <a:gd name="connsiteX4-9" fmla="*/ 258864 w 295275"/>
              <a:gd name="connsiteY4-10" fmla="*/ 77309 h 599179"/>
              <a:gd name="connsiteX5-11" fmla="*/ 164932 w 295275"/>
              <a:gd name="connsiteY5-12" fmla="*/ 229252 h 599179"/>
              <a:gd name="connsiteX6-13" fmla="*/ 152376 w 295275"/>
              <a:gd name="connsiteY6-14" fmla="*/ 303904 h 599179"/>
              <a:gd name="connsiteX7-15" fmla="*/ 295275 w 295275"/>
              <a:gd name="connsiteY7-16" fmla="*/ 303904 h 599179"/>
              <a:gd name="connsiteX8-17" fmla="*/ 295275 w 295275"/>
              <a:gd name="connsiteY8-18" fmla="*/ 599179 h 599179"/>
              <a:gd name="connsiteX9-19" fmla="*/ 0 w 295275"/>
              <a:gd name="connsiteY9-20" fmla="*/ 599179 h 599179"/>
              <a:gd name="connsiteX10-21" fmla="*/ 0 w 295275"/>
              <a:gd name="connsiteY10-22" fmla="*/ 303904 h 599179"/>
              <a:gd name="connsiteX11-23" fmla="*/ 5952 w 295275"/>
              <a:gd name="connsiteY11-24" fmla="*/ 269304 h 599179"/>
              <a:gd name="connsiteX12-25" fmla="*/ 204540 w 295275"/>
              <a:gd name="connsiteY12-26" fmla="*/ 547 h 599179"/>
              <a:gd name="connsiteX13" fmla="*/ 207995 w 295275"/>
              <a:gd name="connsiteY13" fmla="*/ 0 h 599179"/>
              <a:gd name="connsiteX0-27" fmla="*/ 207995 w 295275"/>
              <a:gd name="connsiteY0-28" fmla="*/ 0 h 599179"/>
              <a:gd name="connsiteX1-29" fmla="*/ 218480 w 295275"/>
              <a:gd name="connsiteY1-30" fmla="*/ 17025 h 599179"/>
              <a:gd name="connsiteX2-31" fmla="*/ 263922 w 295275"/>
              <a:gd name="connsiteY2-32" fmla="*/ 59952 h 599179"/>
              <a:gd name="connsiteX3-33" fmla="*/ 275967 w 295275"/>
              <a:gd name="connsiteY3-34" fmla="*/ 66705 h 599179"/>
              <a:gd name="connsiteX4-35" fmla="*/ 258864 w 295275"/>
              <a:gd name="connsiteY4-36" fmla="*/ 77309 h 599179"/>
              <a:gd name="connsiteX5-37" fmla="*/ 164932 w 295275"/>
              <a:gd name="connsiteY5-38" fmla="*/ 229252 h 599179"/>
              <a:gd name="connsiteX6-39" fmla="*/ 152376 w 295275"/>
              <a:gd name="connsiteY6-40" fmla="*/ 303904 h 599179"/>
              <a:gd name="connsiteX7-41" fmla="*/ 295275 w 295275"/>
              <a:gd name="connsiteY7-42" fmla="*/ 303904 h 599179"/>
              <a:gd name="connsiteX8-43" fmla="*/ 295275 w 295275"/>
              <a:gd name="connsiteY8-44" fmla="*/ 599179 h 599179"/>
              <a:gd name="connsiteX9-45" fmla="*/ 0 w 295275"/>
              <a:gd name="connsiteY9-46" fmla="*/ 599179 h 599179"/>
              <a:gd name="connsiteX10-47" fmla="*/ 0 w 295275"/>
              <a:gd name="connsiteY10-48" fmla="*/ 303904 h 599179"/>
              <a:gd name="connsiteX11-49" fmla="*/ 5952 w 295275"/>
              <a:gd name="connsiteY11-50" fmla="*/ 269304 h 599179"/>
              <a:gd name="connsiteX12-51" fmla="*/ 204540 w 295275"/>
              <a:gd name="connsiteY12-52" fmla="*/ 547 h 599179"/>
              <a:gd name="connsiteX13-53" fmla="*/ 207995 w 295275"/>
              <a:gd name="connsiteY13-54" fmla="*/ 0 h 599179"/>
              <a:gd name="connsiteX0-55" fmla="*/ 207995 w 295275"/>
              <a:gd name="connsiteY0-56" fmla="*/ 0 h 599179"/>
              <a:gd name="connsiteX1-57" fmla="*/ 218480 w 295275"/>
              <a:gd name="connsiteY1-58" fmla="*/ 17025 h 599179"/>
              <a:gd name="connsiteX2-59" fmla="*/ 263922 w 295275"/>
              <a:gd name="connsiteY2-60" fmla="*/ 59952 h 599179"/>
              <a:gd name="connsiteX3-61" fmla="*/ 275967 w 295275"/>
              <a:gd name="connsiteY3-62" fmla="*/ 66705 h 599179"/>
              <a:gd name="connsiteX4-63" fmla="*/ 258864 w 295275"/>
              <a:gd name="connsiteY4-64" fmla="*/ 77309 h 599179"/>
              <a:gd name="connsiteX5-65" fmla="*/ 164932 w 295275"/>
              <a:gd name="connsiteY5-66" fmla="*/ 229252 h 599179"/>
              <a:gd name="connsiteX6-67" fmla="*/ 152376 w 295275"/>
              <a:gd name="connsiteY6-68" fmla="*/ 303904 h 599179"/>
              <a:gd name="connsiteX7-69" fmla="*/ 295275 w 295275"/>
              <a:gd name="connsiteY7-70" fmla="*/ 303904 h 599179"/>
              <a:gd name="connsiteX8-71" fmla="*/ 295275 w 295275"/>
              <a:gd name="connsiteY8-72" fmla="*/ 599179 h 599179"/>
              <a:gd name="connsiteX9-73" fmla="*/ 0 w 295275"/>
              <a:gd name="connsiteY9-74" fmla="*/ 599179 h 599179"/>
              <a:gd name="connsiteX10-75" fmla="*/ 0 w 295275"/>
              <a:gd name="connsiteY10-76" fmla="*/ 303904 h 599179"/>
              <a:gd name="connsiteX11-77" fmla="*/ 5952 w 295275"/>
              <a:gd name="connsiteY11-78" fmla="*/ 269304 h 599179"/>
              <a:gd name="connsiteX12-79" fmla="*/ 204540 w 295275"/>
              <a:gd name="connsiteY12-80" fmla="*/ 547 h 599179"/>
              <a:gd name="connsiteX13-81" fmla="*/ 207995 w 295275"/>
              <a:gd name="connsiteY13-82" fmla="*/ 0 h 599179"/>
              <a:gd name="connsiteX0-83" fmla="*/ 207995 w 295275"/>
              <a:gd name="connsiteY0-84" fmla="*/ 0 h 599179"/>
              <a:gd name="connsiteX1-85" fmla="*/ 218480 w 295275"/>
              <a:gd name="connsiteY1-86" fmla="*/ 17025 h 599179"/>
              <a:gd name="connsiteX2-87" fmla="*/ 263922 w 295275"/>
              <a:gd name="connsiteY2-88" fmla="*/ 59952 h 599179"/>
              <a:gd name="connsiteX3-89" fmla="*/ 275967 w 295275"/>
              <a:gd name="connsiteY3-90" fmla="*/ 66705 h 599179"/>
              <a:gd name="connsiteX4-91" fmla="*/ 258864 w 295275"/>
              <a:gd name="connsiteY4-92" fmla="*/ 77309 h 599179"/>
              <a:gd name="connsiteX5-93" fmla="*/ 152376 w 295275"/>
              <a:gd name="connsiteY5-94" fmla="*/ 303904 h 599179"/>
              <a:gd name="connsiteX6-95" fmla="*/ 295275 w 295275"/>
              <a:gd name="connsiteY6-96" fmla="*/ 303904 h 599179"/>
              <a:gd name="connsiteX7-97" fmla="*/ 295275 w 295275"/>
              <a:gd name="connsiteY7-98" fmla="*/ 599179 h 599179"/>
              <a:gd name="connsiteX8-99" fmla="*/ 0 w 295275"/>
              <a:gd name="connsiteY8-100" fmla="*/ 599179 h 599179"/>
              <a:gd name="connsiteX9-101" fmla="*/ 0 w 295275"/>
              <a:gd name="connsiteY9-102" fmla="*/ 303904 h 599179"/>
              <a:gd name="connsiteX10-103" fmla="*/ 5952 w 295275"/>
              <a:gd name="connsiteY10-104" fmla="*/ 269304 h 599179"/>
              <a:gd name="connsiteX11-105" fmla="*/ 204540 w 295275"/>
              <a:gd name="connsiteY11-106" fmla="*/ 547 h 599179"/>
              <a:gd name="connsiteX12-107" fmla="*/ 207995 w 295275"/>
              <a:gd name="connsiteY12-108" fmla="*/ 0 h 599179"/>
              <a:gd name="connsiteX0-109" fmla="*/ 207995 w 295275"/>
              <a:gd name="connsiteY0-110" fmla="*/ 0 h 599179"/>
              <a:gd name="connsiteX1-111" fmla="*/ 218480 w 295275"/>
              <a:gd name="connsiteY1-112" fmla="*/ 17025 h 599179"/>
              <a:gd name="connsiteX2-113" fmla="*/ 263922 w 295275"/>
              <a:gd name="connsiteY2-114" fmla="*/ 59952 h 599179"/>
              <a:gd name="connsiteX3-115" fmla="*/ 275967 w 295275"/>
              <a:gd name="connsiteY3-116" fmla="*/ 66705 h 599179"/>
              <a:gd name="connsiteX4-117" fmla="*/ 258864 w 295275"/>
              <a:gd name="connsiteY4-118" fmla="*/ 77309 h 599179"/>
              <a:gd name="connsiteX5-119" fmla="*/ 152376 w 295275"/>
              <a:gd name="connsiteY5-120" fmla="*/ 303904 h 599179"/>
              <a:gd name="connsiteX6-121" fmla="*/ 295275 w 295275"/>
              <a:gd name="connsiteY6-122" fmla="*/ 303904 h 599179"/>
              <a:gd name="connsiteX7-123" fmla="*/ 295275 w 295275"/>
              <a:gd name="connsiteY7-124" fmla="*/ 599179 h 599179"/>
              <a:gd name="connsiteX8-125" fmla="*/ 0 w 295275"/>
              <a:gd name="connsiteY8-126" fmla="*/ 599179 h 599179"/>
              <a:gd name="connsiteX9-127" fmla="*/ 0 w 295275"/>
              <a:gd name="connsiteY9-128" fmla="*/ 303904 h 599179"/>
              <a:gd name="connsiteX10-129" fmla="*/ 5952 w 295275"/>
              <a:gd name="connsiteY10-130" fmla="*/ 269304 h 599179"/>
              <a:gd name="connsiteX11-131" fmla="*/ 204540 w 295275"/>
              <a:gd name="connsiteY11-132" fmla="*/ 547 h 599179"/>
              <a:gd name="connsiteX12-133" fmla="*/ 207995 w 295275"/>
              <a:gd name="connsiteY12-134" fmla="*/ 0 h 599179"/>
              <a:gd name="connsiteX0-135" fmla="*/ 207995 w 295275"/>
              <a:gd name="connsiteY0-136" fmla="*/ 0 h 599179"/>
              <a:gd name="connsiteX1-137" fmla="*/ 218480 w 295275"/>
              <a:gd name="connsiteY1-138" fmla="*/ 17025 h 599179"/>
              <a:gd name="connsiteX2-139" fmla="*/ 263922 w 295275"/>
              <a:gd name="connsiteY2-140" fmla="*/ 59952 h 599179"/>
              <a:gd name="connsiteX3-141" fmla="*/ 275967 w 295275"/>
              <a:gd name="connsiteY3-142" fmla="*/ 66705 h 599179"/>
              <a:gd name="connsiteX4-143" fmla="*/ 152376 w 295275"/>
              <a:gd name="connsiteY4-144" fmla="*/ 303904 h 599179"/>
              <a:gd name="connsiteX5-145" fmla="*/ 295275 w 295275"/>
              <a:gd name="connsiteY5-146" fmla="*/ 303904 h 599179"/>
              <a:gd name="connsiteX6-147" fmla="*/ 295275 w 295275"/>
              <a:gd name="connsiteY6-148" fmla="*/ 599179 h 599179"/>
              <a:gd name="connsiteX7-149" fmla="*/ 0 w 295275"/>
              <a:gd name="connsiteY7-150" fmla="*/ 599179 h 599179"/>
              <a:gd name="connsiteX8-151" fmla="*/ 0 w 295275"/>
              <a:gd name="connsiteY8-152" fmla="*/ 303904 h 599179"/>
              <a:gd name="connsiteX9-153" fmla="*/ 5952 w 295275"/>
              <a:gd name="connsiteY9-154" fmla="*/ 269304 h 599179"/>
              <a:gd name="connsiteX10-155" fmla="*/ 204540 w 295275"/>
              <a:gd name="connsiteY10-156" fmla="*/ 547 h 599179"/>
              <a:gd name="connsiteX11-157" fmla="*/ 207995 w 295275"/>
              <a:gd name="connsiteY11-158" fmla="*/ 0 h 599179"/>
              <a:gd name="connsiteX0-159" fmla="*/ 207995 w 295275"/>
              <a:gd name="connsiteY0-160" fmla="*/ 0 h 599179"/>
              <a:gd name="connsiteX1-161" fmla="*/ 218480 w 295275"/>
              <a:gd name="connsiteY1-162" fmla="*/ 17025 h 599179"/>
              <a:gd name="connsiteX2-163" fmla="*/ 263922 w 295275"/>
              <a:gd name="connsiteY2-164" fmla="*/ 59952 h 599179"/>
              <a:gd name="connsiteX3-165" fmla="*/ 275967 w 295275"/>
              <a:gd name="connsiteY3-166" fmla="*/ 66705 h 599179"/>
              <a:gd name="connsiteX4-167" fmla="*/ 152376 w 295275"/>
              <a:gd name="connsiteY4-168" fmla="*/ 303904 h 599179"/>
              <a:gd name="connsiteX5-169" fmla="*/ 295275 w 295275"/>
              <a:gd name="connsiteY5-170" fmla="*/ 303904 h 599179"/>
              <a:gd name="connsiteX6-171" fmla="*/ 295275 w 295275"/>
              <a:gd name="connsiteY6-172" fmla="*/ 599179 h 599179"/>
              <a:gd name="connsiteX7-173" fmla="*/ 0 w 295275"/>
              <a:gd name="connsiteY7-174" fmla="*/ 599179 h 599179"/>
              <a:gd name="connsiteX8-175" fmla="*/ 0 w 295275"/>
              <a:gd name="connsiteY8-176" fmla="*/ 303904 h 599179"/>
              <a:gd name="connsiteX9-177" fmla="*/ 5952 w 295275"/>
              <a:gd name="connsiteY9-178" fmla="*/ 269304 h 599179"/>
              <a:gd name="connsiteX10-179" fmla="*/ 204540 w 295275"/>
              <a:gd name="connsiteY10-180" fmla="*/ 547 h 599179"/>
              <a:gd name="connsiteX11-181" fmla="*/ 207995 w 295275"/>
              <a:gd name="connsiteY11-182" fmla="*/ 0 h 599179"/>
              <a:gd name="connsiteX0-183" fmla="*/ 207995 w 295275"/>
              <a:gd name="connsiteY0-184" fmla="*/ 0 h 599179"/>
              <a:gd name="connsiteX1-185" fmla="*/ 218480 w 295275"/>
              <a:gd name="connsiteY1-186" fmla="*/ 17025 h 599179"/>
              <a:gd name="connsiteX2-187" fmla="*/ 263922 w 295275"/>
              <a:gd name="connsiteY2-188" fmla="*/ 59952 h 599179"/>
              <a:gd name="connsiteX3-189" fmla="*/ 275967 w 295275"/>
              <a:gd name="connsiteY3-190" fmla="*/ 66705 h 599179"/>
              <a:gd name="connsiteX4-191" fmla="*/ 152376 w 295275"/>
              <a:gd name="connsiteY4-192" fmla="*/ 303904 h 599179"/>
              <a:gd name="connsiteX5-193" fmla="*/ 295275 w 295275"/>
              <a:gd name="connsiteY5-194" fmla="*/ 303904 h 599179"/>
              <a:gd name="connsiteX6-195" fmla="*/ 295275 w 295275"/>
              <a:gd name="connsiteY6-196" fmla="*/ 599179 h 599179"/>
              <a:gd name="connsiteX7-197" fmla="*/ 0 w 295275"/>
              <a:gd name="connsiteY7-198" fmla="*/ 599179 h 599179"/>
              <a:gd name="connsiteX8-199" fmla="*/ 0 w 295275"/>
              <a:gd name="connsiteY8-200" fmla="*/ 303904 h 599179"/>
              <a:gd name="connsiteX9-201" fmla="*/ 5952 w 295275"/>
              <a:gd name="connsiteY9-202" fmla="*/ 269304 h 599179"/>
              <a:gd name="connsiteX10-203" fmla="*/ 204540 w 295275"/>
              <a:gd name="connsiteY10-204" fmla="*/ 547 h 599179"/>
              <a:gd name="connsiteX11-205" fmla="*/ 207995 w 295275"/>
              <a:gd name="connsiteY11-206" fmla="*/ 0 h 599179"/>
              <a:gd name="connsiteX0-207" fmla="*/ 207995 w 295275"/>
              <a:gd name="connsiteY0-208" fmla="*/ 0 h 599179"/>
              <a:gd name="connsiteX1-209" fmla="*/ 218480 w 295275"/>
              <a:gd name="connsiteY1-210" fmla="*/ 17025 h 599179"/>
              <a:gd name="connsiteX2-211" fmla="*/ 263922 w 295275"/>
              <a:gd name="connsiteY2-212" fmla="*/ 59952 h 599179"/>
              <a:gd name="connsiteX3-213" fmla="*/ 275967 w 295275"/>
              <a:gd name="connsiteY3-214" fmla="*/ 66705 h 599179"/>
              <a:gd name="connsiteX4-215" fmla="*/ 152376 w 295275"/>
              <a:gd name="connsiteY4-216" fmla="*/ 303904 h 599179"/>
              <a:gd name="connsiteX5-217" fmla="*/ 295275 w 295275"/>
              <a:gd name="connsiteY5-218" fmla="*/ 303904 h 599179"/>
              <a:gd name="connsiteX6-219" fmla="*/ 295275 w 295275"/>
              <a:gd name="connsiteY6-220" fmla="*/ 599179 h 599179"/>
              <a:gd name="connsiteX7-221" fmla="*/ 0 w 295275"/>
              <a:gd name="connsiteY7-222" fmla="*/ 599179 h 599179"/>
              <a:gd name="connsiteX8-223" fmla="*/ 0 w 295275"/>
              <a:gd name="connsiteY8-224" fmla="*/ 303904 h 599179"/>
              <a:gd name="connsiteX9-225" fmla="*/ 5952 w 295275"/>
              <a:gd name="connsiteY9-226" fmla="*/ 269304 h 599179"/>
              <a:gd name="connsiteX10-227" fmla="*/ 204540 w 295275"/>
              <a:gd name="connsiteY10-228" fmla="*/ 547 h 599179"/>
              <a:gd name="connsiteX11-229" fmla="*/ 207995 w 295275"/>
              <a:gd name="connsiteY11-230" fmla="*/ 0 h 599179"/>
              <a:gd name="connsiteX0-231" fmla="*/ 207995 w 295275"/>
              <a:gd name="connsiteY0-232" fmla="*/ 0 h 599179"/>
              <a:gd name="connsiteX1-233" fmla="*/ 218480 w 295275"/>
              <a:gd name="connsiteY1-234" fmla="*/ 17025 h 599179"/>
              <a:gd name="connsiteX2-235" fmla="*/ 263922 w 295275"/>
              <a:gd name="connsiteY2-236" fmla="*/ 59952 h 599179"/>
              <a:gd name="connsiteX3-237" fmla="*/ 275967 w 295275"/>
              <a:gd name="connsiteY3-238" fmla="*/ 66705 h 599179"/>
              <a:gd name="connsiteX4-239" fmla="*/ 152376 w 295275"/>
              <a:gd name="connsiteY4-240" fmla="*/ 303904 h 599179"/>
              <a:gd name="connsiteX5-241" fmla="*/ 295275 w 295275"/>
              <a:gd name="connsiteY5-242" fmla="*/ 303904 h 599179"/>
              <a:gd name="connsiteX6-243" fmla="*/ 295275 w 295275"/>
              <a:gd name="connsiteY6-244" fmla="*/ 599179 h 599179"/>
              <a:gd name="connsiteX7-245" fmla="*/ 0 w 295275"/>
              <a:gd name="connsiteY7-246" fmla="*/ 599179 h 599179"/>
              <a:gd name="connsiteX8-247" fmla="*/ 0 w 295275"/>
              <a:gd name="connsiteY8-248" fmla="*/ 303904 h 599179"/>
              <a:gd name="connsiteX9-249" fmla="*/ 204540 w 295275"/>
              <a:gd name="connsiteY9-250" fmla="*/ 547 h 599179"/>
              <a:gd name="connsiteX10-251" fmla="*/ 207995 w 295275"/>
              <a:gd name="connsiteY10-252" fmla="*/ 0 h 599179"/>
              <a:gd name="connsiteX0-253" fmla="*/ 207995 w 295275"/>
              <a:gd name="connsiteY0-254" fmla="*/ 0 h 599179"/>
              <a:gd name="connsiteX1-255" fmla="*/ 218480 w 295275"/>
              <a:gd name="connsiteY1-256" fmla="*/ 17025 h 599179"/>
              <a:gd name="connsiteX2-257" fmla="*/ 263922 w 295275"/>
              <a:gd name="connsiteY2-258" fmla="*/ 59952 h 599179"/>
              <a:gd name="connsiteX3-259" fmla="*/ 275967 w 295275"/>
              <a:gd name="connsiteY3-260" fmla="*/ 66705 h 599179"/>
              <a:gd name="connsiteX4-261" fmla="*/ 152376 w 295275"/>
              <a:gd name="connsiteY4-262" fmla="*/ 303904 h 599179"/>
              <a:gd name="connsiteX5-263" fmla="*/ 295275 w 295275"/>
              <a:gd name="connsiteY5-264" fmla="*/ 303904 h 599179"/>
              <a:gd name="connsiteX6-265" fmla="*/ 295275 w 295275"/>
              <a:gd name="connsiteY6-266" fmla="*/ 599179 h 599179"/>
              <a:gd name="connsiteX7-267" fmla="*/ 0 w 295275"/>
              <a:gd name="connsiteY7-268" fmla="*/ 599179 h 599179"/>
              <a:gd name="connsiteX8-269" fmla="*/ 0 w 295275"/>
              <a:gd name="connsiteY8-270" fmla="*/ 303904 h 599179"/>
              <a:gd name="connsiteX9-271" fmla="*/ 204540 w 295275"/>
              <a:gd name="connsiteY9-272" fmla="*/ 547 h 599179"/>
              <a:gd name="connsiteX10-273" fmla="*/ 207995 w 295275"/>
              <a:gd name="connsiteY10-274" fmla="*/ 0 h 599179"/>
              <a:gd name="connsiteX0-275" fmla="*/ 207995 w 295275"/>
              <a:gd name="connsiteY0-276" fmla="*/ 0 h 599179"/>
              <a:gd name="connsiteX1-277" fmla="*/ 218480 w 295275"/>
              <a:gd name="connsiteY1-278" fmla="*/ 17025 h 599179"/>
              <a:gd name="connsiteX2-279" fmla="*/ 263922 w 295275"/>
              <a:gd name="connsiteY2-280" fmla="*/ 59952 h 599179"/>
              <a:gd name="connsiteX3-281" fmla="*/ 275967 w 295275"/>
              <a:gd name="connsiteY3-282" fmla="*/ 66705 h 599179"/>
              <a:gd name="connsiteX4-283" fmla="*/ 152376 w 295275"/>
              <a:gd name="connsiteY4-284" fmla="*/ 303904 h 599179"/>
              <a:gd name="connsiteX5-285" fmla="*/ 295275 w 295275"/>
              <a:gd name="connsiteY5-286" fmla="*/ 303904 h 599179"/>
              <a:gd name="connsiteX6-287" fmla="*/ 295275 w 295275"/>
              <a:gd name="connsiteY6-288" fmla="*/ 599179 h 599179"/>
              <a:gd name="connsiteX7-289" fmla="*/ 0 w 295275"/>
              <a:gd name="connsiteY7-290" fmla="*/ 599179 h 599179"/>
              <a:gd name="connsiteX8-291" fmla="*/ 0 w 295275"/>
              <a:gd name="connsiteY8-292" fmla="*/ 303904 h 599179"/>
              <a:gd name="connsiteX9-293" fmla="*/ 207995 w 295275"/>
              <a:gd name="connsiteY9-294" fmla="*/ 0 h 599179"/>
              <a:gd name="connsiteX0-295" fmla="*/ 207995 w 295275"/>
              <a:gd name="connsiteY0-296" fmla="*/ 0 h 599179"/>
              <a:gd name="connsiteX1-297" fmla="*/ 218480 w 295275"/>
              <a:gd name="connsiteY1-298" fmla="*/ 17025 h 599179"/>
              <a:gd name="connsiteX2-299" fmla="*/ 263922 w 295275"/>
              <a:gd name="connsiteY2-300" fmla="*/ 59952 h 599179"/>
              <a:gd name="connsiteX3-301" fmla="*/ 275967 w 295275"/>
              <a:gd name="connsiteY3-302" fmla="*/ 66705 h 599179"/>
              <a:gd name="connsiteX4-303" fmla="*/ 152376 w 295275"/>
              <a:gd name="connsiteY4-304" fmla="*/ 303904 h 599179"/>
              <a:gd name="connsiteX5-305" fmla="*/ 295275 w 295275"/>
              <a:gd name="connsiteY5-306" fmla="*/ 303904 h 599179"/>
              <a:gd name="connsiteX6-307" fmla="*/ 295275 w 295275"/>
              <a:gd name="connsiteY6-308" fmla="*/ 599179 h 599179"/>
              <a:gd name="connsiteX7-309" fmla="*/ 0 w 295275"/>
              <a:gd name="connsiteY7-310" fmla="*/ 599179 h 599179"/>
              <a:gd name="connsiteX8-311" fmla="*/ 0 w 295275"/>
              <a:gd name="connsiteY8-312" fmla="*/ 303904 h 599179"/>
              <a:gd name="connsiteX9-313" fmla="*/ 207995 w 295275"/>
              <a:gd name="connsiteY9-314" fmla="*/ 0 h 599179"/>
              <a:gd name="connsiteX0-315" fmla="*/ 207995 w 295275"/>
              <a:gd name="connsiteY0-316" fmla="*/ 0 h 599179"/>
              <a:gd name="connsiteX1-317" fmla="*/ 218480 w 295275"/>
              <a:gd name="connsiteY1-318" fmla="*/ 17025 h 599179"/>
              <a:gd name="connsiteX2-319" fmla="*/ 263922 w 295275"/>
              <a:gd name="connsiteY2-320" fmla="*/ 59952 h 599179"/>
              <a:gd name="connsiteX3-321" fmla="*/ 275967 w 295275"/>
              <a:gd name="connsiteY3-322" fmla="*/ 66705 h 599179"/>
              <a:gd name="connsiteX4-323" fmla="*/ 152376 w 295275"/>
              <a:gd name="connsiteY4-324" fmla="*/ 303904 h 599179"/>
              <a:gd name="connsiteX5-325" fmla="*/ 295275 w 295275"/>
              <a:gd name="connsiteY5-326" fmla="*/ 303904 h 599179"/>
              <a:gd name="connsiteX6-327" fmla="*/ 295275 w 295275"/>
              <a:gd name="connsiteY6-328" fmla="*/ 599179 h 599179"/>
              <a:gd name="connsiteX7-329" fmla="*/ 0 w 295275"/>
              <a:gd name="connsiteY7-330" fmla="*/ 599179 h 599179"/>
              <a:gd name="connsiteX8-331" fmla="*/ 0 w 295275"/>
              <a:gd name="connsiteY8-332" fmla="*/ 303904 h 599179"/>
              <a:gd name="connsiteX9-333" fmla="*/ 207995 w 295275"/>
              <a:gd name="connsiteY9-334" fmla="*/ 0 h 599179"/>
              <a:gd name="connsiteX0-335" fmla="*/ 207995 w 295275"/>
              <a:gd name="connsiteY0-336" fmla="*/ 0 h 599179"/>
              <a:gd name="connsiteX1-337" fmla="*/ 218480 w 295275"/>
              <a:gd name="connsiteY1-338" fmla="*/ 17025 h 599179"/>
              <a:gd name="connsiteX2-339" fmla="*/ 263922 w 295275"/>
              <a:gd name="connsiteY2-340" fmla="*/ 59952 h 599179"/>
              <a:gd name="connsiteX3-341" fmla="*/ 275967 w 295275"/>
              <a:gd name="connsiteY3-342" fmla="*/ 66705 h 599179"/>
              <a:gd name="connsiteX4-343" fmla="*/ 152376 w 295275"/>
              <a:gd name="connsiteY4-344" fmla="*/ 303904 h 599179"/>
              <a:gd name="connsiteX5-345" fmla="*/ 295275 w 295275"/>
              <a:gd name="connsiteY5-346" fmla="*/ 303904 h 599179"/>
              <a:gd name="connsiteX6-347" fmla="*/ 295275 w 295275"/>
              <a:gd name="connsiteY6-348" fmla="*/ 599179 h 599179"/>
              <a:gd name="connsiteX7-349" fmla="*/ 0 w 295275"/>
              <a:gd name="connsiteY7-350" fmla="*/ 599179 h 599179"/>
              <a:gd name="connsiteX8-351" fmla="*/ 0 w 295275"/>
              <a:gd name="connsiteY8-352" fmla="*/ 303904 h 599179"/>
              <a:gd name="connsiteX9-353" fmla="*/ 207995 w 295275"/>
              <a:gd name="connsiteY9-354" fmla="*/ 0 h 599179"/>
              <a:gd name="connsiteX0-355" fmla="*/ 207995 w 295275"/>
              <a:gd name="connsiteY0-356" fmla="*/ 0 h 599179"/>
              <a:gd name="connsiteX1-357" fmla="*/ 218480 w 295275"/>
              <a:gd name="connsiteY1-358" fmla="*/ 17025 h 599179"/>
              <a:gd name="connsiteX2-359" fmla="*/ 263922 w 295275"/>
              <a:gd name="connsiteY2-360" fmla="*/ 59952 h 599179"/>
              <a:gd name="connsiteX3-361" fmla="*/ 275967 w 295275"/>
              <a:gd name="connsiteY3-362" fmla="*/ 66705 h 599179"/>
              <a:gd name="connsiteX4-363" fmla="*/ 152376 w 295275"/>
              <a:gd name="connsiteY4-364" fmla="*/ 303904 h 599179"/>
              <a:gd name="connsiteX5-365" fmla="*/ 295275 w 295275"/>
              <a:gd name="connsiteY5-366" fmla="*/ 303904 h 599179"/>
              <a:gd name="connsiteX6-367" fmla="*/ 295275 w 295275"/>
              <a:gd name="connsiteY6-368" fmla="*/ 599179 h 599179"/>
              <a:gd name="connsiteX7-369" fmla="*/ 0 w 295275"/>
              <a:gd name="connsiteY7-370" fmla="*/ 599179 h 599179"/>
              <a:gd name="connsiteX8-371" fmla="*/ 0 w 295275"/>
              <a:gd name="connsiteY8-372" fmla="*/ 303904 h 599179"/>
              <a:gd name="connsiteX9-373" fmla="*/ 207995 w 295275"/>
              <a:gd name="connsiteY9-374" fmla="*/ 0 h 599179"/>
              <a:gd name="connsiteX0-375" fmla="*/ 207995 w 295275"/>
              <a:gd name="connsiteY0-376" fmla="*/ 0 h 599179"/>
              <a:gd name="connsiteX1-377" fmla="*/ 218480 w 295275"/>
              <a:gd name="connsiteY1-378" fmla="*/ 17025 h 599179"/>
              <a:gd name="connsiteX2-379" fmla="*/ 263922 w 295275"/>
              <a:gd name="connsiteY2-380" fmla="*/ 59952 h 599179"/>
              <a:gd name="connsiteX3-381" fmla="*/ 275967 w 295275"/>
              <a:gd name="connsiteY3-382" fmla="*/ 66705 h 599179"/>
              <a:gd name="connsiteX4-383" fmla="*/ 152376 w 295275"/>
              <a:gd name="connsiteY4-384" fmla="*/ 303904 h 599179"/>
              <a:gd name="connsiteX5-385" fmla="*/ 295275 w 295275"/>
              <a:gd name="connsiteY5-386" fmla="*/ 303904 h 599179"/>
              <a:gd name="connsiteX6-387" fmla="*/ 295275 w 295275"/>
              <a:gd name="connsiteY6-388" fmla="*/ 599179 h 599179"/>
              <a:gd name="connsiteX7-389" fmla="*/ 0 w 295275"/>
              <a:gd name="connsiteY7-390" fmla="*/ 599179 h 599179"/>
              <a:gd name="connsiteX8-391" fmla="*/ 0 w 295275"/>
              <a:gd name="connsiteY8-392" fmla="*/ 303904 h 599179"/>
              <a:gd name="connsiteX9-393" fmla="*/ 207995 w 295275"/>
              <a:gd name="connsiteY9-394" fmla="*/ 0 h 599179"/>
              <a:gd name="connsiteX0-395" fmla="*/ 207995 w 295275"/>
              <a:gd name="connsiteY0-396" fmla="*/ 0 h 599179"/>
              <a:gd name="connsiteX1-397" fmla="*/ 218480 w 295275"/>
              <a:gd name="connsiteY1-398" fmla="*/ 17025 h 599179"/>
              <a:gd name="connsiteX2-399" fmla="*/ 263922 w 295275"/>
              <a:gd name="connsiteY2-400" fmla="*/ 59952 h 599179"/>
              <a:gd name="connsiteX3-401" fmla="*/ 275967 w 295275"/>
              <a:gd name="connsiteY3-402" fmla="*/ 66705 h 599179"/>
              <a:gd name="connsiteX4-403" fmla="*/ 152376 w 295275"/>
              <a:gd name="connsiteY4-404" fmla="*/ 303904 h 599179"/>
              <a:gd name="connsiteX5-405" fmla="*/ 295275 w 295275"/>
              <a:gd name="connsiteY5-406" fmla="*/ 303904 h 599179"/>
              <a:gd name="connsiteX6-407" fmla="*/ 295275 w 295275"/>
              <a:gd name="connsiteY6-408" fmla="*/ 599179 h 599179"/>
              <a:gd name="connsiteX7-409" fmla="*/ 0 w 295275"/>
              <a:gd name="connsiteY7-410" fmla="*/ 599179 h 599179"/>
              <a:gd name="connsiteX8-411" fmla="*/ 0 w 295275"/>
              <a:gd name="connsiteY8-412" fmla="*/ 303904 h 599179"/>
              <a:gd name="connsiteX9-413" fmla="*/ 207995 w 295275"/>
              <a:gd name="connsiteY9-414" fmla="*/ 0 h 599179"/>
              <a:gd name="connsiteX0-415" fmla="*/ 207995 w 295275"/>
              <a:gd name="connsiteY0-416" fmla="*/ 0 h 599179"/>
              <a:gd name="connsiteX1-417" fmla="*/ 218480 w 295275"/>
              <a:gd name="connsiteY1-418" fmla="*/ 17025 h 599179"/>
              <a:gd name="connsiteX2-419" fmla="*/ 263922 w 295275"/>
              <a:gd name="connsiteY2-420" fmla="*/ 59952 h 599179"/>
              <a:gd name="connsiteX3-421" fmla="*/ 275967 w 295275"/>
              <a:gd name="connsiteY3-422" fmla="*/ 66705 h 599179"/>
              <a:gd name="connsiteX4-423" fmla="*/ 152376 w 295275"/>
              <a:gd name="connsiteY4-424" fmla="*/ 303904 h 599179"/>
              <a:gd name="connsiteX5-425" fmla="*/ 295275 w 295275"/>
              <a:gd name="connsiteY5-426" fmla="*/ 303904 h 599179"/>
              <a:gd name="connsiteX6-427" fmla="*/ 295275 w 295275"/>
              <a:gd name="connsiteY6-428" fmla="*/ 599179 h 599179"/>
              <a:gd name="connsiteX7-429" fmla="*/ 0 w 295275"/>
              <a:gd name="connsiteY7-430" fmla="*/ 599179 h 599179"/>
              <a:gd name="connsiteX8-431" fmla="*/ 0 w 295275"/>
              <a:gd name="connsiteY8-432" fmla="*/ 334942 h 599179"/>
              <a:gd name="connsiteX9-433" fmla="*/ 207995 w 295275"/>
              <a:gd name="connsiteY9-434" fmla="*/ 0 h 599179"/>
              <a:gd name="connsiteX0-435" fmla="*/ 207995 w 295275"/>
              <a:gd name="connsiteY0-436" fmla="*/ 0 h 599179"/>
              <a:gd name="connsiteX1-437" fmla="*/ 218480 w 295275"/>
              <a:gd name="connsiteY1-438" fmla="*/ 17025 h 599179"/>
              <a:gd name="connsiteX2-439" fmla="*/ 263922 w 295275"/>
              <a:gd name="connsiteY2-440" fmla="*/ 59952 h 599179"/>
              <a:gd name="connsiteX3-441" fmla="*/ 275967 w 295275"/>
              <a:gd name="connsiteY3-442" fmla="*/ 66705 h 599179"/>
              <a:gd name="connsiteX4-443" fmla="*/ 152376 w 295275"/>
              <a:gd name="connsiteY4-444" fmla="*/ 303904 h 599179"/>
              <a:gd name="connsiteX5-445" fmla="*/ 295275 w 295275"/>
              <a:gd name="connsiteY5-446" fmla="*/ 303904 h 599179"/>
              <a:gd name="connsiteX6-447" fmla="*/ 295275 w 295275"/>
              <a:gd name="connsiteY6-448" fmla="*/ 599179 h 599179"/>
              <a:gd name="connsiteX7-449" fmla="*/ 0 w 295275"/>
              <a:gd name="connsiteY7-450" fmla="*/ 599179 h 599179"/>
              <a:gd name="connsiteX8-451" fmla="*/ 0 w 295275"/>
              <a:gd name="connsiteY8-452" fmla="*/ 334942 h 599179"/>
              <a:gd name="connsiteX9-453" fmla="*/ 207995 w 295275"/>
              <a:gd name="connsiteY9-454" fmla="*/ 0 h 599179"/>
              <a:gd name="connsiteX0-455" fmla="*/ 207995 w 295275"/>
              <a:gd name="connsiteY0-456" fmla="*/ 0 h 599179"/>
              <a:gd name="connsiteX1-457" fmla="*/ 218480 w 295275"/>
              <a:gd name="connsiteY1-458" fmla="*/ 17025 h 599179"/>
              <a:gd name="connsiteX2-459" fmla="*/ 263922 w 295275"/>
              <a:gd name="connsiteY2-460" fmla="*/ 59952 h 599179"/>
              <a:gd name="connsiteX3-461" fmla="*/ 275967 w 295275"/>
              <a:gd name="connsiteY3-462" fmla="*/ 66705 h 599179"/>
              <a:gd name="connsiteX4-463" fmla="*/ 152376 w 295275"/>
              <a:gd name="connsiteY4-464" fmla="*/ 303904 h 599179"/>
              <a:gd name="connsiteX5-465" fmla="*/ 295275 w 295275"/>
              <a:gd name="connsiteY5-466" fmla="*/ 303904 h 599179"/>
              <a:gd name="connsiteX6-467" fmla="*/ 295275 w 295275"/>
              <a:gd name="connsiteY6-468" fmla="*/ 599179 h 599179"/>
              <a:gd name="connsiteX7-469" fmla="*/ 0 w 295275"/>
              <a:gd name="connsiteY7-470" fmla="*/ 599179 h 599179"/>
              <a:gd name="connsiteX8-471" fmla="*/ 0 w 295275"/>
              <a:gd name="connsiteY8-472" fmla="*/ 334942 h 599179"/>
              <a:gd name="connsiteX9-473" fmla="*/ 207995 w 295275"/>
              <a:gd name="connsiteY9-474" fmla="*/ 0 h 599179"/>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Lst>
            <a:rect l="l" t="t" r="r" b="b"/>
            <a:pathLst>
              <a:path w="295275" h="599179">
                <a:moveTo>
                  <a:pt x="207995" y="0"/>
                </a:moveTo>
                <a:lnTo>
                  <a:pt x="218480" y="17025"/>
                </a:lnTo>
                <a:cubicBezTo>
                  <a:pt x="231034" y="32364"/>
                  <a:pt x="246314" y="46986"/>
                  <a:pt x="263922" y="59952"/>
                </a:cubicBezTo>
                <a:lnTo>
                  <a:pt x="275967" y="66705"/>
                </a:lnTo>
                <a:cubicBezTo>
                  <a:pt x="274744" y="66607"/>
                  <a:pt x="166924" y="148026"/>
                  <a:pt x="152376" y="303904"/>
                </a:cubicBezTo>
                <a:lnTo>
                  <a:pt x="295275" y="303904"/>
                </a:lnTo>
                <a:lnTo>
                  <a:pt x="295275" y="599179"/>
                </a:lnTo>
                <a:lnTo>
                  <a:pt x="0" y="599179"/>
                </a:lnTo>
                <a:lnTo>
                  <a:pt x="0" y="334942"/>
                </a:lnTo>
                <a:cubicBezTo>
                  <a:pt x="10368" y="113589"/>
                  <a:pt x="207637" y="2353"/>
                  <a:pt x="207995" y="0"/>
                </a:cubicBezTo>
                <a:close/>
              </a:path>
            </a:pathLst>
          </a:custGeom>
          <a:solidFill>
            <a:schemeClr val="bg1">
              <a:lumMod val="85000"/>
            </a:schemeClr>
          </a:solidFill>
          <a:ln w="31750" cap="rnd">
            <a:no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2" name="任意多边形: 形状 11"/>
          <p:cNvSpPr>
            <a:spLocks noChangeAspect="1"/>
          </p:cNvSpPr>
          <p:nvPr>
            <p:custDataLst>
              <p:tags r:id="rId72"/>
            </p:custDataLst>
          </p:nvPr>
        </p:nvSpPr>
        <p:spPr>
          <a:xfrm rot="10800000">
            <a:off x="11270615" y="676275"/>
            <a:ext cx="281940" cy="572135"/>
          </a:xfrm>
          <a:custGeom>
            <a:avLst/>
            <a:gdLst>
              <a:gd name="connsiteX0" fmla="*/ 207995 w 295275"/>
              <a:gd name="connsiteY0" fmla="*/ 0 h 599179"/>
              <a:gd name="connsiteX1" fmla="*/ 218480 w 295275"/>
              <a:gd name="connsiteY1" fmla="*/ 17025 h 599179"/>
              <a:gd name="connsiteX2" fmla="*/ 263922 w 295275"/>
              <a:gd name="connsiteY2" fmla="*/ 59952 h 599179"/>
              <a:gd name="connsiteX3" fmla="*/ 275967 w 295275"/>
              <a:gd name="connsiteY3" fmla="*/ 66705 h 599179"/>
              <a:gd name="connsiteX4" fmla="*/ 258864 w 295275"/>
              <a:gd name="connsiteY4" fmla="*/ 77309 h 599179"/>
              <a:gd name="connsiteX5" fmla="*/ 164932 w 295275"/>
              <a:gd name="connsiteY5" fmla="*/ 229252 h 599179"/>
              <a:gd name="connsiteX6" fmla="*/ 145322 w 295275"/>
              <a:gd name="connsiteY6" fmla="*/ 303904 h 599179"/>
              <a:gd name="connsiteX7" fmla="*/ 295275 w 295275"/>
              <a:gd name="connsiteY7" fmla="*/ 303904 h 599179"/>
              <a:gd name="connsiteX8" fmla="*/ 295275 w 295275"/>
              <a:gd name="connsiteY8" fmla="*/ 599179 h 599179"/>
              <a:gd name="connsiteX9" fmla="*/ 0 w 295275"/>
              <a:gd name="connsiteY9" fmla="*/ 599179 h 599179"/>
              <a:gd name="connsiteX10" fmla="*/ 0 w 295275"/>
              <a:gd name="connsiteY10" fmla="*/ 303904 h 599179"/>
              <a:gd name="connsiteX11" fmla="*/ 5952 w 295275"/>
              <a:gd name="connsiteY11" fmla="*/ 269304 h 599179"/>
              <a:gd name="connsiteX12" fmla="*/ 204540 w 295275"/>
              <a:gd name="connsiteY12" fmla="*/ 547 h 599179"/>
              <a:gd name="connsiteX0-1" fmla="*/ 207995 w 295275"/>
              <a:gd name="connsiteY0-2" fmla="*/ 0 h 599179"/>
              <a:gd name="connsiteX1-3" fmla="*/ 218480 w 295275"/>
              <a:gd name="connsiteY1-4" fmla="*/ 17025 h 599179"/>
              <a:gd name="connsiteX2-5" fmla="*/ 263922 w 295275"/>
              <a:gd name="connsiteY2-6" fmla="*/ 59952 h 599179"/>
              <a:gd name="connsiteX3-7" fmla="*/ 275967 w 295275"/>
              <a:gd name="connsiteY3-8" fmla="*/ 66705 h 599179"/>
              <a:gd name="connsiteX4-9" fmla="*/ 258864 w 295275"/>
              <a:gd name="connsiteY4-10" fmla="*/ 77309 h 599179"/>
              <a:gd name="connsiteX5-11" fmla="*/ 164932 w 295275"/>
              <a:gd name="connsiteY5-12" fmla="*/ 229252 h 599179"/>
              <a:gd name="connsiteX6-13" fmla="*/ 152376 w 295275"/>
              <a:gd name="connsiteY6-14" fmla="*/ 303904 h 599179"/>
              <a:gd name="connsiteX7-15" fmla="*/ 295275 w 295275"/>
              <a:gd name="connsiteY7-16" fmla="*/ 303904 h 599179"/>
              <a:gd name="connsiteX8-17" fmla="*/ 295275 w 295275"/>
              <a:gd name="connsiteY8-18" fmla="*/ 599179 h 599179"/>
              <a:gd name="connsiteX9-19" fmla="*/ 0 w 295275"/>
              <a:gd name="connsiteY9-20" fmla="*/ 599179 h 599179"/>
              <a:gd name="connsiteX10-21" fmla="*/ 0 w 295275"/>
              <a:gd name="connsiteY10-22" fmla="*/ 303904 h 599179"/>
              <a:gd name="connsiteX11-23" fmla="*/ 5952 w 295275"/>
              <a:gd name="connsiteY11-24" fmla="*/ 269304 h 599179"/>
              <a:gd name="connsiteX12-25" fmla="*/ 204540 w 295275"/>
              <a:gd name="connsiteY12-26" fmla="*/ 547 h 599179"/>
              <a:gd name="connsiteX13" fmla="*/ 207995 w 295275"/>
              <a:gd name="connsiteY13" fmla="*/ 0 h 599179"/>
              <a:gd name="connsiteX0-27" fmla="*/ 207995 w 295275"/>
              <a:gd name="connsiteY0-28" fmla="*/ 0 h 599179"/>
              <a:gd name="connsiteX1-29" fmla="*/ 218480 w 295275"/>
              <a:gd name="connsiteY1-30" fmla="*/ 17025 h 599179"/>
              <a:gd name="connsiteX2-31" fmla="*/ 263922 w 295275"/>
              <a:gd name="connsiteY2-32" fmla="*/ 59952 h 599179"/>
              <a:gd name="connsiteX3-33" fmla="*/ 275967 w 295275"/>
              <a:gd name="connsiteY3-34" fmla="*/ 66705 h 599179"/>
              <a:gd name="connsiteX4-35" fmla="*/ 258864 w 295275"/>
              <a:gd name="connsiteY4-36" fmla="*/ 77309 h 599179"/>
              <a:gd name="connsiteX5-37" fmla="*/ 164932 w 295275"/>
              <a:gd name="connsiteY5-38" fmla="*/ 229252 h 599179"/>
              <a:gd name="connsiteX6-39" fmla="*/ 152376 w 295275"/>
              <a:gd name="connsiteY6-40" fmla="*/ 303904 h 599179"/>
              <a:gd name="connsiteX7-41" fmla="*/ 295275 w 295275"/>
              <a:gd name="connsiteY7-42" fmla="*/ 303904 h 599179"/>
              <a:gd name="connsiteX8-43" fmla="*/ 295275 w 295275"/>
              <a:gd name="connsiteY8-44" fmla="*/ 599179 h 599179"/>
              <a:gd name="connsiteX9-45" fmla="*/ 0 w 295275"/>
              <a:gd name="connsiteY9-46" fmla="*/ 599179 h 599179"/>
              <a:gd name="connsiteX10-47" fmla="*/ 0 w 295275"/>
              <a:gd name="connsiteY10-48" fmla="*/ 303904 h 599179"/>
              <a:gd name="connsiteX11-49" fmla="*/ 5952 w 295275"/>
              <a:gd name="connsiteY11-50" fmla="*/ 269304 h 599179"/>
              <a:gd name="connsiteX12-51" fmla="*/ 204540 w 295275"/>
              <a:gd name="connsiteY12-52" fmla="*/ 547 h 599179"/>
              <a:gd name="connsiteX13-53" fmla="*/ 207995 w 295275"/>
              <a:gd name="connsiteY13-54" fmla="*/ 0 h 599179"/>
              <a:gd name="connsiteX0-55" fmla="*/ 207995 w 295275"/>
              <a:gd name="connsiteY0-56" fmla="*/ 0 h 599179"/>
              <a:gd name="connsiteX1-57" fmla="*/ 218480 w 295275"/>
              <a:gd name="connsiteY1-58" fmla="*/ 17025 h 599179"/>
              <a:gd name="connsiteX2-59" fmla="*/ 263922 w 295275"/>
              <a:gd name="connsiteY2-60" fmla="*/ 59952 h 599179"/>
              <a:gd name="connsiteX3-61" fmla="*/ 275967 w 295275"/>
              <a:gd name="connsiteY3-62" fmla="*/ 66705 h 599179"/>
              <a:gd name="connsiteX4-63" fmla="*/ 258864 w 295275"/>
              <a:gd name="connsiteY4-64" fmla="*/ 77309 h 599179"/>
              <a:gd name="connsiteX5-65" fmla="*/ 164932 w 295275"/>
              <a:gd name="connsiteY5-66" fmla="*/ 229252 h 599179"/>
              <a:gd name="connsiteX6-67" fmla="*/ 152376 w 295275"/>
              <a:gd name="connsiteY6-68" fmla="*/ 303904 h 599179"/>
              <a:gd name="connsiteX7-69" fmla="*/ 295275 w 295275"/>
              <a:gd name="connsiteY7-70" fmla="*/ 303904 h 599179"/>
              <a:gd name="connsiteX8-71" fmla="*/ 295275 w 295275"/>
              <a:gd name="connsiteY8-72" fmla="*/ 599179 h 599179"/>
              <a:gd name="connsiteX9-73" fmla="*/ 0 w 295275"/>
              <a:gd name="connsiteY9-74" fmla="*/ 599179 h 599179"/>
              <a:gd name="connsiteX10-75" fmla="*/ 0 w 295275"/>
              <a:gd name="connsiteY10-76" fmla="*/ 303904 h 599179"/>
              <a:gd name="connsiteX11-77" fmla="*/ 5952 w 295275"/>
              <a:gd name="connsiteY11-78" fmla="*/ 269304 h 599179"/>
              <a:gd name="connsiteX12-79" fmla="*/ 204540 w 295275"/>
              <a:gd name="connsiteY12-80" fmla="*/ 547 h 599179"/>
              <a:gd name="connsiteX13-81" fmla="*/ 207995 w 295275"/>
              <a:gd name="connsiteY13-82" fmla="*/ 0 h 599179"/>
              <a:gd name="connsiteX0-83" fmla="*/ 207995 w 295275"/>
              <a:gd name="connsiteY0-84" fmla="*/ 0 h 599179"/>
              <a:gd name="connsiteX1-85" fmla="*/ 218480 w 295275"/>
              <a:gd name="connsiteY1-86" fmla="*/ 17025 h 599179"/>
              <a:gd name="connsiteX2-87" fmla="*/ 263922 w 295275"/>
              <a:gd name="connsiteY2-88" fmla="*/ 59952 h 599179"/>
              <a:gd name="connsiteX3-89" fmla="*/ 275967 w 295275"/>
              <a:gd name="connsiteY3-90" fmla="*/ 66705 h 599179"/>
              <a:gd name="connsiteX4-91" fmla="*/ 258864 w 295275"/>
              <a:gd name="connsiteY4-92" fmla="*/ 77309 h 599179"/>
              <a:gd name="connsiteX5-93" fmla="*/ 152376 w 295275"/>
              <a:gd name="connsiteY5-94" fmla="*/ 303904 h 599179"/>
              <a:gd name="connsiteX6-95" fmla="*/ 295275 w 295275"/>
              <a:gd name="connsiteY6-96" fmla="*/ 303904 h 599179"/>
              <a:gd name="connsiteX7-97" fmla="*/ 295275 w 295275"/>
              <a:gd name="connsiteY7-98" fmla="*/ 599179 h 599179"/>
              <a:gd name="connsiteX8-99" fmla="*/ 0 w 295275"/>
              <a:gd name="connsiteY8-100" fmla="*/ 599179 h 599179"/>
              <a:gd name="connsiteX9-101" fmla="*/ 0 w 295275"/>
              <a:gd name="connsiteY9-102" fmla="*/ 303904 h 599179"/>
              <a:gd name="connsiteX10-103" fmla="*/ 5952 w 295275"/>
              <a:gd name="connsiteY10-104" fmla="*/ 269304 h 599179"/>
              <a:gd name="connsiteX11-105" fmla="*/ 204540 w 295275"/>
              <a:gd name="connsiteY11-106" fmla="*/ 547 h 599179"/>
              <a:gd name="connsiteX12-107" fmla="*/ 207995 w 295275"/>
              <a:gd name="connsiteY12-108" fmla="*/ 0 h 599179"/>
              <a:gd name="connsiteX0-109" fmla="*/ 207995 w 295275"/>
              <a:gd name="connsiteY0-110" fmla="*/ 0 h 599179"/>
              <a:gd name="connsiteX1-111" fmla="*/ 218480 w 295275"/>
              <a:gd name="connsiteY1-112" fmla="*/ 17025 h 599179"/>
              <a:gd name="connsiteX2-113" fmla="*/ 263922 w 295275"/>
              <a:gd name="connsiteY2-114" fmla="*/ 59952 h 599179"/>
              <a:gd name="connsiteX3-115" fmla="*/ 275967 w 295275"/>
              <a:gd name="connsiteY3-116" fmla="*/ 66705 h 599179"/>
              <a:gd name="connsiteX4-117" fmla="*/ 258864 w 295275"/>
              <a:gd name="connsiteY4-118" fmla="*/ 77309 h 599179"/>
              <a:gd name="connsiteX5-119" fmla="*/ 152376 w 295275"/>
              <a:gd name="connsiteY5-120" fmla="*/ 303904 h 599179"/>
              <a:gd name="connsiteX6-121" fmla="*/ 295275 w 295275"/>
              <a:gd name="connsiteY6-122" fmla="*/ 303904 h 599179"/>
              <a:gd name="connsiteX7-123" fmla="*/ 295275 w 295275"/>
              <a:gd name="connsiteY7-124" fmla="*/ 599179 h 599179"/>
              <a:gd name="connsiteX8-125" fmla="*/ 0 w 295275"/>
              <a:gd name="connsiteY8-126" fmla="*/ 599179 h 599179"/>
              <a:gd name="connsiteX9-127" fmla="*/ 0 w 295275"/>
              <a:gd name="connsiteY9-128" fmla="*/ 303904 h 599179"/>
              <a:gd name="connsiteX10-129" fmla="*/ 5952 w 295275"/>
              <a:gd name="connsiteY10-130" fmla="*/ 269304 h 599179"/>
              <a:gd name="connsiteX11-131" fmla="*/ 204540 w 295275"/>
              <a:gd name="connsiteY11-132" fmla="*/ 547 h 599179"/>
              <a:gd name="connsiteX12-133" fmla="*/ 207995 w 295275"/>
              <a:gd name="connsiteY12-134" fmla="*/ 0 h 599179"/>
              <a:gd name="connsiteX0-135" fmla="*/ 207995 w 295275"/>
              <a:gd name="connsiteY0-136" fmla="*/ 0 h 599179"/>
              <a:gd name="connsiteX1-137" fmla="*/ 218480 w 295275"/>
              <a:gd name="connsiteY1-138" fmla="*/ 17025 h 599179"/>
              <a:gd name="connsiteX2-139" fmla="*/ 263922 w 295275"/>
              <a:gd name="connsiteY2-140" fmla="*/ 59952 h 599179"/>
              <a:gd name="connsiteX3-141" fmla="*/ 275967 w 295275"/>
              <a:gd name="connsiteY3-142" fmla="*/ 66705 h 599179"/>
              <a:gd name="connsiteX4-143" fmla="*/ 152376 w 295275"/>
              <a:gd name="connsiteY4-144" fmla="*/ 303904 h 599179"/>
              <a:gd name="connsiteX5-145" fmla="*/ 295275 w 295275"/>
              <a:gd name="connsiteY5-146" fmla="*/ 303904 h 599179"/>
              <a:gd name="connsiteX6-147" fmla="*/ 295275 w 295275"/>
              <a:gd name="connsiteY6-148" fmla="*/ 599179 h 599179"/>
              <a:gd name="connsiteX7-149" fmla="*/ 0 w 295275"/>
              <a:gd name="connsiteY7-150" fmla="*/ 599179 h 599179"/>
              <a:gd name="connsiteX8-151" fmla="*/ 0 w 295275"/>
              <a:gd name="connsiteY8-152" fmla="*/ 303904 h 599179"/>
              <a:gd name="connsiteX9-153" fmla="*/ 5952 w 295275"/>
              <a:gd name="connsiteY9-154" fmla="*/ 269304 h 599179"/>
              <a:gd name="connsiteX10-155" fmla="*/ 204540 w 295275"/>
              <a:gd name="connsiteY10-156" fmla="*/ 547 h 599179"/>
              <a:gd name="connsiteX11-157" fmla="*/ 207995 w 295275"/>
              <a:gd name="connsiteY11-158" fmla="*/ 0 h 599179"/>
              <a:gd name="connsiteX0-159" fmla="*/ 207995 w 295275"/>
              <a:gd name="connsiteY0-160" fmla="*/ 0 h 599179"/>
              <a:gd name="connsiteX1-161" fmla="*/ 218480 w 295275"/>
              <a:gd name="connsiteY1-162" fmla="*/ 17025 h 599179"/>
              <a:gd name="connsiteX2-163" fmla="*/ 263922 w 295275"/>
              <a:gd name="connsiteY2-164" fmla="*/ 59952 h 599179"/>
              <a:gd name="connsiteX3-165" fmla="*/ 275967 w 295275"/>
              <a:gd name="connsiteY3-166" fmla="*/ 66705 h 599179"/>
              <a:gd name="connsiteX4-167" fmla="*/ 152376 w 295275"/>
              <a:gd name="connsiteY4-168" fmla="*/ 303904 h 599179"/>
              <a:gd name="connsiteX5-169" fmla="*/ 295275 w 295275"/>
              <a:gd name="connsiteY5-170" fmla="*/ 303904 h 599179"/>
              <a:gd name="connsiteX6-171" fmla="*/ 295275 w 295275"/>
              <a:gd name="connsiteY6-172" fmla="*/ 599179 h 599179"/>
              <a:gd name="connsiteX7-173" fmla="*/ 0 w 295275"/>
              <a:gd name="connsiteY7-174" fmla="*/ 599179 h 599179"/>
              <a:gd name="connsiteX8-175" fmla="*/ 0 w 295275"/>
              <a:gd name="connsiteY8-176" fmla="*/ 303904 h 599179"/>
              <a:gd name="connsiteX9-177" fmla="*/ 5952 w 295275"/>
              <a:gd name="connsiteY9-178" fmla="*/ 269304 h 599179"/>
              <a:gd name="connsiteX10-179" fmla="*/ 204540 w 295275"/>
              <a:gd name="connsiteY10-180" fmla="*/ 547 h 599179"/>
              <a:gd name="connsiteX11-181" fmla="*/ 207995 w 295275"/>
              <a:gd name="connsiteY11-182" fmla="*/ 0 h 599179"/>
              <a:gd name="connsiteX0-183" fmla="*/ 207995 w 295275"/>
              <a:gd name="connsiteY0-184" fmla="*/ 0 h 599179"/>
              <a:gd name="connsiteX1-185" fmla="*/ 218480 w 295275"/>
              <a:gd name="connsiteY1-186" fmla="*/ 17025 h 599179"/>
              <a:gd name="connsiteX2-187" fmla="*/ 263922 w 295275"/>
              <a:gd name="connsiteY2-188" fmla="*/ 59952 h 599179"/>
              <a:gd name="connsiteX3-189" fmla="*/ 275967 w 295275"/>
              <a:gd name="connsiteY3-190" fmla="*/ 66705 h 599179"/>
              <a:gd name="connsiteX4-191" fmla="*/ 152376 w 295275"/>
              <a:gd name="connsiteY4-192" fmla="*/ 303904 h 599179"/>
              <a:gd name="connsiteX5-193" fmla="*/ 295275 w 295275"/>
              <a:gd name="connsiteY5-194" fmla="*/ 303904 h 599179"/>
              <a:gd name="connsiteX6-195" fmla="*/ 295275 w 295275"/>
              <a:gd name="connsiteY6-196" fmla="*/ 599179 h 599179"/>
              <a:gd name="connsiteX7-197" fmla="*/ 0 w 295275"/>
              <a:gd name="connsiteY7-198" fmla="*/ 599179 h 599179"/>
              <a:gd name="connsiteX8-199" fmla="*/ 0 w 295275"/>
              <a:gd name="connsiteY8-200" fmla="*/ 303904 h 599179"/>
              <a:gd name="connsiteX9-201" fmla="*/ 5952 w 295275"/>
              <a:gd name="connsiteY9-202" fmla="*/ 269304 h 599179"/>
              <a:gd name="connsiteX10-203" fmla="*/ 204540 w 295275"/>
              <a:gd name="connsiteY10-204" fmla="*/ 547 h 599179"/>
              <a:gd name="connsiteX11-205" fmla="*/ 207995 w 295275"/>
              <a:gd name="connsiteY11-206" fmla="*/ 0 h 599179"/>
              <a:gd name="connsiteX0-207" fmla="*/ 207995 w 295275"/>
              <a:gd name="connsiteY0-208" fmla="*/ 0 h 599179"/>
              <a:gd name="connsiteX1-209" fmla="*/ 218480 w 295275"/>
              <a:gd name="connsiteY1-210" fmla="*/ 17025 h 599179"/>
              <a:gd name="connsiteX2-211" fmla="*/ 263922 w 295275"/>
              <a:gd name="connsiteY2-212" fmla="*/ 59952 h 599179"/>
              <a:gd name="connsiteX3-213" fmla="*/ 275967 w 295275"/>
              <a:gd name="connsiteY3-214" fmla="*/ 66705 h 599179"/>
              <a:gd name="connsiteX4-215" fmla="*/ 152376 w 295275"/>
              <a:gd name="connsiteY4-216" fmla="*/ 303904 h 599179"/>
              <a:gd name="connsiteX5-217" fmla="*/ 295275 w 295275"/>
              <a:gd name="connsiteY5-218" fmla="*/ 303904 h 599179"/>
              <a:gd name="connsiteX6-219" fmla="*/ 295275 w 295275"/>
              <a:gd name="connsiteY6-220" fmla="*/ 599179 h 599179"/>
              <a:gd name="connsiteX7-221" fmla="*/ 0 w 295275"/>
              <a:gd name="connsiteY7-222" fmla="*/ 599179 h 599179"/>
              <a:gd name="connsiteX8-223" fmla="*/ 0 w 295275"/>
              <a:gd name="connsiteY8-224" fmla="*/ 303904 h 599179"/>
              <a:gd name="connsiteX9-225" fmla="*/ 5952 w 295275"/>
              <a:gd name="connsiteY9-226" fmla="*/ 269304 h 599179"/>
              <a:gd name="connsiteX10-227" fmla="*/ 204540 w 295275"/>
              <a:gd name="connsiteY10-228" fmla="*/ 547 h 599179"/>
              <a:gd name="connsiteX11-229" fmla="*/ 207995 w 295275"/>
              <a:gd name="connsiteY11-230" fmla="*/ 0 h 599179"/>
              <a:gd name="connsiteX0-231" fmla="*/ 207995 w 295275"/>
              <a:gd name="connsiteY0-232" fmla="*/ 0 h 599179"/>
              <a:gd name="connsiteX1-233" fmla="*/ 218480 w 295275"/>
              <a:gd name="connsiteY1-234" fmla="*/ 17025 h 599179"/>
              <a:gd name="connsiteX2-235" fmla="*/ 263922 w 295275"/>
              <a:gd name="connsiteY2-236" fmla="*/ 59952 h 599179"/>
              <a:gd name="connsiteX3-237" fmla="*/ 275967 w 295275"/>
              <a:gd name="connsiteY3-238" fmla="*/ 66705 h 599179"/>
              <a:gd name="connsiteX4-239" fmla="*/ 152376 w 295275"/>
              <a:gd name="connsiteY4-240" fmla="*/ 303904 h 599179"/>
              <a:gd name="connsiteX5-241" fmla="*/ 295275 w 295275"/>
              <a:gd name="connsiteY5-242" fmla="*/ 303904 h 599179"/>
              <a:gd name="connsiteX6-243" fmla="*/ 295275 w 295275"/>
              <a:gd name="connsiteY6-244" fmla="*/ 599179 h 599179"/>
              <a:gd name="connsiteX7-245" fmla="*/ 0 w 295275"/>
              <a:gd name="connsiteY7-246" fmla="*/ 599179 h 599179"/>
              <a:gd name="connsiteX8-247" fmla="*/ 0 w 295275"/>
              <a:gd name="connsiteY8-248" fmla="*/ 303904 h 599179"/>
              <a:gd name="connsiteX9-249" fmla="*/ 204540 w 295275"/>
              <a:gd name="connsiteY9-250" fmla="*/ 547 h 599179"/>
              <a:gd name="connsiteX10-251" fmla="*/ 207995 w 295275"/>
              <a:gd name="connsiteY10-252" fmla="*/ 0 h 599179"/>
              <a:gd name="connsiteX0-253" fmla="*/ 207995 w 295275"/>
              <a:gd name="connsiteY0-254" fmla="*/ 0 h 599179"/>
              <a:gd name="connsiteX1-255" fmla="*/ 218480 w 295275"/>
              <a:gd name="connsiteY1-256" fmla="*/ 17025 h 599179"/>
              <a:gd name="connsiteX2-257" fmla="*/ 263922 w 295275"/>
              <a:gd name="connsiteY2-258" fmla="*/ 59952 h 599179"/>
              <a:gd name="connsiteX3-259" fmla="*/ 275967 w 295275"/>
              <a:gd name="connsiteY3-260" fmla="*/ 66705 h 599179"/>
              <a:gd name="connsiteX4-261" fmla="*/ 152376 w 295275"/>
              <a:gd name="connsiteY4-262" fmla="*/ 303904 h 599179"/>
              <a:gd name="connsiteX5-263" fmla="*/ 295275 w 295275"/>
              <a:gd name="connsiteY5-264" fmla="*/ 303904 h 599179"/>
              <a:gd name="connsiteX6-265" fmla="*/ 295275 w 295275"/>
              <a:gd name="connsiteY6-266" fmla="*/ 599179 h 599179"/>
              <a:gd name="connsiteX7-267" fmla="*/ 0 w 295275"/>
              <a:gd name="connsiteY7-268" fmla="*/ 599179 h 599179"/>
              <a:gd name="connsiteX8-269" fmla="*/ 0 w 295275"/>
              <a:gd name="connsiteY8-270" fmla="*/ 303904 h 599179"/>
              <a:gd name="connsiteX9-271" fmla="*/ 204540 w 295275"/>
              <a:gd name="connsiteY9-272" fmla="*/ 547 h 599179"/>
              <a:gd name="connsiteX10-273" fmla="*/ 207995 w 295275"/>
              <a:gd name="connsiteY10-274" fmla="*/ 0 h 599179"/>
              <a:gd name="connsiteX0-275" fmla="*/ 207995 w 295275"/>
              <a:gd name="connsiteY0-276" fmla="*/ 0 h 599179"/>
              <a:gd name="connsiteX1-277" fmla="*/ 218480 w 295275"/>
              <a:gd name="connsiteY1-278" fmla="*/ 17025 h 599179"/>
              <a:gd name="connsiteX2-279" fmla="*/ 263922 w 295275"/>
              <a:gd name="connsiteY2-280" fmla="*/ 59952 h 599179"/>
              <a:gd name="connsiteX3-281" fmla="*/ 275967 w 295275"/>
              <a:gd name="connsiteY3-282" fmla="*/ 66705 h 599179"/>
              <a:gd name="connsiteX4-283" fmla="*/ 152376 w 295275"/>
              <a:gd name="connsiteY4-284" fmla="*/ 303904 h 599179"/>
              <a:gd name="connsiteX5-285" fmla="*/ 295275 w 295275"/>
              <a:gd name="connsiteY5-286" fmla="*/ 303904 h 599179"/>
              <a:gd name="connsiteX6-287" fmla="*/ 295275 w 295275"/>
              <a:gd name="connsiteY6-288" fmla="*/ 599179 h 599179"/>
              <a:gd name="connsiteX7-289" fmla="*/ 0 w 295275"/>
              <a:gd name="connsiteY7-290" fmla="*/ 599179 h 599179"/>
              <a:gd name="connsiteX8-291" fmla="*/ 0 w 295275"/>
              <a:gd name="connsiteY8-292" fmla="*/ 303904 h 599179"/>
              <a:gd name="connsiteX9-293" fmla="*/ 207995 w 295275"/>
              <a:gd name="connsiteY9-294" fmla="*/ 0 h 599179"/>
              <a:gd name="connsiteX0-295" fmla="*/ 207995 w 295275"/>
              <a:gd name="connsiteY0-296" fmla="*/ 0 h 599179"/>
              <a:gd name="connsiteX1-297" fmla="*/ 218480 w 295275"/>
              <a:gd name="connsiteY1-298" fmla="*/ 17025 h 599179"/>
              <a:gd name="connsiteX2-299" fmla="*/ 263922 w 295275"/>
              <a:gd name="connsiteY2-300" fmla="*/ 59952 h 599179"/>
              <a:gd name="connsiteX3-301" fmla="*/ 275967 w 295275"/>
              <a:gd name="connsiteY3-302" fmla="*/ 66705 h 599179"/>
              <a:gd name="connsiteX4-303" fmla="*/ 152376 w 295275"/>
              <a:gd name="connsiteY4-304" fmla="*/ 303904 h 599179"/>
              <a:gd name="connsiteX5-305" fmla="*/ 295275 w 295275"/>
              <a:gd name="connsiteY5-306" fmla="*/ 303904 h 599179"/>
              <a:gd name="connsiteX6-307" fmla="*/ 295275 w 295275"/>
              <a:gd name="connsiteY6-308" fmla="*/ 599179 h 599179"/>
              <a:gd name="connsiteX7-309" fmla="*/ 0 w 295275"/>
              <a:gd name="connsiteY7-310" fmla="*/ 599179 h 599179"/>
              <a:gd name="connsiteX8-311" fmla="*/ 0 w 295275"/>
              <a:gd name="connsiteY8-312" fmla="*/ 303904 h 599179"/>
              <a:gd name="connsiteX9-313" fmla="*/ 207995 w 295275"/>
              <a:gd name="connsiteY9-314" fmla="*/ 0 h 599179"/>
              <a:gd name="connsiteX0-315" fmla="*/ 207995 w 295275"/>
              <a:gd name="connsiteY0-316" fmla="*/ 0 h 599179"/>
              <a:gd name="connsiteX1-317" fmla="*/ 218480 w 295275"/>
              <a:gd name="connsiteY1-318" fmla="*/ 17025 h 599179"/>
              <a:gd name="connsiteX2-319" fmla="*/ 263922 w 295275"/>
              <a:gd name="connsiteY2-320" fmla="*/ 59952 h 599179"/>
              <a:gd name="connsiteX3-321" fmla="*/ 275967 w 295275"/>
              <a:gd name="connsiteY3-322" fmla="*/ 66705 h 599179"/>
              <a:gd name="connsiteX4-323" fmla="*/ 152376 w 295275"/>
              <a:gd name="connsiteY4-324" fmla="*/ 303904 h 599179"/>
              <a:gd name="connsiteX5-325" fmla="*/ 295275 w 295275"/>
              <a:gd name="connsiteY5-326" fmla="*/ 303904 h 599179"/>
              <a:gd name="connsiteX6-327" fmla="*/ 295275 w 295275"/>
              <a:gd name="connsiteY6-328" fmla="*/ 599179 h 599179"/>
              <a:gd name="connsiteX7-329" fmla="*/ 0 w 295275"/>
              <a:gd name="connsiteY7-330" fmla="*/ 599179 h 599179"/>
              <a:gd name="connsiteX8-331" fmla="*/ 0 w 295275"/>
              <a:gd name="connsiteY8-332" fmla="*/ 303904 h 599179"/>
              <a:gd name="connsiteX9-333" fmla="*/ 207995 w 295275"/>
              <a:gd name="connsiteY9-334" fmla="*/ 0 h 599179"/>
              <a:gd name="connsiteX0-335" fmla="*/ 207995 w 295275"/>
              <a:gd name="connsiteY0-336" fmla="*/ 0 h 599179"/>
              <a:gd name="connsiteX1-337" fmla="*/ 218480 w 295275"/>
              <a:gd name="connsiteY1-338" fmla="*/ 17025 h 599179"/>
              <a:gd name="connsiteX2-339" fmla="*/ 263922 w 295275"/>
              <a:gd name="connsiteY2-340" fmla="*/ 59952 h 599179"/>
              <a:gd name="connsiteX3-341" fmla="*/ 275967 w 295275"/>
              <a:gd name="connsiteY3-342" fmla="*/ 66705 h 599179"/>
              <a:gd name="connsiteX4-343" fmla="*/ 152376 w 295275"/>
              <a:gd name="connsiteY4-344" fmla="*/ 303904 h 599179"/>
              <a:gd name="connsiteX5-345" fmla="*/ 295275 w 295275"/>
              <a:gd name="connsiteY5-346" fmla="*/ 303904 h 599179"/>
              <a:gd name="connsiteX6-347" fmla="*/ 295275 w 295275"/>
              <a:gd name="connsiteY6-348" fmla="*/ 599179 h 599179"/>
              <a:gd name="connsiteX7-349" fmla="*/ 0 w 295275"/>
              <a:gd name="connsiteY7-350" fmla="*/ 599179 h 599179"/>
              <a:gd name="connsiteX8-351" fmla="*/ 0 w 295275"/>
              <a:gd name="connsiteY8-352" fmla="*/ 303904 h 599179"/>
              <a:gd name="connsiteX9-353" fmla="*/ 207995 w 295275"/>
              <a:gd name="connsiteY9-354" fmla="*/ 0 h 599179"/>
              <a:gd name="connsiteX0-355" fmla="*/ 207995 w 295275"/>
              <a:gd name="connsiteY0-356" fmla="*/ 0 h 599179"/>
              <a:gd name="connsiteX1-357" fmla="*/ 218480 w 295275"/>
              <a:gd name="connsiteY1-358" fmla="*/ 17025 h 599179"/>
              <a:gd name="connsiteX2-359" fmla="*/ 263922 w 295275"/>
              <a:gd name="connsiteY2-360" fmla="*/ 59952 h 599179"/>
              <a:gd name="connsiteX3-361" fmla="*/ 275967 w 295275"/>
              <a:gd name="connsiteY3-362" fmla="*/ 66705 h 599179"/>
              <a:gd name="connsiteX4-363" fmla="*/ 152376 w 295275"/>
              <a:gd name="connsiteY4-364" fmla="*/ 303904 h 599179"/>
              <a:gd name="connsiteX5-365" fmla="*/ 295275 w 295275"/>
              <a:gd name="connsiteY5-366" fmla="*/ 303904 h 599179"/>
              <a:gd name="connsiteX6-367" fmla="*/ 295275 w 295275"/>
              <a:gd name="connsiteY6-368" fmla="*/ 599179 h 599179"/>
              <a:gd name="connsiteX7-369" fmla="*/ 0 w 295275"/>
              <a:gd name="connsiteY7-370" fmla="*/ 599179 h 599179"/>
              <a:gd name="connsiteX8-371" fmla="*/ 0 w 295275"/>
              <a:gd name="connsiteY8-372" fmla="*/ 303904 h 599179"/>
              <a:gd name="connsiteX9-373" fmla="*/ 207995 w 295275"/>
              <a:gd name="connsiteY9-374" fmla="*/ 0 h 599179"/>
              <a:gd name="connsiteX0-375" fmla="*/ 207995 w 295275"/>
              <a:gd name="connsiteY0-376" fmla="*/ 0 h 599179"/>
              <a:gd name="connsiteX1-377" fmla="*/ 218480 w 295275"/>
              <a:gd name="connsiteY1-378" fmla="*/ 17025 h 599179"/>
              <a:gd name="connsiteX2-379" fmla="*/ 263922 w 295275"/>
              <a:gd name="connsiteY2-380" fmla="*/ 59952 h 599179"/>
              <a:gd name="connsiteX3-381" fmla="*/ 275967 w 295275"/>
              <a:gd name="connsiteY3-382" fmla="*/ 66705 h 599179"/>
              <a:gd name="connsiteX4-383" fmla="*/ 152376 w 295275"/>
              <a:gd name="connsiteY4-384" fmla="*/ 303904 h 599179"/>
              <a:gd name="connsiteX5-385" fmla="*/ 295275 w 295275"/>
              <a:gd name="connsiteY5-386" fmla="*/ 303904 h 599179"/>
              <a:gd name="connsiteX6-387" fmla="*/ 295275 w 295275"/>
              <a:gd name="connsiteY6-388" fmla="*/ 599179 h 599179"/>
              <a:gd name="connsiteX7-389" fmla="*/ 0 w 295275"/>
              <a:gd name="connsiteY7-390" fmla="*/ 599179 h 599179"/>
              <a:gd name="connsiteX8-391" fmla="*/ 0 w 295275"/>
              <a:gd name="connsiteY8-392" fmla="*/ 303904 h 599179"/>
              <a:gd name="connsiteX9-393" fmla="*/ 207995 w 295275"/>
              <a:gd name="connsiteY9-394" fmla="*/ 0 h 599179"/>
              <a:gd name="connsiteX0-395" fmla="*/ 207995 w 295275"/>
              <a:gd name="connsiteY0-396" fmla="*/ 0 h 599179"/>
              <a:gd name="connsiteX1-397" fmla="*/ 218480 w 295275"/>
              <a:gd name="connsiteY1-398" fmla="*/ 17025 h 599179"/>
              <a:gd name="connsiteX2-399" fmla="*/ 263922 w 295275"/>
              <a:gd name="connsiteY2-400" fmla="*/ 59952 h 599179"/>
              <a:gd name="connsiteX3-401" fmla="*/ 275967 w 295275"/>
              <a:gd name="connsiteY3-402" fmla="*/ 66705 h 599179"/>
              <a:gd name="connsiteX4-403" fmla="*/ 152376 w 295275"/>
              <a:gd name="connsiteY4-404" fmla="*/ 303904 h 599179"/>
              <a:gd name="connsiteX5-405" fmla="*/ 295275 w 295275"/>
              <a:gd name="connsiteY5-406" fmla="*/ 303904 h 599179"/>
              <a:gd name="connsiteX6-407" fmla="*/ 295275 w 295275"/>
              <a:gd name="connsiteY6-408" fmla="*/ 599179 h 599179"/>
              <a:gd name="connsiteX7-409" fmla="*/ 0 w 295275"/>
              <a:gd name="connsiteY7-410" fmla="*/ 599179 h 599179"/>
              <a:gd name="connsiteX8-411" fmla="*/ 0 w 295275"/>
              <a:gd name="connsiteY8-412" fmla="*/ 303904 h 599179"/>
              <a:gd name="connsiteX9-413" fmla="*/ 207995 w 295275"/>
              <a:gd name="connsiteY9-414" fmla="*/ 0 h 599179"/>
              <a:gd name="connsiteX0-415" fmla="*/ 207995 w 295275"/>
              <a:gd name="connsiteY0-416" fmla="*/ 0 h 599179"/>
              <a:gd name="connsiteX1-417" fmla="*/ 218480 w 295275"/>
              <a:gd name="connsiteY1-418" fmla="*/ 17025 h 599179"/>
              <a:gd name="connsiteX2-419" fmla="*/ 263922 w 295275"/>
              <a:gd name="connsiteY2-420" fmla="*/ 59952 h 599179"/>
              <a:gd name="connsiteX3-421" fmla="*/ 275967 w 295275"/>
              <a:gd name="connsiteY3-422" fmla="*/ 66705 h 599179"/>
              <a:gd name="connsiteX4-423" fmla="*/ 152376 w 295275"/>
              <a:gd name="connsiteY4-424" fmla="*/ 303904 h 599179"/>
              <a:gd name="connsiteX5-425" fmla="*/ 295275 w 295275"/>
              <a:gd name="connsiteY5-426" fmla="*/ 303904 h 599179"/>
              <a:gd name="connsiteX6-427" fmla="*/ 295275 w 295275"/>
              <a:gd name="connsiteY6-428" fmla="*/ 599179 h 599179"/>
              <a:gd name="connsiteX7-429" fmla="*/ 0 w 295275"/>
              <a:gd name="connsiteY7-430" fmla="*/ 599179 h 599179"/>
              <a:gd name="connsiteX8-431" fmla="*/ 0 w 295275"/>
              <a:gd name="connsiteY8-432" fmla="*/ 334942 h 599179"/>
              <a:gd name="connsiteX9-433" fmla="*/ 207995 w 295275"/>
              <a:gd name="connsiteY9-434" fmla="*/ 0 h 599179"/>
              <a:gd name="connsiteX0-435" fmla="*/ 207995 w 295275"/>
              <a:gd name="connsiteY0-436" fmla="*/ 0 h 599179"/>
              <a:gd name="connsiteX1-437" fmla="*/ 218480 w 295275"/>
              <a:gd name="connsiteY1-438" fmla="*/ 17025 h 599179"/>
              <a:gd name="connsiteX2-439" fmla="*/ 263922 w 295275"/>
              <a:gd name="connsiteY2-440" fmla="*/ 59952 h 599179"/>
              <a:gd name="connsiteX3-441" fmla="*/ 275967 w 295275"/>
              <a:gd name="connsiteY3-442" fmla="*/ 66705 h 599179"/>
              <a:gd name="connsiteX4-443" fmla="*/ 152376 w 295275"/>
              <a:gd name="connsiteY4-444" fmla="*/ 303904 h 599179"/>
              <a:gd name="connsiteX5-445" fmla="*/ 295275 w 295275"/>
              <a:gd name="connsiteY5-446" fmla="*/ 303904 h 599179"/>
              <a:gd name="connsiteX6-447" fmla="*/ 295275 w 295275"/>
              <a:gd name="connsiteY6-448" fmla="*/ 599179 h 599179"/>
              <a:gd name="connsiteX7-449" fmla="*/ 0 w 295275"/>
              <a:gd name="connsiteY7-450" fmla="*/ 599179 h 599179"/>
              <a:gd name="connsiteX8-451" fmla="*/ 0 w 295275"/>
              <a:gd name="connsiteY8-452" fmla="*/ 334942 h 599179"/>
              <a:gd name="connsiteX9-453" fmla="*/ 207995 w 295275"/>
              <a:gd name="connsiteY9-454" fmla="*/ 0 h 599179"/>
              <a:gd name="connsiteX0-455" fmla="*/ 207995 w 295275"/>
              <a:gd name="connsiteY0-456" fmla="*/ 0 h 599179"/>
              <a:gd name="connsiteX1-457" fmla="*/ 218480 w 295275"/>
              <a:gd name="connsiteY1-458" fmla="*/ 17025 h 599179"/>
              <a:gd name="connsiteX2-459" fmla="*/ 263922 w 295275"/>
              <a:gd name="connsiteY2-460" fmla="*/ 59952 h 599179"/>
              <a:gd name="connsiteX3-461" fmla="*/ 275967 w 295275"/>
              <a:gd name="connsiteY3-462" fmla="*/ 66705 h 599179"/>
              <a:gd name="connsiteX4-463" fmla="*/ 152376 w 295275"/>
              <a:gd name="connsiteY4-464" fmla="*/ 303904 h 599179"/>
              <a:gd name="connsiteX5-465" fmla="*/ 295275 w 295275"/>
              <a:gd name="connsiteY5-466" fmla="*/ 303904 h 599179"/>
              <a:gd name="connsiteX6-467" fmla="*/ 295275 w 295275"/>
              <a:gd name="connsiteY6-468" fmla="*/ 599179 h 599179"/>
              <a:gd name="connsiteX7-469" fmla="*/ 0 w 295275"/>
              <a:gd name="connsiteY7-470" fmla="*/ 599179 h 599179"/>
              <a:gd name="connsiteX8-471" fmla="*/ 0 w 295275"/>
              <a:gd name="connsiteY8-472" fmla="*/ 334942 h 599179"/>
              <a:gd name="connsiteX9-473" fmla="*/ 207995 w 295275"/>
              <a:gd name="connsiteY9-474" fmla="*/ 0 h 599179"/>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Lst>
            <a:rect l="l" t="t" r="r" b="b"/>
            <a:pathLst>
              <a:path w="295275" h="599179">
                <a:moveTo>
                  <a:pt x="207995" y="0"/>
                </a:moveTo>
                <a:lnTo>
                  <a:pt x="218480" y="17025"/>
                </a:lnTo>
                <a:cubicBezTo>
                  <a:pt x="231034" y="32364"/>
                  <a:pt x="246314" y="46986"/>
                  <a:pt x="263922" y="59952"/>
                </a:cubicBezTo>
                <a:lnTo>
                  <a:pt x="275967" y="66705"/>
                </a:lnTo>
                <a:cubicBezTo>
                  <a:pt x="274744" y="66607"/>
                  <a:pt x="166924" y="148026"/>
                  <a:pt x="152376" y="303904"/>
                </a:cubicBezTo>
                <a:lnTo>
                  <a:pt x="295275" y="303904"/>
                </a:lnTo>
                <a:lnTo>
                  <a:pt x="295275" y="599179"/>
                </a:lnTo>
                <a:lnTo>
                  <a:pt x="0" y="599179"/>
                </a:lnTo>
                <a:lnTo>
                  <a:pt x="0" y="334942"/>
                </a:lnTo>
                <a:cubicBezTo>
                  <a:pt x="10368" y="113589"/>
                  <a:pt x="207637" y="2353"/>
                  <a:pt x="207995" y="0"/>
                </a:cubicBezTo>
                <a:close/>
              </a:path>
            </a:pathLst>
          </a:custGeom>
          <a:noFill/>
          <a:ln w="38100" cap="rnd">
            <a:solidFill>
              <a:schemeClr val="tx1">
                <a:lumMod val="75000"/>
                <a:lumOff val="2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3" name="任意多边形: 形状 12"/>
          <p:cNvSpPr>
            <a:spLocks noChangeAspect="1"/>
          </p:cNvSpPr>
          <p:nvPr>
            <p:custDataLst>
              <p:tags r:id="rId73"/>
            </p:custDataLst>
          </p:nvPr>
        </p:nvSpPr>
        <p:spPr>
          <a:xfrm rot="10800000">
            <a:off x="10896600" y="676275"/>
            <a:ext cx="281940" cy="572135"/>
          </a:xfrm>
          <a:custGeom>
            <a:avLst/>
            <a:gdLst>
              <a:gd name="connsiteX0" fmla="*/ 207995 w 295275"/>
              <a:gd name="connsiteY0" fmla="*/ 0 h 599179"/>
              <a:gd name="connsiteX1" fmla="*/ 218480 w 295275"/>
              <a:gd name="connsiteY1" fmla="*/ 17025 h 599179"/>
              <a:gd name="connsiteX2" fmla="*/ 263922 w 295275"/>
              <a:gd name="connsiteY2" fmla="*/ 59952 h 599179"/>
              <a:gd name="connsiteX3" fmla="*/ 275967 w 295275"/>
              <a:gd name="connsiteY3" fmla="*/ 66705 h 599179"/>
              <a:gd name="connsiteX4" fmla="*/ 258864 w 295275"/>
              <a:gd name="connsiteY4" fmla="*/ 77309 h 599179"/>
              <a:gd name="connsiteX5" fmla="*/ 164932 w 295275"/>
              <a:gd name="connsiteY5" fmla="*/ 229252 h 599179"/>
              <a:gd name="connsiteX6" fmla="*/ 145322 w 295275"/>
              <a:gd name="connsiteY6" fmla="*/ 303904 h 599179"/>
              <a:gd name="connsiteX7" fmla="*/ 295275 w 295275"/>
              <a:gd name="connsiteY7" fmla="*/ 303904 h 599179"/>
              <a:gd name="connsiteX8" fmla="*/ 295275 w 295275"/>
              <a:gd name="connsiteY8" fmla="*/ 599179 h 599179"/>
              <a:gd name="connsiteX9" fmla="*/ 0 w 295275"/>
              <a:gd name="connsiteY9" fmla="*/ 599179 h 599179"/>
              <a:gd name="connsiteX10" fmla="*/ 0 w 295275"/>
              <a:gd name="connsiteY10" fmla="*/ 303904 h 599179"/>
              <a:gd name="connsiteX11" fmla="*/ 5952 w 295275"/>
              <a:gd name="connsiteY11" fmla="*/ 269304 h 599179"/>
              <a:gd name="connsiteX12" fmla="*/ 204540 w 295275"/>
              <a:gd name="connsiteY12" fmla="*/ 547 h 599179"/>
              <a:gd name="connsiteX0-1" fmla="*/ 207995 w 295275"/>
              <a:gd name="connsiteY0-2" fmla="*/ 0 h 599179"/>
              <a:gd name="connsiteX1-3" fmla="*/ 218480 w 295275"/>
              <a:gd name="connsiteY1-4" fmla="*/ 17025 h 599179"/>
              <a:gd name="connsiteX2-5" fmla="*/ 263922 w 295275"/>
              <a:gd name="connsiteY2-6" fmla="*/ 59952 h 599179"/>
              <a:gd name="connsiteX3-7" fmla="*/ 275967 w 295275"/>
              <a:gd name="connsiteY3-8" fmla="*/ 66705 h 599179"/>
              <a:gd name="connsiteX4-9" fmla="*/ 258864 w 295275"/>
              <a:gd name="connsiteY4-10" fmla="*/ 77309 h 599179"/>
              <a:gd name="connsiteX5-11" fmla="*/ 164932 w 295275"/>
              <a:gd name="connsiteY5-12" fmla="*/ 229252 h 599179"/>
              <a:gd name="connsiteX6-13" fmla="*/ 152376 w 295275"/>
              <a:gd name="connsiteY6-14" fmla="*/ 303904 h 599179"/>
              <a:gd name="connsiteX7-15" fmla="*/ 295275 w 295275"/>
              <a:gd name="connsiteY7-16" fmla="*/ 303904 h 599179"/>
              <a:gd name="connsiteX8-17" fmla="*/ 295275 w 295275"/>
              <a:gd name="connsiteY8-18" fmla="*/ 599179 h 599179"/>
              <a:gd name="connsiteX9-19" fmla="*/ 0 w 295275"/>
              <a:gd name="connsiteY9-20" fmla="*/ 599179 h 599179"/>
              <a:gd name="connsiteX10-21" fmla="*/ 0 w 295275"/>
              <a:gd name="connsiteY10-22" fmla="*/ 303904 h 599179"/>
              <a:gd name="connsiteX11-23" fmla="*/ 5952 w 295275"/>
              <a:gd name="connsiteY11-24" fmla="*/ 269304 h 599179"/>
              <a:gd name="connsiteX12-25" fmla="*/ 204540 w 295275"/>
              <a:gd name="connsiteY12-26" fmla="*/ 547 h 599179"/>
              <a:gd name="connsiteX13" fmla="*/ 207995 w 295275"/>
              <a:gd name="connsiteY13" fmla="*/ 0 h 599179"/>
              <a:gd name="connsiteX0-27" fmla="*/ 207995 w 295275"/>
              <a:gd name="connsiteY0-28" fmla="*/ 0 h 599179"/>
              <a:gd name="connsiteX1-29" fmla="*/ 218480 w 295275"/>
              <a:gd name="connsiteY1-30" fmla="*/ 17025 h 599179"/>
              <a:gd name="connsiteX2-31" fmla="*/ 263922 w 295275"/>
              <a:gd name="connsiteY2-32" fmla="*/ 59952 h 599179"/>
              <a:gd name="connsiteX3-33" fmla="*/ 275967 w 295275"/>
              <a:gd name="connsiteY3-34" fmla="*/ 66705 h 599179"/>
              <a:gd name="connsiteX4-35" fmla="*/ 258864 w 295275"/>
              <a:gd name="connsiteY4-36" fmla="*/ 77309 h 599179"/>
              <a:gd name="connsiteX5-37" fmla="*/ 164932 w 295275"/>
              <a:gd name="connsiteY5-38" fmla="*/ 229252 h 599179"/>
              <a:gd name="connsiteX6-39" fmla="*/ 152376 w 295275"/>
              <a:gd name="connsiteY6-40" fmla="*/ 303904 h 599179"/>
              <a:gd name="connsiteX7-41" fmla="*/ 295275 w 295275"/>
              <a:gd name="connsiteY7-42" fmla="*/ 303904 h 599179"/>
              <a:gd name="connsiteX8-43" fmla="*/ 295275 w 295275"/>
              <a:gd name="connsiteY8-44" fmla="*/ 599179 h 599179"/>
              <a:gd name="connsiteX9-45" fmla="*/ 0 w 295275"/>
              <a:gd name="connsiteY9-46" fmla="*/ 599179 h 599179"/>
              <a:gd name="connsiteX10-47" fmla="*/ 0 w 295275"/>
              <a:gd name="connsiteY10-48" fmla="*/ 303904 h 599179"/>
              <a:gd name="connsiteX11-49" fmla="*/ 5952 w 295275"/>
              <a:gd name="connsiteY11-50" fmla="*/ 269304 h 599179"/>
              <a:gd name="connsiteX12-51" fmla="*/ 204540 w 295275"/>
              <a:gd name="connsiteY12-52" fmla="*/ 547 h 599179"/>
              <a:gd name="connsiteX13-53" fmla="*/ 207995 w 295275"/>
              <a:gd name="connsiteY13-54" fmla="*/ 0 h 599179"/>
              <a:gd name="connsiteX0-55" fmla="*/ 207995 w 295275"/>
              <a:gd name="connsiteY0-56" fmla="*/ 0 h 599179"/>
              <a:gd name="connsiteX1-57" fmla="*/ 218480 w 295275"/>
              <a:gd name="connsiteY1-58" fmla="*/ 17025 h 599179"/>
              <a:gd name="connsiteX2-59" fmla="*/ 263922 w 295275"/>
              <a:gd name="connsiteY2-60" fmla="*/ 59952 h 599179"/>
              <a:gd name="connsiteX3-61" fmla="*/ 275967 w 295275"/>
              <a:gd name="connsiteY3-62" fmla="*/ 66705 h 599179"/>
              <a:gd name="connsiteX4-63" fmla="*/ 258864 w 295275"/>
              <a:gd name="connsiteY4-64" fmla="*/ 77309 h 599179"/>
              <a:gd name="connsiteX5-65" fmla="*/ 164932 w 295275"/>
              <a:gd name="connsiteY5-66" fmla="*/ 229252 h 599179"/>
              <a:gd name="connsiteX6-67" fmla="*/ 152376 w 295275"/>
              <a:gd name="connsiteY6-68" fmla="*/ 303904 h 599179"/>
              <a:gd name="connsiteX7-69" fmla="*/ 295275 w 295275"/>
              <a:gd name="connsiteY7-70" fmla="*/ 303904 h 599179"/>
              <a:gd name="connsiteX8-71" fmla="*/ 295275 w 295275"/>
              <a:gd name="connsiteY8-72" fmla="*/ 599179 h 599179"/>
              <a:gd name="connsiteX9-73" fmla="*/ 0 w 295275"/>
              <a:gd name="connsiteY9-74" fmla="*/ 599179 h 599179"/>
              <a:gd name="connsiteX10-75" fmla="*/ 0 w 295275"/>
              <a:gd name="connsiteY10-76" fmla="*/ 303904 h 599179"/>
              <a:gd name="connsiteX11-77" fmla="*/ 5952 w 295275"/>
              <a:gd name="connsiteY11-78" fmla="*/ 269304 h 599179"/>
              <a:gd name="connsiteX12-79" fmla="*/ 204540 w 295275"/>
              <a:gd name="connsiteY12-80" fmla="*/ 547 h 599179"/>
              <a:gd name="connsiteX13-81" fmla="*/ 207995 w 295275"/>
              <a:gd name="connsiteY13-82" fmla="*/ 0 h 599179"/>
              <a:gd name="connsiteX0-83" fmla="*/ 207995 w 295275"/>
              <a:gd name="connsiteY0-84" fmla="*/ 0 h 599179"/>
              <a:gd name="connsiteX1-85" fmla="*/ 218480 w 295275"/>
              <a:gd name="connsiteY1-86" fmla="*/ 17025 h 599179"/>
              <a:gd name="connsiteX2-87" fmla="*/ 263922 w 295275"/>
              <a:gd name="connsiteY2-88" fmla="*/ 59952 h 599179"/>
              <a:gd name="connsiteX3-89" fmla="*/ 275967 w 295275"/>
              <a:gd name="connsiteY3-90" fmla="*/ 66705 h 599179"/>
              <a:gd name="connsiteX4-91" fmla="*/ 258864 w 295275"/>
              <a:gd name="connsiteY4-92" fmla="*/ 77309 h 599179"/>
              <a:gd name="connsiteX5-93" fmla="*/ 152376 w 295275"/>
              <a:gd name="connsiteY5-94" fmla="*/ 303904 h 599179"/>
              <a:gd name="connsiteX6-95" fmla="*/ 295275 w 295275"/>
              <a:gd name="connsiteY6-96" fmla="*/ 303904 h 599179"/>
              <a:gd name="connsiteX7-97" fmla="*/ 295275 w 295275"/>
              <a:gd name="connsiteY7-98" fmla="*/ 599179 h 599179"/>
              <a:gd name="connsiteX8-99" fmla="*/ 0 w 295275"/>
              <a:gd name="connsiteY8-100" fmla="*/ 599179 h 599179"/>
              <a:gd name="connsiteX9-101" fmla="*/ 0 w 295275"/>
              <a:gd name="connsiteY9-102" fmla="*/ 303904 h 599179"/>
              <a:gd name="connsiteX10-103" fmla="*/ 5952 w 295275"/>
              <a:gd name="connsiteY10-104" fmla="*/ 269304 h 599179"/>
              <a:gd name="connsiteX11-105" fmla="*/ 204540 w 295275"/>
              <a:gd name="connsiteY11-106" fmla="*/ 547 h 599179"/>
              <a:gd name="connsiteX12-107" fmla="*/ 207995 w 295275"/>
              <a:gd name="connsiteY12-108" fmla="*/ 0 h 599179"/>
              <a:gd name="connsiteX0-109" fmla="*/ 207995 w 295275"/>
              <a:gd name="connsiteY0-110" fmla="*/ 0 h 599179"/>
              <a:gd name="connsiteX1-111" fmla="*/ 218480 w 295275"/>
              <a:gd name="connsiteY1-112" fmla="*/ 17025 h 599179"/>
              <a:gd name="connsiteX2-113" fmla="*/ 263922 w 295275"/>
              <a:gd name="connsiteY2-114" fmla="*/ 59952 h 599179"/>
              <a:gd name="connsiteX3-115" fmla="*/ 275967 w 295275"/>
              <a:gd name="connsiteY3-116" fmla="*/ 66705 h 599179"/>
              <a:gd name="connsiteX4-117" fmla="*/ 258864 w 295275"/>
              <a:gd name="connsiteY4-118" fmla="*/ 77309 h 599179"/>
              <a:gd name="connsiteX5-119" fmla="*/ 152376 w 295275"/>
              <a:gd name="connsiteY5-120" fmla="*/ 303904 h 599179"/>
              <a:gd name="connsiteX6-121" fmla="*/ 295275 w 295275"/>
              <a:gd name="connsiteY6-122" fmla="*/ 303904 h 599179"/>
              <a:gd name="connsiteX7-123" fmla="*/ 295275 w 295275"/>
              <a:gd name="connsiteY7-124" fmla="*/ 599179 h 599179"/>
              <a:gd name="connsiteX8-125" fmla="*/ 0 w 295275"/>
              <a:gd name="connsiteY8-126" fmla="*/ 599179 h 599179"/>
              <a:gd name="connsiteX9-127" fmla="*/ 0 w 295275"/>
              <a:gd name="connsiteY9-128" fmla="*/ 303904 h 599179"/>
              <a:gd name="connsiteX10-129" fmla="*/ 5952 w 295275"/>
              <a:gd name="connsiteY10-130" fmla="*/ 269304 h 599179"/>
              <a:gd name="connsiteX11-131" fmla="*/ 204540 w 295275"/>
              <a:gd name="connsiteY11-132" fmla="*/ 547 h 599179"/>
              <a:gd name="connsiteX12-133" fmla="*/ 207995 w 295275"/>
              <a:gd name="connsiteY12-134" fmla="*/ 0 h 599179"/>
              <a:gd name="connsiteX0-135" fmla="*/ 207995 w 295275"/>
              <a:gd name="connsiteY0-136" fmla="*/ 0 h 599179"/>
              <a:gd name="connsiteX1-137" fmla="*/ 218480 w 295275"/>
              <a:gd name="connsiteY1-138" fmla="*/ 17025 h 599179"/>
              <a:gd name="connsiteX2-139" fmla="*/ 263922 w 295275"/>
              <a:gd name="connsiteY2-140" fmla="*/ 59952 h 599179"/>
              <a:gd name="connsiteX3-141" fmla="*/ 275967 w 295275"/>
              <a:gd name="connsiteY3-142" fmla="*/ 66705 h 599179"/>
              <a:gd name="connsiteX4-143" fmla="*/ 152376 w 295275"/>
              <a:gd name="connsiteY4-144" fmla="*/ 303904 h 599179"/>
              <a:gd name="connsiteX5-145" fmla="*/ 295275 w 295275"/>
              <a:gd name="connsiteY5-146" fmla="*/ 303904 h 599179"/>
              <a:gd name="connsiteX6-147" fmla="*/ 295275 w 295275"/>
              <a:gd name="connsiteY6-148" fmla="*/ 599179 h 599179"/>
              <a:gd name="connsiteX7-149" fmla="*/ 0 w 295275"/>
              <a:gd name="connsiteY7-150" fmla="*/ 599179 h 599179"/>
              <a:gd name="connsiteX8-151" fmla="*/ 0 w 295275"/>
              <a:gd name="connsiteY8-152" fmla="*/ 303904 h 599179"/>
              <a:gd name="connsiteX9-153" fmla="*/ 5952 w 295275"/>
              <a:gd name="connsiteY9-154" fmla="*/ 269304 h 599179"/>
              <a:gd name="connsiteX10-155" fmla="*/ 204540 w 295275"/>
              <a:gd name="connsiteY10-156" fmla="*/ 547 h 599179"/>
              <a:gd name="connsiteX11-157" fmla="*/ 207995 w 295275"/>
              <a:gd name="connsiteY11-158" fmla="*/ 0 h 599179"/>
              <a:gd name="connsiteX0-159" fmla="*/ 207995 w 295275"/>
              <a:gd name="connsiteY0-160" fmla="*/ 0 h 599179"/>
              <a:gd name="connsiteX1-161" fmla="*/ 218480 w 295275"/>
              <a:gd name="connsiteY1-162" fmla="*/ 17025 h 599179"/>
              <a:gd name="connsiteX2-163" fmla="*/ 263922 w 295275"/>
              <a:gd name="connsiteY2-164" fmla="*/ 59952 h 599179"/>
              <a:gd name="connsiteX3-165" fmla="*/ 275967 w 295275"/>
              <a:gd name="connsiteY3-166" fmla="*/ 66705 h 599179"/>
              <a:gd name="connsiteX4-167" fmla="*/ 152376 w 295275"/>
              <a:gd name="connsiteY4-168" fmla="*/ 303904 h 599179"/>
              <a:gd name="connsiteX5-169" fmla="*/ 295275 w 295275"/>
              <a:gd name="connsiteY5-170" fmla="*/ 303904 h 599179"/>
              <a:gd name="connsiteX6-171" fmla="*/ 295275 w 295275"/>
              <a:gd name="connsiteY6-172" fmla="*/ 599179 h 599179"/>
              <a:gd name="connsiteX7-173" fmla="*/ 0 w 295275"/>
              <a:gd name="connsiteY7-174" fmla="*/ 599179 h 599179"/>
              <a:gd name="connsiteX8-175" fmla="*/ 0 w 295275"/>
              <a:gd name="connsiteY8-176" fmla="*/ 303904 h 599179"/>
              <a:gd name="connsiteX9-177" fmla="*/ 5952 w 295275"/>
              <a:gd name="connsiteY9-178" fmla="*/ 269304 h 599179"/>
              <a:gd name="connsiteX10-179" fmla="*/ 204540 w 295275"/>
              <a:gd name="connsiteY10-180" fmla="*/ 547 h 599179"/>
              <a:gd name="connsiteX11-181" fmla="*/ 207995 w 295275"/>
              <a:gd name="connsiteY11-182" fmla="*/ 0 h 599179"/>
              <a:gd name="connsiteX0-183" fmla="*/ 207995 w 295275"/>
              <a:gd name="connsiteY0-184" fmla="*/ 0 h 599179"/>
              <a:gd name="connsiteX1-185" fmla="*/ 218480 w 295275"/>
              <a:gd name="connsiteY1-186" fmla="*/ 17025 h 599179"/>
              <a:gd name="connsiteX2-187" fmla="*/ 263922 w 295275"/>
              <a:gd name="connsiteY2-188" fmla="*/ 59952 h 599179"/>
              <a:gd name="connsiteX3-189" fmla="*/ 275967 w 295275"/>
              <a:gd name="connsiteY3-190" fmla="*/ 66705 h 599179"/>
              <a:gd name="connsiteX4-191" fmla="*/ 152376 w 295275"/>
              <a:gd name="connsiteY4-192" fmla="*/ 303904 h 599179"/>
              <a:gd name="connsiteX5-193" fmla="*/ 295275 w 295275"/>
              <a:gd name="connsiteY5-194" fmla="*/ 303904 h 599179"/>
              <a:gd name="connsiteX6-195" fmla="*/ 295275 w 295275"/>
              <a:gd name="connsiteY6-196" fmla="*/ 599179 h 599179"/>
              <a:gd name="connsiteX7-197" fmla="*/ 0 w 295275"/>
              <a:gd name="connsiteY7-198" fmla="*/ 599179 h 599179"/>
              <a:gd name="connsiteX8-199" fmla="*/ 0 w 295275"/>
              <a:gd name="connsiteY8-200" fmla="*/ 303904 h 599179"/>
              <a:gd name="connsiteX9-201" fmla="*/ 5952 w 295275"/>
              <a:gd name="connsiteY9-202" fmla="*/ 269304 h 599179"/>
              <a:gd name="connsiteX10-203" fmla="*/ 204540 w 295275"/>
              <a:gd name="connsiteY10-204" fmla="*/ 547 h 599179"/>
              <a:gd name="connsiteX11-205" fmla="*/ 207995 w 295275"/>
              <a:gd name="connsiteY11-206" fmla="*/ 0 h 599179"/>
              <a:gd name="connsiteX0-207" fmla="*/ 207995 w 295275"/>
              <a:gd name="connsiteY0-208" fmla="*/ 0 h 599179"/>
              <a:gd name="connsiteX1-209" fmla="*/ 218480 w 295275"/>
              <a:gd name="connsiteY1-210" fmla="*/ 17025 h 599179"/>
              <a:gd name="connsiteX2-211" fmla="*/ 263922 w 295275"/>
              <a:gd name="connsiteY2-212" fmla="*/ 59952 h 599179"/>
              <a:gd name="connsiteX3-213" fmla="*/ 275967 w 295275"/>
              <a:gd name="connsiteY3-214" fmla="*/ 66705 h 599179"/>
              <a:gd name="connsiteX4-215" fmla="*/ 152376 w 295275"/>
              <a:gd name="connsiteY4-216" fmla="*/ 303904 h 599179"/>
              <a:gd name="connsiteX5-217" fmla="*/ 295275 w 295275"/>
              <a:gd name="connsiteY5-218" fmla="*/ 303904 h 599179"/>
              <a:gd name="connsiteX6-219" fmla="*/ 295275 w 295275"/>
              <a:gd name="connsiteY6-220" fmla="*/ 599179 h 599179"/>
              <a:gd name="connsiteX7-221" fmla="*/ 0 w 295275"/>
              <a:gd name="connsiteY7-222" fmla="*/ 599179 h 599179"/>
              <a:gd name="connsiteX8-223" fmla="*/ 0 w 295275"/>
              <a:gd name="connsiteY8-224" fmla="*/ 303904 h 599179"/>
              <a:gd name="connsiteX9-225" fmla="*/ 5952 w 295275"/>
              <a:gd name="connsiteY9-226" fmla="*/ 269304 h 599179"/>
              <a:gd name="connsiteX10-227" fmla="*/ 204540 w 295275"/>
              <a:gd name="connsiteY10-228" fmla="*/ 547 h 599179"/>
              <a:gd name="connsiteX11-229" fmla="*/ 207995 w 295275"/>
              <a:gd name="connsiteY11-230" fmla="*/ 0 h 599179"/>
              <a:gd name="connsiteX0-231" fmla="*/ 207995 w 295275"/>
              <a:gd name="connsiteY0-232" fmla="*/ 0 h 599179"/>
              <a:gd name="connsiteX1-233" fmla="*/ 218480 w 295275"/>
              <a:gd name="connsiteY1-234" fmla="*/ 17025 h 599179"/>
              <a:gd name="connsiteX2-235" fmla="*/ 263922 w 295275"/>
              <a:gd name="connsiteY2-236" fmla="*/ 59952 h 599179"/>
              <a:gd name="connsiteX3-237" fmla="*/ 275967 w 295275"/>
              <a:gd name="connsiteY3-238" fmla="*/ 66705 h 599179"/>
              <a:gd name="connsiteX4-239" fmla="*/ 152376 w 295275"/>
              <a:gd name="connsiteY4-240" fmla="*/ 303904 h 599179"/>
              <a:gd name="connsiteX5-241" fmla="*/ 295275 w 295275"/>
              <a:gd name="connsiteY5-242" fmla="*/ 303904 h 599179"/>
              <a:gd name="connsiteX6-243" fmla="*/ 295275 w 295275"/>
              <a:gd name="connsiteY6-244" fmla="*/ 599179 h 599179"/>
              <a:gd name="connsiteX7-245" fmla="*/ 0 w 295275"/>
              <a:gd name="connsiteY7-246" fmla="*/ 599179 h 599179"/>
              <a:gd name="connsiteX8-247" fmla="*/ 0 w 295275"/>
              <a:gd name="connsiteY8-248" fmla="*/ 303904 h 599179"/>
              <a:gd name="connsiteX9-249" fmla="*/ 204540 w 295275"/>
              <a:gd name="connsiteY9-250" fmla="*/ 547 h 599179"/>
              <a:gd name="connsiteX10-251" fmla="*/ 207995 w 295275"/>
              <a:gd name="connsiteY10-252" fmla="*/ 0 h 599179"/>
              <a:gd name="connsiteX0-253" fmla="*/ 207995 w 295275"/>
              <a:gd name="connsiteY0-254" fmla="*/ 0 h 599179"/>
              <a:gd name="connsiteX1-255" fmla="*/ 218480 w 295275"/>
              <a:gd name="connsiteY1-256" fmla="*/ 17025 h 599179"/>
              <a:gd name="connsiteX2-257" fmla="*/ 263922 w 295275"/>
              <a:gd name="connsiteY2-258" fmla="*/ 59952 h 599179"/>
              <a:gd name="connsiteX3-259" fmla="*/ 275967 w 295275"/>
              <a:gd name="connsiteY3-260" fmla="*/ 66705 h 599179"/>
              <a:gd name="connsiteX4-261" fmla="*/ 152376 w 295275"/>
              <a:gd name="connsiteY4-262" fmla="*/ 303904 h 599179"/>
              <a:gd name="connsiteX5-263" fmla="*/ 295275 w 295275"/>
              <a:gd name="connsiteY5-264" fmla="*/ 303904 h 599179"/>
              <a:gd name="connsiteX6-265" fmla="*/ 295275 w 295275"/>
              <a:gd name="connsiteY6-266" fmla="*/ 599179 h 599179"/>
              <a:gd name="connsiteX7-267" fmla="*/ 0 w 295275"/>
              <a:gd name="connsiteY7-268" fmla="*/ 599179 h 599179"/>
              <a:gd name="connsiteX8-269" fmla="*/ 0 w 295275"/>
              <a:gd name="connsiteY8-270" fmla="*/ 303904 h 599179"/>
              <a:gd name="connsiteX9-271" fmla="*/ 204540 w 295275"/>
              <a:gd name="connsiteY9-272" fmla="*/ 547 h 599179"/>
              <a:gd name="connsiteX10-273" fmla="*/ 207995 w 295275"/>
              <a:gd name="connsiteY10-274" fmla="*/ 0 h 599179"/>
              <a:gd name="connsiteX0-275" fmla="*/ 207995 w 295275"/>
              <a:gd name="connsiteY0-276" fmla="*/ 0 h 599179"/>
              <a:gd name="connsiteX1-277" fmla="*/ 218480 w 295275"/>
              <a:gd name="connsiteY1-278" fmla="*/ 17025 h 599179"/>
              <a:gd name="connsiteX2-279" fmla="*/ 263922 w 295275"/>
              <a:gd name="connsiteY2-280" fmla="*/ 59952 h 599179"/>
              <a:gd name="connsiteX3-281" fmla="*/ 275967 w 295275"/>
              <a:gd name="connsiteY3-282" fmla="*/ 66705 h 599179"/>
              <a:gd name="connsiteX4-283" fmla="*/ 152376 w 295275"/>
              <a:gd name="connsiteY4-284" fmla="*/ 303904 h 599179"/>
              <a:gd name="connsiteX5-285" fmla="*/ 295275 w 295275"/>
              <a:gd name="connsiteY5-286" fmla="*/ 303904 h 599179"/>
              <a:gd name="connsiteX6-287" fmla="*/ 295275 w 295275"/>
              <a:gd name="connsiteY6-288" fmla="*/ 599179 h 599179"/>
              <a:gd name="connsiteX7-289" fmla="*/ 0 w 295275"/>
              <a:gd name="connsiteY7-290" fmla="*/ 599179 h 599179"/>
              <a:gd name="connsiteX8-291" fmla="*/ 0 w 295275"/>
              <a:gd name="connsiteY8-292" fmla="*/ 303904 h 599179"/>
              <a:gd name="connsiteX9-293" fmla="*/ 207995 w 295275"/>
              <a:gd name="connsiteY9-294" fmla="*/ 0 h 599179"/>
              <a:gd name="connsiteX0-295" fmla="*/ 207995 w 295275"/>
              <a:gd name="connsiteY0-296" fmla="*/ 0 h 599179"/>
              <a:gd name="connsiteX1-297" fmla="*/ 218480 w 295275"/>
              <a:gd name="connsiteY1-298" fmla="*/ 17025 h 599179"/>
              <a:gd name="connsiteX2-299" fmla="*/ 263922 w 295275"/>
              <a:gd name="connsiteY2-300" fmla="*/ 59952 h 599179"/>
              <a:gd name="connsiteX3-301" fmla="*/ 275967 w 295275"/>
              <a:gd name="connsiteY3-302" fmla="*/ 66705 h 599179"/>
              <a:gd name="connsiteX4-303" fmla="*/ 152376 w 295275"/>
              <a:gd name="connsiteY4-304" fmla="*/ 303904 h 599179"/>
              <a:gd name="connsiteX5-305" fmla="*/ 295275 w 295275"/>
              <a:gd name="connsiteY5-306" fmla="*/ 303904 h 599179"/>
              <a:gd name="connsiteX6-307" fmla="*/ 295275 w 295275"/>
              <a:gd name="connsiteY6-308" fmla="*/ 599179 h 599179"/>
              <a:gd name="connsiteX7-309" fmla="*/ 0 w 295275"/>
              <a:gd name="connsiteY7-310" fmla="*/ 599179 h 599179"/>
              <a:gd name="connsiteX8-311" fmla="*/ 0 w 295275"/>
              <a:gd name="connsiteY8-312" fmla="*/ 303904 h 599179"/>
              <a:gd name="connsiteX9-313" fmla="*/ 207995 w 295275"/>
              <a:gd name="connsiteY9-314" fmla="*/ 0 h 599179"/>
              <a:gd name="connsiteX0-315" fmla="*/ 207995 w 295275"/>
              <a:gd name="connsiteY0-316" fmla="*/ 0 h 599179"/>
              <a:gd name="connsiteX1-317" fmla="*/ 218480 w 295275"/>
              <a:gd name="connsiteY1-318" fmla="*/ 17025 h 599179"/>
              <a:gd name="connsiteX2-319" fmla="*/ 263922 w 295275"/>
              <a:gd name="connsiteY2-320" fmla="*/ 59952 h 599179"/>
              <a:gd name="connsiteX3-321" fmla="*/ 275967 w 295275"/>
              <a:gd name="connsiteY3-322" fmla="*/ 66705 h 599179"/>
              <a:gd name="connsiteX4-323" fmla="*/ 152376 w 295275"/>
              <a:gd name="connsiteY4-324" fmla="*/ 303904 h 599179"/>
              <a:gd name="connsiteX5-325" fmla="*/ 295275 w 295275"/>
              <a:gd name="connsiteY5-326" fmla="*/ 303904 h 599179"/>
              <a:gd name="connsiteX6-327" fmla="*/ 295275 w 295275"/>
              <a:gd name="connsiteY6-328" fmla="*/ 599179 h 599179"/>
              <a:gd name="connsiteX7-329" fmla="*/ 0 w 295275"/>
              <a:gd name="connsiteY7-330" fmla="*/ 599179 h 599179"/>
              <a:gd name="connsiteX8-331" fmla="*/ 0 w 295275"/>
              <a:gd name="connsiteY8-332" fmla="*/ 303904 h 599179"/>
              <a:gd name="connsiteX9-333" fmla="*/ 207995 w 295275"/>
              <a:gd name="connsiteY9-334" fmla="*/ 0 h 599179"/>
              <a:gd name="connsiteX0-335" fmla="*/ 207995 w 295275"/>
              <a:gd name="connsiteY0-336" fmla="*/ 0 h 599179"/>
              <a:gd name="connsiteX1-337" fmla="*/ 218480 w 295275"/>
              <a:gd name="connsiteY1-338" fmla="*/ 17025 h 599179"/>
              <a:gd name="connsiteX2-339" fmla="*/ 263922 w 295275"/>
              <a:gd name="connsiteY2-340" fmla="*/ 59952 h 599179"/>
              <a:gd name="connsiteX3-341" fmla="*/ 275967 w 295275"/>
              <a:gd name="connsiteY3-342" fmla="*/ 66705 h 599179"/>
              <a:gd name="connsiteX4-343" fmla="*/ 152376 w 295275"/>
              <a:gd name="connsiteY4-344" fmla="*/ 303904 h 599179"/>
              <a:gd name="connsiteX5-345" fmla="*/ 295275 w 295275"/>
              <a:gd name="connsiteY5-346" fmla="*/ 303904 h 599179"/>
              <a:gd name="connsiteX6-347" fmla="*/ 295275 w 295275"/>
              <a:gd name="connsiteY6-348" fmla="*/ 599179 h 599179"/>
              <a:gd name="connsiteX7-349" fmla="*/ 0 w 295275"/>
              <a:gd name="connsiteY7-350" fmla="*/ 599179 h 599179"/>
              <a:gd name="connsiteX8-351" fmla="*/ 0 w 295275"/>
              <a:gd name="connsiteY8-352" fmla="*/ 303904 h 599179"/>
              <a:gd name="connsiteX9-353" fmla="*/ 207995 w 295275"/>
              <a:gd name="connsiteY9-354" fmla="*/ 0 h 599179"/>
              <a:gd name="connsiteX0-355" fmla="*/ 207995 w 295275"/>
              <a:gd name="connsiteY0-356" fmla="*/ 0 h 599179"/>
              <a:gd name="connsiteX1-357" fmla="*/ 218480 w 295275"/>
              <a:gd name="connsiteY1-358" fmla="*/ 17025 h 599179"/>
              <a:gd name="connsiteX2-359" fmla="*/ 263922 w 295275"/>
              <a:gd name="connsiteY2-360" fmla="*/ 59952 h 599179"/>
              <a:gd name="connsiteX3-361" fmla="*/ 275967 w 295275"/>
              <a:gd name="connsiteY3-362" fmla="*/ 66705 h 599179"/>
              <a:gd name="connsiteX4-363" fmla="*/ 152376 w 295275"/>
              <a:gd name="connsiteY4-364" fmla="*/ 303904 h 599179"/>
              <a:gd name="connsiteX5-365" fmla="*/ 295275 w 295275"/>
              <a:gd name="connsiteY5-366" fmla="*/ 303904 h 599179"/>
              <a:gd name="connsiteX6-367" fmla="*/ 295275 w 295275"/>
              <a:gd name="connsiteY6-368" fmla="*/ 599179 h 599179"/>
              <a:gd name="connsiteX7-369" fmla="*/ 0 w 295275"/>
              <a:gd name="connsiteY7-370" fmla="*/ 599179 h 599179"/>
              <a:gd name="connsiteX8-371" fmla="*/ 0 w 295275"/>
              <a:gd name="connsiteY8-372" fmla="*/ 303904 h 599179"/>
              <a:gd name="connsiteX9-373" fmla="*/ 207995 w 295275"/>
              <a:gd name="connsiteY9-374" fmla="*/ 0 h 599179"/>
              <a:gd name="connsiteX0-375" fmla="*/ 207995 w 295275"/>
              <a:gd name="connsiteY0-376" fmla="*/ 0 h 599179"/>
              <a:gd name="connsiteX1-377" fmla="*/ 218480 w 295275"/>
              <a:gd name="connsiteY1-378" fmla="*/ 17025 h 599179"/>
              <a:gd name="connsiteX2-379" fmla="*/ 263922 w 295275"/>
              <a:gd name="connsiteY2-380" fmla="*/ 59952 h 599179"/>
              <a:gd name="connsiteX3-381" fmla="*/ 275967 w 295275"/>
              <a:gd name="connsiteY3-382" fmla="*/ 66705 h 599179"/>
              <a:gd name="connsiteX4-383" fmla="*/ 152376 w 295275"/>
              <a:gd name="connsiteY4-384" fmla="*/ 303904 h 599179"/>
              <a:gd name="connsiteX5-385" fmla="*/ 295275 w 295275"/>
              <a:gd name="connsiteY5-386" fmla="*/ 303904 h 599179"/>
              <a:gd name="connsiteX6-387" fmla="*/ 295275 w 295275"/>
              <a:gd name="connsiteY6-388" fmla="*/ 599179 h 599179"/>
              <a:gd name="connsiteX7-389" fmla="*/ 0 w 295275"/>
              <a:gd name="connsiteY7-390" fmla="*/ 599179 h 599179"/>
              <a:gd name="connsiteX8-391" fmla="*/ 0 w 295275"/>
              <a:gd name="connsiteY8-392" fmla="*/ 303904 h 599179"/>
              <a:gd name="connsiteX9-393" fmla="*/ 207995 w 295275"/>
              <a:gd name="connsiteY9-394" fmla="*/ 0 h 599179"/>
              <a:gd name="connsiteX0-395" fmla="*/ 207995 w 295275"/>
              <a:gd name="connsiteY0-396" fmla="*/ 0 h 599179"/>
              <a:gd name="connsiteX1-397" fmla="*/ 218480 w 295275"/>
              <a:gd name="connsiteY1-398" fmla="*/ 17025 h 599179"/>
              <a:gd name="connsiteX2-399" fmla="*/ 263922 w 295275"/>
              <a:gd name="connsiteY2-400" fmla="*/ 59952 h 599179"/>
              <a:gd name="connsiteX3-401" fmla="*/ 275967 w 295275"/>
              <a:gd name="connsiteY3-402" fmla="*/ 66705 h 599179"/>
              <a:gd name="connsiteX4-403" fmla="*/ 152376 w 295275"/>
              <a:gd name="connsiteY4-404" fmla="*/ 303904 h 599179"/>
              <a:gd name="connsiteX5-405" fmla="*/ 295275 w 295275"/>
              <a:gd name="connsiteY5-406" fmla="*/ 303904 h 599179"/>
              <a:gd name="connsiteX6-407" fmla="*/ 295275 w 295275"/>
              <a:gd name="connsiteY6-408" fmla="*/ 599179 h 599179"/>
              <a:gd name="connsiteX7-409" fmla="*/ 0 w 295275"/>
              <a:gd name="connsiteY7-410" fmla="*/ 599179 h 599179"/>
              <a:gd name="connsiteX8-411" fmla="*/ 0 w 295275"/>
              <a:gd name="connsiteY8-412" fmla="*/ 303904 h 599179"/>
              <a:gd name="connsiteX9-413" fmla="*/ 207995 w 295275"/>
              <a:gd name="connsiteY9-414" fmla="*/ 0 h 599179"/>
              <a:gd name="connsiteX0-415" fmla="*/ 207995 w 295275"/>
              <a:gd name="connsiteY0-416" fmla="*/ 0 h 599179"/>
              <a:gd name="connsiteX1-417" fmla="*/ 218480 w 295275"/>
              <a:gd name="connsiteY1-418" fmla="*/ 17025 h 599179"/>
              <a:gd name="connsiteX2-419" fmla="*/ 263922 w 295275"/>
              <a:gd name="connsiteY2-420" fmla="*/ 59952 h 599179"/>
              <a:gd name="connsiteX3-421" fmla="*/ 275967 w 295275"/>
              <a:gd name="connsiteY3-422" fmla="*/ 66705 h 599179"/>
              <a:gd name="connsiteX4-423" fmla="*/ 152376 w 295275"/>
              <a:gd name="connsiteY4-424" fmla="*/ 303904 h 599179"/>
              <a:gd name="connsiteX5-425" fmla="*/ 295275 w 295275"/>
              <a:gd name="connsiteY5-426" fmla="*/ 303904 h 599179"/>
              <a:gd name="connsiteX6-427" fmla="*/ 295275 w 295275"/>
              <a:gd name="connsiteY6-428" fmla="*/ 599179 h 599179"/>
              <a:gd name="connsiteX7-429" fmla="*/ 0 w 295275"/>
              <a:gd name="connsiteY7-430" fmla="*/ 599179 h 599179"/>
              <a:gd name="connsiteX8-431" fmla="*/ 0 w 295275"/>
              <a:gd name="connsiteY8-432" fmla="*/ 334942 h 599179"/>
              <a:gd name="connsiteX9-433" fmla="*/ 207995 w 295275"/>
              <a:gd name="connsiteY9-434" fmla="*/ 0 h 599179"/>
              <a:gd name="connsiteX0-435" fmla="*/ 207995 w 295275"/>
              <a:gd name="connsiteY0-436" fmla="*/ 0 h 599179"/>
              <a:gd name="connsiteX1-437" fmla="*/ 218480 w 295275"/>
              <a:gd name="connsiteY1-438" fmla="*/ 17025 h 599179"/>
              <a:gd name="connsiteX2-439" fmla="*/ 263922 w 295275"/>
              <a:gd name="connsiteY2-440" fmla="*/ 59952 h 599179"/>
              <a:gd name="connsiteX3-441" fmla="*/ 275967 w 295275"/>
              <a:gd name="connsiteY3-442" fmla="*/ 66705 h 599179"/>
              <a:gd name="connsiteX4-443" fmla="*/ 152376 w 295275"/>
              <a:gd name="connsiteY4-444" fmla="*/ 303904 h 599179"/>
              <a:gd name="connsiteX5-445" fmla="*/ 295275 w 295275"/>
              <a:gd name="connsiteY5-446" fmla="*/ 303904 h 599179"/>
              <a:gd name="connsiteX6-447" fmla="*/ 295275 w 295275"/>
              <a:gd name="connsiteY6-448" fmla="*/ 599179 h 599179"/>
              <a:gd name="connsiteX7-449" fmla="*/ 0 w 295275"/>
              <a:gd name="connsiteY7-450" fmla="*/ 599179 h 599179"/>
              <a:gd name="connsiteX8-451" fmla="*/ 0 w 295275"/>
              <a:gd name="connsiteY8-452" fmla="*/ 334942 h 599179"/>
              <a:gd name="connsiteX9-453" fmla="*/ 207995 w 295275"/>
              <a:gd name="connsiteY9-454" fmla="*/ 0 h 599179"/>
              <a:gd name="connsiteX0-455" fmla="*/ 207995 w 295275"/>
              <a:gd name="connsiteY0-456" fmla="*/ 0 h 599179"/>
              <a:gd name="connsiteX1-457" fmla="*/ 218480 w 295275"/>
              <a:gd name="connsiteY1-458" fmla="*/ 17025 h 599179"/>
              <a:gd name="connsiteX2-459" fmla="*/ 263922 w 295275"/>
              <a:gd name="connsiteY2-460" fmla="*/ 59952 h 599179"/>
              <a:gd name="connsiteX3-461" fmla="*/ 275967 w 295275"/>
              <a:gd name="connsiteY3-462" fmla="*/ 66705 h 599179"/>
              <a:gd name="connsiteX4-463" fmla="*/ 152376 w 295275"/>
              <a:gd name="connsiteY4-464" fmla="*/ 303904 h 599179"/>
              <a:gd name="connsiteX5-465" fmla="*/ 295275 w 295275"/>
              <a:gd name="connsiteY5-466" fmla="*/ 303904 h 599179"/>
              <a:gd name="connsiteX6-467" fmla="*/ 295275 w 295275"/>
              <a:gd name="connsiteY6-468" fmla="*/ 599179 h 599179"/>
              <a:gd name="connsiteX7-469" fmla="*/ 0 w 295275"/>
              <a:gd name="connsiteY7-470" fmla="*/ 599179 h 599179"/>
              <a:gd name="connsiteX8-471" fmla="*/ 0 w 295275"/>
              <a:gd name="connsiteY8-472" fmla="*/ 334942 h 599179"/>
              <a:gd name="connsiteX9-473" fmla="*/ 207995 w 295275"/>
              <a:gd name="connsiteY9-474" fmla="*/ 0 h 599179"/>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Lst>
            <a:rect l="l" t="t" r="r" b="b"/>
            <a:pathLst>
              <a:path w="295275" h="599179">
                <a:moveTo>
                  <a:pt x="207995" y="0"/>
                </a:moveTo>
                <a:lnTo>
                  <a:pt x="218480" y="17025"/>
                </a:lnTo>
                <a:cubicBezTo>
                  <a:pt x="231034" y="32364"/>
                  <a:pt x="246314" y="46986"/>
                  <a:pt x="263922" y="59952"/>
                </a:cubicBezTo>
                <a:lnTo>
                  <a:pt x="275967" y="66705"/>
                </a:lnTo>
                <a:cubicBezTo>
                  <a:pt x="274744" y="66607"/>
                  <a:pt x="166924" y="148026"/>
                  <a:pt x="152376" y="303904"/>
                </a:cubicBezTo>
                <a:lnTo>
                  <a:pt x="295275" y="303904"/>
                </a:lnTo>
                <a:lnTo>
                  <a:pt x="295275" y="599179"/>
                </a:lnTo>
                <a:lnTo>
                  <a:pt x="0" y="599179"/>
                </a:lnTo>
                <a:lnTo>
                  <a:pt x="0" y="334942"/>
                </a:lnTo>
                <a:cubicBezTo>
                  <a:pt x="10368" y="113589"/>
                  <a:pt x="207637" y="2353"/>
                  <a:pt x="207995" y="0"/>
                </a:cubicBezTo>
                <a:close/>
              </a:path>
            </a:pathLst>
          </a:custGeom>
          <a:noFill/>
          <a:ln w="38100" cap="rnd">
            <a:solidFill>
              <a:schemeClr val="tx1">
                <a:lumMod val="75000"/>
                <a:lumOff val="2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Tree>
    <p:custDataLst>
      <p:tags r:id="rId74"/>
    </p:custData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 name="矩形 5"/>
          <p:cNvSpPr/>
          <p:nvPr>
            <p:custDataLst>
              <p:tags r:id="rId1"/>
            </p:custDataLst>
          </p:nvPr>
        </p:nvSpPr>
        <p:spPr>
          <a:xfrm>
            <a:off x="5219700" y="1595438"/>
            <a:ext cx="4424363" cy="3667125"/>
          </a:xfrm>
          <a:prstGeom prst="rect">
            <a:avLst/>
          </a:prstGeom>
          <a:noFill/>
          <a:ln>
            <a:solidFill>
              <a:srgbClr val="FFFFFF">
                <a:lumMod val="85000"/>
              </a:srgbClr>
            </a:solidFill>
          </a:ln>
        </p:spPr>
        <p:style>
          <a:lnRef idx="2">
            <a:srgbClr val="1E6BC5">
              <a:shade val="50000"/>
            </a:srgbClr>
          </a:lnRef>
          <a:fillRef idx="1">
            <a:srgbClr val="1E6BC5"/>
          </a:fillRef>
          <a:effectRef idx="0">
            <a:srgbClr val="1E6BC5"/>
          </a:effectRef>
          <a:fontRef idx="minor">
            <a:srgbClr val="FFFFFF"/>
          </a:fontRef>
        </p:style>
        <p:txBody>
          <a:bodyPr rtlCol="0" anchor="ctr"/>
          <a:p>
            <a:pPr algn="ctr" fontAlgn="base"/>
            <a:endParaRPr lang="zh-CN" altLang="en-US" sz="1350" strike="noStrike" noProof="1"/>
          </a:p>
        </p:txBody>
      </p:sp>
      <p:sp>
        <p:nvSpPr>
          <p:cNvPr id="8" name="矩形 7"/>
          <p:cNvSpPr/>
          <p:nvPr>
            <p:custDataLst>
              <p:tags r:id="rId2"/>
            </p:custDataLst>
          </p:nvPr>
        </p:nvSpPr>
        <p:spPr>
          <a:xfrm>
            <a:off x="1955800" y="1371600"/>
            <a:ext cx="4114800" cy="4114800"/>
          </a:xfrm>
          <a:prstGeom prst="rect">
            <a:avLst/>
          </a:prstGeom>
          <a:pattFill prst="dkUpDiag">
            <a:fgClr>
              <a:srgbClr val="FFFFFF">
                <a:lumMod val="85000"/>
              </a:srgbClr>
            </a:fgClr>
            <a:bgClr>
              <a:srgbClr val="FFFFFF">
                <a:lumMod val="75000"/>
              </a:srgbClr>
            </a:bgClr>
          </a:pattFill>
          <a:ln>
            <a:noFill/>
          </a:ln>
        </p:spPr>
        <p:style>
          <a:lnRef idx="2">
            <a:srgbClr val="1E6BC5">
              <a:shade val="50000"/>
            </a:srgbClr>
          </a:lnRef>
          <a:fillRef idx="1">
            <a:srgbClr val="1E6BC5"/>
          </a:fillRef>
          <a:effectRef idx="0">
            <a:srgbClr val="1E6BC5"/>
          </a:effectRef>
          <a:fontRef idx="minor">
            <a:srgbClr val="FFFFFF"/>
          </a:fontRef>
        </p:style>
        <p:txBody>
          <a:bodyPr rtlCol="0" anchor="ctr"/>
          <a:p>
            <a:pPr algn="ctr" fontAlgn="base"/>
            <a:endParaRPr lang="zh-CN" altLang="en-US" sz="1350" strike="noStrike" noProof="1"/>
          </a:p>
        </p:txBody>
      </p:sp>
      <p:sp>
        <p:nvSpPr>
          <p:cNvPr id="10" name="矩形 9"/>
          <p:cNvSpPr/>
          <p:nvPr>
            <p:custDataLst>
              <p:tags r:id="rId3"/>
            </p:custDataLst>
          </p:nvPr>
        </p:nvSpPr>
        <p:spPr>
          <a:xfrm>
            <a:off x="3149600" y="1736725"/>
            <a:ext cx="6296025" cy="3384550"/>
          </a:xfrm>
          <a:prstGeom prst="rect">
            <a:avLst/>
          </a:prstGeom>
          <a:solidFill>
            <a:srgbClr val="FFFFFF">
              <a:lumMod val="95000"/>
              <a:alpha val="94000"/>
            </a:srgbClr>
          </a:solidFill>
          <a:ln>
            <a:noFill/>
          </a:ln>
        </p:spPr>
        <p:style>
          <a:lnRef idx="2">
            <a:srgbClr val="1E6BC5">
              <a:shade val="50000"/>
            </a:srgbClr>
          </a:lnRef>
          <a:fillRef idx="1">
            <a:srgbClr val="1E6BC5"/>
          </a:fillRef>
          <a:effectRef idx="0">
            <a:srgbClr val="1E6BC5"/>
          </a:effectRef>
          <a:fontRef idx="minor">
            <a:srgbClr val="FFFFFF"/>
          </a:fontRef>
        </p:style>
        <p:txBody>
          <a:bodyPr rtlCol="0" anchor="ctr"/>
          <a:p>
            <a:pPr algn="ctr" fontAlgn="base"/>
            <a:endParaRPr lang="zh-CN" altLang="en-US" sz="1350" strike="noStrike" noProof="1"/>
          </a:p>
        </p:txBody>
      </p:sp>
      <p:sp>
        <p:nvSpPr>
          <p:cNvPr id="12" name="矩形 11"/>
          <p:cNvSpPr/>
          <p:nvPr>
            <p:custDataLst>
              <p:tags r:id="rId4"/>
            </p:custDataLst>
          </p:nvPr>
        </p:nvSpPr>
        <p:spPr>
          <a:xfrm>
            <a:off x="9545638" y="1501775"/>
            <a:ext cx="196850" cy="196850"/>
          </a:xfrm>
          <a:prstGeom prst="rect">
            <a:avLst/>
          </a:prstGeom>
          <a:solidFill>
            <a:srgbClr val="E7E6E6">
              <a:lumMod val="75000"/>
            </a:srgbClr>
          </a:solidFill>
          <a:ln>
            <a:noFill/>
          </a:ln>
        </p:spPr>
        <p:style>
          <a:lnRef idx="2">
            <a:srgbClr val="1E6BC5">
              <a:shade val="50000"/>
            </a:srgbClr>
          </a:lnRef>
          <a:fillRef idx="1">
            <a:srgbClr val="1E6BC5"/>
          </a:fillRef>
          <a:effectRef idx="0">
            <a:srgbClr val="1E6BC5"/>
          </a:effectRef>
          <a:fontRef idx="minor">
            <a:srgbClr val="FFFFFF"/>
          </a:fontRef>
        </p:style>
        <p:txBody>
          <a:bodyPr rtlCol="0" anchor="ctr"/>
          <a:p>
            <a:pPr algn="ctr" fontAlgn="base"/>
            <a:endParaRPr lang="zh-CN" altLang="en-US" sz="1350" strike="noStrike" noProof="1"/>
          </a:p>
        </p:txBody>
      </p:sp>
      <p:sp>
        <p:nvSpPr>
          <p:cNvPr id="13" name="文本框 12"/>
          <p:cNvSpPr txBox="1"/>
          <p:nvPr>
            <p:custDataLst>
              <p:tags r:id="rId5"/>
            </p:custDataLst>
          </p:nvPr>
        </p:nvSpPr>
        <p:spPr>
          <a:xfrm>
            <a:off x="3687445" y="2913380"/>
            <a:ext cx="5220335" cy="1722755"/>
          </a:xfrm>
          <a:prstGeom prst="rect">
            <a:avLst/>
          </a:prstGeom>
          <a:noFill/>
        </p:spPr>
        <p:txBody>
          <a:bodyPr wrap="square" lIns="76200" tIns="0" rIns="61912" bIns="0" rtlCol="0">
            <a:noAutofit/>
          </a:bodyPr>
          <a:lstStyle>
            <a:defPPr>
              <a:defRPr lang="zh-CN"/>
            </a:defPPr>
            <a:lvl1pPr fontAlgn="auto">
              <a:lnSpc>
                <a:spcPct val="130000"/>
              </a:lnSpc>
              <a:spcAft>
                <a:spcPts val="1000"/>
              </a:spcAft>
              <a:defRPr sz="1600" spc="150"/>
            </a:lvl1pPr>
          </a:lstStyle>
          <a:p>
            <a:pPr marL="360045" indent="-360045" algn="l" fontAlgn="ctr">
              <a:lnSpc>
                <a:spcPct val="130000"/>
              </a:lnSpc>
              <a:spcBef>
                <a:spcPts val="1000"/>
              </a:spcBef>
              <a:spcAft>
                <a:spcPts val="0"/>
              </a:spcAft>
              <a:buSzPct val="100000"/>
              <a:buFont typeface="WPS-Bullets" pitchFamily="2" charset="0"/>
              <a:buChar char=""/>
            </a:pPr>
            <a:r>
              <a:rPr lang="zh-CN" altLang="en-US" b="1" strike="noStrike" noProof="1" dirty="0">
                <a:solidFill>
                  <a:srgbClr val="000000">
                    <a:lumMod val="75000"/>
                    <a:lumOff val="25000"/>
                  </a:srgbClr>
                </a:solidFill>
                <a:uFillTx/>
                <a:latin typeface="Arial" panose="020B0604020202020204" pitchFamily="34" charset="0"/>
                <a:ea typeface="微软雅黑" panose="020B0503020204020204" charset="-122"/>
                <a:cs typeface="+mn-cs"/>
              </a:rPr>
              <a:t>通过媒体查询，可以通过给不同分辨率的设备编写不同的样式来实现响应式的布局，比如我们为不同分辨率的屏幕，设置不同的背景图片。比如给小屏幕手机设置@2x图，为大屏幕手机设置@3X图，通过媒体查询就能很方便的实现。</a:t>
            </a:r>
            <a:endParaRPr lang="zh-CN" altLang="en-US" b="1" strike="noStrike" noProof="1" dirty="0">
              <a:solidFill>
                <a:srgbClr val="000000">
                  <a:lumMod val="75000"/>
                  <a:lumOff val="25000"/>
                </a:srgbClr>
              </a:solidFill>
              <a:uFillTx/>
              <a:latin typeface="Arial" panose="020B0604020202020204" pitchFamily="34" charset="0"/>
              <a:ea typeface="微软雅黑" panose="020B0503020204020204" charset="-122"/>
              <a:cs typeface="+mn-cs"/>
            </a:endParaRPr>
          </a:p>
          <a:p>
            <a:pPr marL="360045" indent="-360045" algn="l" fontAlgn="ctr">
              <a:lnSpc>
                <a:spcPct val="130000"/>
              </a:lnSpc>
              <a:spcBef>
                <a:spcPts val="1000"/>
              </a:spcBef>
              <a:spcAft>
                <a:spcPts val="0"/>
              </a:spcAft>
              <a:buSzPct val="100000"/>
              <a:buFont typeface="WPS-Bullets" pitchFamily="2" charset="0"/>
              <a:buChar char=""/>
            </a:pPr>
            <a:r>
              <a:rPr lang="zh-CN" altLang="en-US" b="1" strike="noStrike" noProof="1" dirty="0">
                <a:solidFill>
                  <a:srgbClr val="000000">
                    <a:lumMod val="75000"/>
                    <a:lumOff val="25000"/>
                  </a:srgbClr>
                </a:solidFill>
                <a:uFillTx/>
                <a:latin typeface="Arial" panose="020B0604020202020204" pitchFamily="34" charset="0"/>
                <a:ea typeface="微软雅黑" panose="020B0503020204020204" charset="-122"/>
                <a:cs typeface="+mn-cs"/>
              </a:rPr>
              <a:t>但是媒体查询的缺点也很明显，如果在浏览器大小改变时，需要改变的样式太多，那么多套样式代码会很繁琐。</a:t>
            </a:r>
            <a:endParaRPr lang="zh-CN" altLang="en-US" b="1" strike="noStrike" noProof="1" dirty="0">
              <a:solidFill>
                <a:srgbClr val="000000">
                  <a:lumMod val="75000"/>
                  <a:lumOff val="25000"/>
                </a:srgbClr>
              </a:solidFill>
              <a:uFillTx/>
              <a:latin typeface="Arial" panose="020B0604020202020204" pitchFamily="34" charset="0"/>
              <a:ea typeface="微软雅黑" panose="020B0503020204020204" charset="-122"/>
              <a:cs typeface="+mn-cs"/>
            </a:endParaRPr>
          </a:p>
        </p:txBody>
      </p:sp>
      <p:sp>
        <p:nvSpPr>
          <p:cNvPr id="14" name="文本框 13"/>
          <p:cNvSpPr txBox="1"/>
          <p:nvPr>
            <p:custDataLst>
              <p:tags r:id="rId6"/>
            </p:custDataLst>
          </p:nvPr>
        </p:nvSpPr>
        <p:spPr>
          <a:xfrm>
            <a:off x="3797300" y="2193925"/>
            <a:ext cx="5324475" cy="473075"/>
          </a:xfrm>
          <a:prstGeom prst="rect">
            <a:avLst/>
          </a:prstGeom>
          <a:noFill/>
        </p:spPr>
        <p:txBody>
          <a:bodyPr wrap="none" lIns="76200" tIns="28575" rIns="47625" bIns="28575" rtlCol="0">
            <a:noAutofit/>
          </a:bodyPr>
          <a:lstStyle/>
          <a:p>
            <a:pPr>
              <a:spcBef>
                <a:spcPts val="0"/>
              </a:spcBef>
              <a:spcAft>
                <a:spcPts val="0"/>
              </a:spcAft>
            </a:pPr>
            <a:r>
              <a:rPr lang="zh-CN" altLang="en-US" sz="2700" b="1" spc="300" noProof="1" dirty="0">
                <a:solidFill>
                  <a:srgbClr val="000000">
                    <a:lumMod val="75000"/>
                    <a:lumOff val="25000"/>
                  </a:srgbClr>
                </a:solidFill>
                <a:latin typeface="Arial" panose="020B0604020202020204" pitchFamily="34" charset="0"/>
                <a:ea typeface="微软雅黑" panose="020B0503020204020204" charset="-122"/>
              </a:rPr>
              <a:t>媒体查询优缺点</a:t>
            </a:r>
            <a:endParaRPr lang="zh-CN" altLang="en-US" sz="2700" b="1" spc="300" noProof="1" dirty="0">
              <a:solidFill>
                <a:srgbClr val="000000">
                  <a:lumMod val="75000"/>
                  <a:lumOff val="25000"/>
                </a:srgbClr>
              </a:solidFill>
              <a:latin typeface="Arial" panose="020B0604020202020204" pitchFamily="34" charset="0"/>
              <a:ea typeface="微软雅黑" panose="020B0503020204020204" charset="-122"/>
            </a:endParaRPr>
          </a:p>
        </p:txBody>
      </p:sp>
    </p:spTree>
    <p:custDataLst>
      <p:tags r:id="rId7"/>
    </p:custData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5" name="矩形 14"/>
          <p:cNvSpPr/>
          <p:nvPr>
            <p:custDataLst>
              <p:tags r:id="rId1"/>
            </p:custDataLst>
          </p:nvPr>
        </p:nvSpPr>
        <p:spPr>
          <a:xfrm>
            <a:off x="1524000" y="857250"/>
            <a:ext cx="9144000" cy="5143500"/>
          </a:xfrm>
          <a:prstGeom prst="rect">
            <a:avLst/>
          </a:prstGeom>
          <a:pattFill prst="smCheck">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r>
              <a:rPr kumimoji="1" lang="en-US" altLang="zh-CN" sz="1200" b="1" strike="noStrike" noProof="1" dirty="0">
                <a:solidFill>
                  <a:schemeClr val="bg1"/>
                </a:solidFill>
                <a:latin typeface="微软雅黑" panose="020B0503020204020204" charset="-122"/>
                <a:ea typeface="微软雅黑" panose="020B0503020204020204" charset="-122"/>
              </a:rPr>
              <a:t>·</a:t>
            </a:r>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5" name="矩形 4"/>
          <p:cNvSpPr/>
          <p:nvPr>
            <p:custDataLst>
              <p:tags r:id="rId2"/>
            </p:custDataLst>
          </p:nvPr>
        </p:nvSpPr>
        <p:spPr>
          <a:xfrm>
            <a:off x="2025650" y="1484313"/>
            <a:ext cx="7435850" cy="4175125"/>
          </a:xfrm>
          <a:prstGeom prst="rect">
            <a:avLst/>
          </a:prstGeom>
          <a:solidFill>
            <a:schemeClr val="bg1">
              <a:lumMod val="85000"/>
              <a:alpha val="50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6" name="矩形 5"/>
          <p:cNvSpPr/>
          <p:nvPr>
            <p:custDataLst>
              <p:tags r:id="rId3"/>
            </p:custDataLst>
          </p:nvPr>
        </p:nvSpPr>
        <p:spPr>
          <a:xfrm>
            <a:off x="2025650" y="1144588"/>
            <a:ext cx="228600" cy="228600"/>
          </a:xfrm>
          <a:prstGeom prst="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微软雅黑" panose="020B0503020204020204" charset="-122"/>
              <a:ea typeface="微软雅黑" panose="020B0503020204020204" charset="-122"/>
            </a:endParaRPr>
          </a:p>
        </p:txBody>
      </p:sp>
      <p:sp>
        <p:nvSpPr>
          <p:cNvPr id="7" name="矩形 6"/>
          <p:cNvSpPr/>
          <p:nvPr>
            <p:custDataLst>
              <p:tags r:id="rId4"/>
            </p:custDataLst>
          </p:nvPr>
        </p:nvSpPr>
        <p:spPr>
          <a:xfrm>
            <a:off x="2447925" y="1149350"/>
            <a:ext cx="7440930" cy="5020310"/>
          </a:xfrm>
          <a:prstGeom prst="rect">
            <a:avLst/>
          </a:prstGeom>
          <a:no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10" name="文本框 9"/>
          <p:cNvSpPr txBox="1"/>
          <p:nvPr>
            <p:custDataLst>
              <p:tags r:id="rId5"/>
            </p:custDataLst>
          </p:nvPr>
        </p:nvSpPr>
        <p:spPr>
          <a:xfrm>
            <a:off x="2797175" y="1567815"/>
            <a:ext cx="6939915" cy="468630"/>
          </a:xfrm>
          <a:prstGeom prst="rect">
            <a:avLst/>
          </a:prstGeom>
          <a:noFill/>
        </p:spPr>
        <p:txBody>
          <a:bodyPr wrap="square" lIns="76200" tIns="28575" rIns="47625" bIns="28575" rtlCol="0">
            <a:noAutofit/>
          </a:bodyPr>
          <a:lstStyle/>
          <a:p>
            <a:r>
              <a:rPr lang="zh-CN" altLang="en-US" sz="2700" b="1" spc="300" noProof="1" dirty="0">
                <a:solidFill>
                  <a:schemeClr val="tx1">
                    <a:lumMod val="75000"/>
                    <a:lumOff val="25000"/>
                  </a:schemeClr>
                </a:solidFill>
                <a:latin typeface="微软雅黑" panose="020B0503020204020204" charset="-122"/>
                <a:ea typeface="微软雅黑" panose="020B0503020204020204" charset="-122"/>
                <a:cs typeface="+mn-cs"/>
              </a:rPr>
              <a:t>方法二：</a:t>
            </a:r>
            <a:r>
              <a:rPr lang="en-US" sz="2700" b="1" spc="300" noProof="1" dirty="0">
                <a:solidFill>
                  <a:schemeClr val="tx1">
                    <a:lumMod val="75000"/>
                    <a:lumOff val="25000"/>
                  </a:schemeClr>
                </a:solidFill>
                <a:latin typeface="微软雅黑" panose="020B0503020204020204" charset="-122"/>
                <a:ea typeface="微软雅黑" panose="020B0503020204020204" charset="-122"/>
                <a:cs typeface="+mn-cs"/>
              </a:rPr>
              <a:t>百分比单位布局</a:t>
            </a:r>
            <a:endParaRPr lang="en-US" sz="2700" b="1" spc="300" noProof="1" dirty="0">
              <a:solidFill>
                <a:schemeClr val="tx1">
                  <a:lumMod val="75000"/>
                  <a:lumOff val="25000"/>
                </a:schemeClr>
              </a:solidFill>
              <a:latin typeface="微软雅黑" panose="020B0503020204020204" charset="-122"/>
              <a:ea typeface="微软雅黑" panose="020B0503020204020204" charset="-122"/>
              <a:cs typeface="+mn-cs"/>
            </a:endParaRPr>
          </a:p>
        </p:txBody>
      </p:sp>
      <p:sp>
        <p:nvSpPr>
          <p:cNvPr id="9" name="矩形 8"/>
          <p:cNvSpPr/>
          <p:nvPr>
            <p:custDataLst>
              <p:tags r:id="rId6"/>
            </p:custDataLst>
          </p:nvPr>
        </p:nvSpPr>
        <p:spPr>
          <a:xfrm>
            <a:off x="10082213" y="3416300"/>
            <a:ext cx="146050" cy="1908175"/>
          </a:xfrm>
          <a:prstGeom prst="rect">
            <a:avLst/>
          </a:prstGeom>
          <a:solidFill>
            <a:schemeClr val="accent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微软雅黑" panose="020B0503020204020204" charset="-122"/>
              <a:ea typeface="微软雅黑" panose="020B0503020204020204" charset="-122"/>
            </a:endParaRPr>
          </a:p>
        </p:txBody>
      </p:sp>
      <p:sp>
        <p:nvSpPr>
          <p:cNvPr id="17" name="任意多边形: 形状 16"/>
          <p:cNvSpPr/>
          <p:nvPr>
            <p:custDataLst>
              <p:tags r:id="rId7"/>
            </p:custDataLst>
          </p:nvPr>
        </p:nvSpPr>
        <p:spPr>
          <a:xfrm rot="10800000">
            <a:off x="8872538" y="1882775"/>
            <a:ext cx="255588" cy="311150"/>
          </a:xfrm>
          <a:custGeom>
            <a:avLst/>
            <a:gdLst>
              <a:gd name="connsiteX0" fmla="*/ 174788 w 340237"/>
              <a:gd name="connsiteY0" fmla="*/ 0 h 415819"/>
              <a:gd name="connsiteX1" fmla="*/ 340237 w 340237"/>
              <a:gd name="connsiteY1" fmla="*/ 0 h 415819"/>
              <a:gd name="connsiteX2" fmla="*/ 241322 w 340237"/>
              <a:gd name="connsiteY2" fmla="*/ 415819 h 415819"/>
              <a:gd name="connsiteX3" fmla="*/ 0 w 340237"/>
              <a:gd name="connsiteY3" fmla="*/ 415819 h 415819"/>
            </a:gdLst>
            <a:ahLst/>
            <a:cxnLst>
              <a:cxn ang="0">
                <a:pos x="connsiteX0" y="connsiteY0"/>
              </a:cxn>
              <a:cxn ang="0">
                <a:pos x="connsiteX1" y="connsiteY1"/>
              </a:cxn>
              <a:cxn ang="0">
                <a:pos x="connsiteX2" y="connsiteY2"/>
              </a:cxn>
              <a:cxn ang="0">
                <a:pos x="connsiteX3" y="connsiteY3"/>
              </a:cxn>
            </a:cxnLst>
            <a:rect l="l" t="t" r="r" b="b"/>
            <a:pathLst>
              <a:path w="340237" h="415819">
                <a:moveTo>
                  <a:pt x="174788" y="0"/>
                </a:moveTo>
                <a:lnTo>
                  <a:pt x="340237" y="0"/>
                </a:lnTo>
                <a:lnTo>
                  <a:pt x="241322" y="415819"/>
                </a:lnTo>
                <a:lnTo>
                  <a:pt x="0" y="415819"/>
                </a:lnTo>
                <a:close/>
              </a:path>
            </a:pathLst>
          </a:cu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endParaRPr lang="zh-CN" altLang="en-US" sz="1350" strike="noStrike" noProof="1">
              <a:ea typeface="微软雅黑" panose="020B0503020204020204" charset="-122"/>
            </a:endParaRPr>
          </a:p>
        </p:txBody>
      </p:sp>
      <p:sp>
        <p:nvSpPr>
          <p:cNvPr id="18" name="任意多边形: 形状 17"/>
          <p:cNvSpPr/>
          <p:nvPr>
            <p:custDataLst>
              <p:tags r:id="rId8"/>
            </p:custDataLst>
          </p:nvPr>
        </p:nvSpPr>
        <p:spPr>
          <a:xfrm rot="10800000">
            <a:off x="8586788" y="1882775"/>
            <a:ext cx="255588" cy="311150"/>
          </a:xfrm>
          <a:custGeom>
            <a:avLst/>
            <a:gdLst>
              <a:gd name="connsiteX0" fmla="*/ 174788 w 340237"/>
              <a:gd name="connsiteY0" fmla="*/ 0 h 415819"/>
              <a:gd name="connsiteX1" fmla="*/ 340237 w 340237"/>
              <a:gd name="connsiteY1" fmla="*/ 0 h 415819"/>
              <a:gd name="connsiteX2" fmla="*/ 241322 w 340237"/>
              <a:gd name="connsiteY2" fmla="*/ 415819 h 415819"/>
              <a:gd name="connsiteX3" fmla="*/ 0 w 340237"/>
              <a:gd name="connsiteY3" fmla="*/ 415819 h 415819"/>
            </a:gdLst>
            <a:ahLst/>
            <a:cxnLst>
              <a:cxn ang="0">
                <a:pos x="connsiteX0" y="connsiteY0"/>
              </a:cxn>
              <a:cxn ang="0">
                <a:pos x="connsiteX1" y="connsiteY1"/>
              </a:cxn>
              <a:cxn ang="0">
                <a:pos x="connsiteX2" y="connsiteY2"/>
              </a:cxn>
              <a:cxn ang="0">
                <a:pos x="connsiteX3" y="connsiteY3"/>
              </a:cxn>
            </a:cxnLst>
            <a:rect l="l" t="t" r="r" b="b"/>
            <a:pathLst>
              <a:path w="340237" h="415819">
                <a:moveTo>
                  <a:pt x="174788" y="0"/>
                </a:moveTo>
                <a:lnTo>
                  <a:pt x="340237" y="0"/>
                </a:lnTo>
                <a:lnTo>
                  <a:pt x="241322" y="415819"/>
                </a:lnTo>
                <a:lnTo>
                  <a:pt x="0" y="415819"/>
                </a:lnTo>
                <a:close/>
              </a:path>
            </a:pathLst>
          </a:cu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endParaRPr lang="zh-CN" altLang="en-US" sz="1350" strike="noStrike" noProof="1">
              <a:ea typeface="微软雅黑" panose="020B0503020204020204" charset="-122"/>
            </a:endParaRPr>
          </a:p>
        </p:txBody>
      </p:sp>
      <p:sp>
        <p:nvSpPr>
          <p:cNvPr id="2" name="文本框 1"/>
          <p:cNvSpPr txBox="1"/>
          <p:nvPr>
            <p:custDataLst>
              <p:tags r:id="rId9"/>
            </p:custDataLst>
          </p:nvPr>
        </p:nvSpPr>
        <p:spPr>
          <a:xfrm>
            <a:off x="3053715" y="2209800"/>
            <a:ext cx="6407785" cy="2812415"/>
          </a:xfrm>
          <a:prstGeom prst="rect">
            <a:avLst/>
          </a:prstGeom>
          <a:noFill/>
        </p:spPr>
        <p:txBody>
          <a:bodyPr wrap="square" lIns="76200" tIns="0" rIns="61912" bIns="0" rtlCol="0">
            <a:noAutofit/>
          </a:bodyPr>
          <a:lstStyle>
            <a:defPPr>
              <a:defRPr lang="zh-CN"/>
            </a:defPPr>
            <a:lvl1pPr fontAlgn="auto">
              <a:lnSpc>
                <a:spcPct val="130000"/>
              </a:lnSpc>
              <a:spcAft>
                <a:spcPts val="1000"/>
              </a:spcAft>
              <a:defRPr sz="1600" spc="150"/>
            </a:lvl1pPr>
          </a:lstStyle>
          <a:p>
            <a:pPr indent="0" fontAlgn="ctr">
              <a:spcBef>
                <a:spcPts val="1000"/>
              </a:spcBef>
              <a:spcAft>
                <a:spcPts val="0"/>
              </a:spcAft>
              <a:buClr>
                <a:schemeClr val="tx2">
                  <a:lumMod val="75000"/>
                </a:schemeClr>
              </a:buClr>
              <a:buSzPct val="130000"/>
              <a:buFont typeface="WPS-Bullets" pitchFamily="2" charset="0"/>
              <a:buNone/>
            </a:pPr>
            <a:r>
              <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 1.要实现一个长宽比为4:3的长方形,我们可以根据padding属性来实现，因为padding不管是垂直方向还是水平方向，百分比单位都相对于父元素的宽度，因此我们可以设置padding-top为百分比来实现，长宽自适应的长方形：</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lt;div class="trangle"&gt;&lt;/div&gt;</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设置样式让其自适应：</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trangle{</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  height:0;</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  width:100%;</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  padding-top:75%;</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通过设置padding-top：75%,相对比宽度的75%，因此这样就设置了一个长宽高恒定比例的长方形</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p:txBody>
      </p:sp>
    </p:spTree>
    <p:custDataLst>
      <p:tags r:id="rId10"/>
    </p:custData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 name="矩形 5"/>
          <p:cNvSpPr/>
          <p:nvPr>
            <p:custDataLst>
              <p:tags r:id="rId1"/>
            </p:custDataLst>
          </p:nvPr>
        </p:nvSpPr>
        <p:spPr>
          <a:xfrm>
            <a:off x="5219700" y="1595438"/>
            <a:ext cx="4424363" cy="3667125"/>
          </a:xfrm>
          <a:prstGeom prst="rect">
            <a:avLst/>
          </a:prstGeom>
          <a:noFill/>
          <a:ln>
            <a:solidFill>
              <a:srgbClr val="FFFFFF">
                <a:lumMod val="85000"/>
              </a:srgbClr>
            </a:solidFill>
          </a:ln>
        </p:spPr>
        <p:style>
          <a:lnRef idx="2">
            <a:srgbClr val="1E6BC5">
              <a:shade val="50000"/>
            </a:srgbClr>
          </a:lnRef>
          <a:fillRef idx="1">
            <a:srgbClr val="1E6BC5"/>
          </a:fillRef>
          <a:effectRef idx="0">
            <a:srgbClr val="1E6BC5"/>
          </a:effectRef>
          <a:fontRef idx="minor">
            <a:srgbClr val="FFFFFF"/>
          </a:fontRef>
        </p:style>
        <p:txBody>
          <a:bodyPr rtlCol="0" anchor="ctr"/>
          <a:p>
            <a:pPr algn="ctr" fontAlgn="base"/>
            <a:endParaRPr lang="zh-CN" altLang="en-US" sz="1350" strike="noStrike" noProof="1"/>
          </a:p>
        </p:txBody>
      </p:sp>
      <p:sp>
        <p:nvSpPr>
          <p:cNvPr id="8" name="矩形 7"/>
          <p:cNvSpPr/>
          <p:nvPr>
            <p:custDataLst>
              <p:tags r:id="rId2"/>
            </p:custDataLst>
          </p:nvPr>
        </p:nvSpPr>
        <p:spPr>
          <a:xfrm>
            <a:off x="1217295" y="937260"/>
            <a:ext cx="4853305" cy="4549140"/>
          </a:xfrm>
          <a:prstGeom prst="rect">
            <a:avLst/>
          </a:prstGeom>
          <a:pattFill prst="dkUpDiag">
            <a:fgClr>
              <a:srgbClr val="FFFFFF">
                <a:lumMod val="85000"/>
              </a:srgbClr>
            </a:fgClr>
            <a:bgClr>
              <a:srgbClr val="FFFFFF">
                <a:lumMod val="75000"/>
              </a:srgbClr>
            </a:bgClr>
          </a:pattFill>
          <a:ln>
            <a:noFill/>
          </a:ln>
        </p:spPr>
        <p:style>
          <a:lnRef idx="2">
            <a:srgbClr val="1E6BC5">
              <a:shade val="50000"/>
            </a:srgbClr>
          </a:lnRef>
          <a:fillRef idx="1">
            <a:srgbClr val="1E6BC5"/>
          </a:fillRef>
          <a:effectRef idx="0">
            <a:srgbClr val="1E6BC5"/>
          </a:effectRef>
          <a:fontRef idx="minor">
            <a:srgbClr val="FFFFFF"/>
          </a:fontRef>
        </p:style>
        <p:txBody>
          <a:bodyPr rtlCol="0" anchor="ctr"/>
          <a:p>
            <a:pPr algn="ctr" fontAlgn="base"/>
            <a:endParaRPr lang="zh-CN" altLang="en-US" sz="1350" strike="noStrike" noProof="1"/>
          </a:p>
        </p:txBody>
      </p:sp>
      <p:sp>
        <p:nvSpPr>
          <p:cNvPr id="10" name="矩形 9"/>
          <p:cNvSpPr/>
          <p:nvPr>
            <p:custDataLst>
              <p:tags r:id="rId3"/>
            </p:custDataLst>
          </p:nvPr>
        </p:nvSpPr>
        <p:spPr>
          <a:xfrm>
            <a:off x="1509395" y="1101090"/>
            <a:ext cx="8134985" cy="4161155"/>
          </a:xfrm>
          <a:prstGeom prst="rect">
            <a:avLst/>
          </a:prstGeom>
          <a:solidFill>
            <a:srgbClr val="FFFFFF">
              <a:lumMod val="95000"/>
              <a:alpha val="94000"/>
            </a:srgbClr>
          </a:solidFill>
          <a:ln>
            <a:noFill/>
          </a:ln>
        </p:spPr>
        <p:style>
          <a:lnRef idx="2">
            <a:srgbClr val="1E6BC5">
              <a:shade val="50000"/>
            </a:srgbClr>
          </a:lnRef>
          <a:fillRef idx="1">
            <a:srgbClr val="1E6BC5"/>
          </a:fillRef>
          <a:effectRef idx="0">
            <a:srgbClr val="1E6BC5"/>
          </a:effectRef>
          <a:fontRef idx="minor">
            <a:srgbClr val="FFFFFF"/>
          </a:fontRef>
        </p:style>
        <p:txBody>
          <a:bodyPr rtlCol="0" anchor="ctr"/>
          <a:p>
            <a:pPr algn="ctr" fontAlgn="base"/>
            <a:endParaRPr lang="zh-CN" altLang="en-US" sz="1350" strike="noStrike" noProof="1"/>
          </a:p>
        </p:txBody>
      </p:sp>
      <p:sp>
        <p:nvSpPr>
          <p:cNvPr id="12" name="矩形 11"/>
          <p:cNvSpPr/>
          <p:nvPr>
            <p:custDataLst>
              <p:tags r:id="rId4"/>
            </p:custDataLst>
          </p:nvPr>
        </p:nvSpPr>
        <p:spPr>
          <a:xfrm>
            <a:off x="9545638" y="1501775"/>
            <a:ext cx="196850" cy="196850"/>
          </a:xfrm>
          <a:prstGeom prst="rect">
            <a:avLst/>
          </a:prstGeom>
          <a:solidFill>
            <a:srgbClr val="E7E6E6">
              <a:lumMod val="75000"/>
            </a:srgbClr>
          </a:solidFill>
          <a:ln>
            <a:noFill/>
          </a:ln>
        </p:spPr>
        <p:style>
          <a:lnRef idx="2">
            <a:srgbClr val="1E6BC5">
              <a:shade val="50000"/>
            </a:srgbClr>
          </a:lnRef>
          <a:fillRef idx="1">
            <a:srgbClr val="1E6BC5"/>
          </a:fillRef>
          <a:effectRef idx="0">
            <a:srgbClr val="1E6BC5"/>
          </a:effectRef>
          <a:fontRef idx="minor">
            <a:srgbClr val="FFFFFF"/>
          </a:fontRef>
        </p:style>
        <p:txBody>
          <a:bodyPr rtlCol="0" anchor="ctr"/>
          <a:p>
            <a:pPr algn="ctr" fontAlgn="base"/>
            <a:endParaRPr lang="zh-CN" altLang="en-US" sz="1350" strike="noStrike" noProof="1"/>
          </a:p>
        </p:txBody>
      </p:sp>
      <p:sp>
        <p:nvSpPr>
          <p:cNvPr id="13" name="文本框 12"/>
          <p:cNvSpPr txBox="1"/>
          <p:nvPr>
            <p:custDataLst>
              <p:tags r:id="rId5"/>
            </p:custDataLst>
          </p:nvPr>
        </p:nvSpPr>
        <p:spPr>
          <a:xfrm>
            <a:off x="2005965" y="1910080"/>
            <a:ext cx="7310120" cy="3141345"/>
          </a:xfrm>
          <a:prstGeom prst="rect">
            <a:avLst/>
          </a:prstGeom>
          <a:noFill/>
        </p:spPr>
        <p:txBody>
          <a:bodyPr wrap="square" lIns="76200" tIns="0" rIns="61912" bIns="0" rtlCol="0">
            <a:noAutofit/>
          </a:bodyPr>
          <a:lstStyle>
            <a:defPPr>
              <a:defRPr lang="zh-CN"/>
            </a:defPPr>
            <a:lvl1pPr fontAlgn="auto">
              <a:lnSpc>
                <a:spcPct val="130000"/>
              </a:lnSpc>
              <a:spcAft>
                <a:spcPts val="1000"/>
              </a:spcAft>
              <a:defRPr sz="1600" spc="150"/>
            </a:lvl1pPr>
          </a:lstStyle>
          <a:p>
            <a:pPr marL="360045" indent="-360045" algn="l" fontAlgn="ctr">
              <a:lnSpc>
                <a:spcPct val="130000"/>
              </a:lnSpc>
              <a:spcBef>
                <a:spcPts val="1000"/>
              </a:spcBef>
              <a:spcAft>
                <a:spcPts val="0"/>
              </a:spcAft>
              <a:buSzPct val="100000"/>
              <a:buFont typeface="WPS-Bullets" pitchFamily="2" charset="0"/>
              <a:buChar char=""/>
            </a:pPr>
            <a:r>
              <a:rPr lang="zh-CN" altLang="en-US" b="1" strike="noStrike" noProof="1" dirty="0">
                <a:solidFill>
                  <a:srgbClr val="000000">
                    <a:lumMod val="75000"/>
                    <a:lumOff val="25000"/>
                  </a:srgbClr>
                </a:solidFill>
                <a:uFillTx/>
                <a:latin typeface="Arial" panose="020B0604020202020204" pitchFamily="34" charset="0"/>
                <a:ea typeface="微软雅黑" panose="020B0503020204020204" charset="-122"/>
                <a:cs typeface="+mn-cs"/>
              </a:rPr>
              <a:t>从上述对于百分比单位的介绍我们很容易看出如果全部使用百分比单位来实现响应式的布局，有明显的以下两个缺点：</a:t>
            </a:r>
            <a:endParaRPr lang="zh-CN" altLang="en-US" b="1" strike="noStrike" noProof="1" dirty="0">
              <a:solidFill>
                <a:srgbClr val="000000">
                  <a:lumMod val="75000"/>
                  <a:lumOff val="25000"/>
                </a:srgbClr>
              </a:solidFill>
              <a:uFillTx/>
              <a:latin typeface="Arial" panose="020B0604020202020204" pitchFamily="34" charset="0"/>
              <a:ea typeface="微软雅黑" panose="020B0503020204020204" charset="-122"/>
              <a:cs typeface="+mn-cs"/>
            </a:endParaRPr>
          </a:p>
          <a:p>
            <a:pPr marL="360045" indent="-360045" algn="l" fontAlgn="ctr">
              <a:lnSpc>
                <a:spcPct val="130000"/>
              </a:lnSpc>
              <a:spcBef>
                <a:spcPts val="1000"/>
              </a:spcBef>
              <a:spcAft>
                <a:spcPts val="0"/>
              </a:spcAft>
              <a:buSzPct val="100000"/>
              <a:buFont typeface="WPS-Bullets" pitchFamily="2" charset="0"/>
              <a:buChar char=""/>
            </a:pPr>
            <a:r>
              <a:rPr lang="zh-CN" altLang="en-US" b="1" strike="noStrike" noProof="1" dirty="0">
                <a:solidFill>
                  <a:srgbClr val="000000">
                    <a:lumMod val="75000"/>
                    <a:lumOff val="25000"/>
                  </a:srgbClr>
                </a:solidFill>
                <a:uFillTx/>
                <a:latin typeface="Arial" panose="020B0604020202020204" pitchFamily="34" charset="0"/>
                <a:ea typeface="微软雅黑" panose="020B0503020204020204" charset="-122"/>
                <a:cs typeface="+mn-cs"/>
              </a:rPr>
              <a:t>（1）计算困难，如果我们要定义一个元素的宽度和高度，按照设计稿，必须换算成百分比单位。</a:t>
            </a:r>
            <a:endParaRPr lang="zh-CN" altLang="en-US" b="1" strike="noStrike" noProof="1" dirty="0">
              <a:solidFill>
                <a:srgbClr val="000000">
                  <a:lumMod val="75000"/>
                  <a:lumOff val="25000"/>
                </a:srgbClr>
              </a:solidFill>
              <a:uFillTx/>
              <a:latin typeface="Arial" panose="020B0604020202020204" pitchFamily="34" charset="0"/>
              <a:ea typeface="微软雅黑" panose="020B0503020204020204" charset="-122"/>
              <a:cs typeface="+mn-cs"/>
            </a:endParaRPr>
          </a:p>
          <a:p>
            <a:pPr marL="360045" indent="-360045" algn="l" fontAlgn="ctr">
              <a:lnSpc>
                <a:spcPct val="130000"/>
              </a:lnSpc>
              <a:spcBef>
                <a:spcPts val="1000"/>
              </a:spcBef>
              <a:spcAft>
                <a:spcPts val="0"/>
              </a:spcAft>
              <a:buSzPct val="100000"/>
              <a:buFont typeface="WPS-Bullets" pitchFamily="2" charset="0"/>
              <a:buChar char=""/>
            </a:pPr>
            <a:r>
              <a:rPr lang="zh-CN" altLang="en-US" b="1" strike="noStrike" noProof="1" dirty="0">
                <a:solidFill>
                  <a:srgbClr val="000000">
                    <a:lumMod val="75000"/>
                    <a:lumOff val="25000"/>
                  </a:srgbClr>
                </a:solidFill>
                <a:uFillTx/>
                <a:latin typeface="Arial" panose="020B0604020202020204" pitchFamily="34" charset="0"/>
                <a:ea typeface="微软雅黑" panose="020B0503020204020204" charset="-122"/>
                <a:cs typeface="+mn-cs"/>
              </a:rPr>
              <a:t>（2）从小节1可以看出，各个属性中如果使用百分比，相对父元素的属性并不是唯一的。比如width和height相对于父元素的width和height，而margin、padding不管垂直还是水平方向都相对比父元素的宽度、border-radius则是相对于元素自身等等，造成我们使用百分比单位容易使布局问题变得复杂。</a:t>
            </a:r>
            <a:endParaRPr lang="zh-CN" altLang="en-US" b="1" strike="noStrike" noProof="1" dirty="0">
              <a:solidFill>
                <a:srgbClr val="000000">
                  <a:lumMod val="75000"/>
                  <a:lumOff val="25000"/>
                </a:srgbClr>
              </a:solidFill>
              <a:uFillTx/>
              <a:latin typeface="Arial" panose="020B0604020202020204" pitchFamily="34" charset="0"/>
              <a:ea typeface="微软雅黑" panose="020B0503020204020204" charset="-122"/>
              <a:cs typeface="+mn-cs"/>
            </a:endParaRPr>
          </a:p>
        </p:txBody>
      </p:sp>
      <p:sp>
        <p:nvSpPr>
          <p:cNvPr id="14" name="文本框 13"/>
          <p:cNvSpPr txBox="1"/>
          <p:nvPr>
            <p:custDataLst>
              <p:tags r:id="rId6"/>
            </p:custDataLst>
          </p:nvPr>
        </p:nvSpPr>
        <p:spPr>
          <a:xfrm>
            <a:off x="2265045" y="1363980"/>
            <a:ext cx="5324475" cy="473075"/>
          </a:xfrm>
          <a:prstGeom prst="rect">
            <a:avLst/>
          </a:prstGeom>
          <a:noFill/>
        </p:spPr>
        <p:txBody>
          <a:bodyPr wrap="none" lIns="76200" tIns="28575" rIns="47625" bIns="28575" rtlCol="0">
            <a:noAutofit/>
          </a:bodyPr>
          <a:lstStyle/>
          <a:p>
            <a:pPr algn="l">
              <a:spcBef>
                <a:spcPts val="0"/>
              </a:spcBef>
              <a:spcAft>
                <a:spcPts val="0"/>
              </a:spcAft>
            </a:pPr>
            <a:r>
              <a:rPr lang="zh-CN" altLang="en-US" sz="2700" b="1" spc="300" noProof="1" dirty="0">
                <a:solidFill>
                  <a:srgbClr val="000000">
                    <a:lumMod val="75000"/>
                    <a:lumOff val="25000"/>
                  </a:srgbClr>
                </a:solidFill>
                <a:latin typeface="Arial" panose="020B0604020202020204" pitchFamily="34" charset="0"/>
                <a:ea typeface="微软雅黑" panose="020B0503020204020204" charset="-122"/>
              </a:rPr>
              <a:t>百分比单位缺点</a:t>
            </a:r>
            <a:endParaRPr lang="zh-CN" altLang="en-US" sz="2700" b="1" spc="300" noProof="1" dirty="0">
              <a:solidFill>
                <a:srgbClr val="000000">
                  <a:lumMod val="75000"/>
                  <a:lumOff val="25000"/>
                </a:srgbClr>
              </a:solidFill>
              <a:latin typeface="Arial" panose="020B0604020202020204" pitchFamily="34" charset="0"/>
              <a:ea typeface="微软雅黑" panose="020B0503020204020204" charset="-122"/>
            </a:endParaRPr>
          </a:p>
        </p:txBody>
      </p:sp>
    </p:spTree>
    <p:custDataLst>
      <p:tags r:id="rId7"/>
    </p:custData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5" name="矩形 14"/>
          <p:cNvSpPr/>
          <p:nvPr>
            <p:custDataLst>
              <p:tags r:id="rId1"/>
            </p:custDataLst>
          </p:nvPr>
        </p:nvSpPr>
        <p:spPr>
          <a:xfrm>
            <a:off x="1524000" y="857250"/>
            <a:ext cx="9144000" cy="5143500"/>
          </a:xfrm>
          <a:prstGeom prst="rect">
            <a:avLst/>
          </a:prstGeom>
          <a:pattFill prst="smCheck">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r>
              <a:rPr kumimoji="1" lang="en-US" altLang="zh-CN" sz="1200" b="1" strike="noStrike" noProof="1" dirty="0">
                <a:solidFill>
                  <a:schemeClr val="bg1"/>
                </a:solidFill>
                <a:latin typeface="微软雅黑" panose="020B0503020204020204" charset="-122"/>
                <a:ea typeface="微软雅黑" panose="020B0503020204020204" charset="-122"/>
              </a:rPr>
              <a:t>·</a:t>
            </a:r>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5" name="矩形 4"/>
          <p:cNvSpPr/>
          <p:nvPr>
            <p:custDataLst>
              <p:tags r:id="rId2"/>
            </p:custDataLst>
          </p:nvPr>
        </p:nvSpPr>
        <p:spPr>
          <a:xfrm>
            <a:off x="2025650" y="1484313"/>
            <a:ext cx="7435850" cy="4175125"/>
          </a:xfrm>
          <a:prstGeom prst="rect">
            <a:avLst/>
          </a:prstGeom>
          <a:solidFill>
            <a:schemeClr val="bg1">
              <a:lumMod val="85000"/>
              <a:alpha val="50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6" name="矩形 5"/>
          <p:cNvSpPr/>
          <p:nvPr>
            <p:custDataLst>
              <p:tags r:id="rId3"/>
            </p:custDataLst>
          </p:nvPr>
        </p:nvSpPr>
        <p:spPr>
          <a:xfrm>
            <a:off x="2025650" y="1144588"/>
            <a:ext cx="228600" cy="228600"/>
          </a:xfrm>
          <a:prstGeom prst="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微软雅黑" panose="020B0503020204020204" charset="-122"/>
              <a:ea typeface="微软雅黑" panose="020B0503020204020204" charset="-122"/>
            </a:endParaRPr>
          </a:p>
        </p:txBody>
      </p:sp>
      <p:sp>
        <p:nvSpPr>
          <p:cNvPr id="7" name="矩形 6"/>
          <p:cNvSpPr/>
          <p:nvPr>
            <p:custDataLst>
              <p:tags r:id="rId4"/>
            </p:custDataLst>
          </p:nvPr>
        </p:nvSpPr>
        <p:spPr>
          <a:xfrm>
            <a:off x="2478088" y="1149350"/>
            <a:ext cx="7440613" cy="4175125"/>
          </a:xfrm>
          <a:prstGeom prst="rect">
            <a:avLst/>
          </a:prstGeom>
          <a:no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10" name="文本框 9"/>
          <p:cNvSpPr txBox="1"/>
          <p:nvPr>
            <p:custDataLst>
              <p:tags r:id="rId5"/>
            </p:custDataLst>
          </p:nvPr>
        </p:nvSpPr>
        <p:spPr>
          <a:xfrm>
            <a:off x="2797175" y="1567815"/>
            <a:ext cx="6939915" cy="468630"/>
          </a:xfrm>
          <a:prstGeom prst="rect">
            <a:avLst/>
          </a:prstGeom>
          <a:noFill/>
        </p:spPr>
        <p:txBody>
          <a:bodyPr wrap="square" lIns="76200" tIns="28575" rIns="47625" bIns="28575" rtlCol="0">
            <a:noAutofit/>
          </a:bodyPr>
          <a:lstStyle/>
          <a:p>
            <a:r>
              <a:rPr lang="zh-CN" altLang="en-US" sz="2700" b="1" spc="300" noProof="1" dirty="0">
                <a:solidFill>
                  <a:schemeClr val="tx1">
                    <a:lumMod val="75000"/>
                    <a:lumOff val="25000"/>
                  </a:schemeClr>
                </a:solidFill>
                <a:latin typeface="微软雅黑" panose="020B0503020204020204" charset="-122"/>
                <a:ea typeface="微软雅黑" panose="020B0503020204020204" charset="-122"/>
                <a:cs typeface="+mn-cs"/>
              </a:rPr>
              <a:t>方法三：</a:t>
            </a:r>
            <a:r>
              <a:rPr lang="en-US" sz="2700" b="1" spc="300" noProof="1" dirty="0">
                <a:solidFill>
                  <a:schemeClr val="tx1">
                    <a:lumMod val="75000"/>
                    <a:lumOff val="25000"/>
                  </a:schemeClr>
                </a:solidFill>
                <a:latin typeface="微软雅黑" panose="020B0503020204020204" charset="-122"/>
                <a:ea typeface="微软雅黑" panose="020B0503020204020204" charset="-122"/>
                <a:cs typeface="+mn-cs"/>
              </a:rPr>
              <a:t>自适应场景下的rem解决方案</a:t>
            </a:r>
            <a:endParaRPr lang="en-US" sz="2700" b="1" spc="300" noProof="1" dirty="0">
              <a:solidFill>
                <a:schemeClr val="tx1">
                  <a:lumMod val="75000"/>
                  <a:lumOff val="25000"/>
                </a:schemeClr>
              </a:solidFill>
              <a:latin typeface="微软雅黑" panose="020B0503020204020204" charset="-122"/>
              <a:ea typeface="微软雅黑" panose="020B0503020204020204" charset="-122"/>
              <a:cs typeface="+mn-cs"/>
            </a:endParaRPr>
          </a:p>
        </p:txBody>
      </p:sp>
      <p:sp>
        <p:nvSpPr>
          <p:cNvPr id="9" name="矩形 8"/>
          <p:cNvSpPr/>
          <p:nvPr>
            <p:custDataLst>
              <p:tags r:id="rId6"/>
            </p:custDataLst>
          </p:nvPr>
        </p:nvSpPr>
        <p:spPr>
          <a:xfrm>
            <a:off x="10082213" y="3416300"/>
            <a:ext cx="146050" cy="1908175"/>
          </a:xfrm>
          <a:prstGeom prst="rect">
            <a:avLst/>
          </a:prstGeom>
          <a:solidFill>
            <a:schemeClr val="accent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微软雅黑" panose="020B0503020204020204" charset="-122"/>
              <a:ea typeface="微软雅黑" panose="020B0503020204020204" charset="-122"/>
            </a:endParaRPr>
          </a:p>
        </p:txBody>
      </p:sp>
      <p:sp>
        <p:nvSpPr>
          <p:cNvPr id="17" name="任意多边形: 形状 16"/>
          <p:cNvSpPr/>
          <p:nvPr>
            <p:custDataLst>
              <p:tags r:id="rId7"/>
            </p:custDataLst>
          </p:nvPr>
        </p:nvSpPr>
        <p:spPr>
          <a:xfrm rot="10800000">
            <a:off x="8872538" y="1882775"/>
            <a:ext cx="255588" cy="311150"/>
          </a:xfrm>
          <a:custGeom>
            <a:avLst/>
            <a:gdLst>
              <a:gd name="connsiteX0" fmla="*/ 174788 w 340237"/>
              <a:gd name="connsiteY0" fmla="*/ 0 h 415819"/>
              <a:gd name="connsiteX1" fmla="*/ 340237 w 340237"/>
              <a:gd name="connsiteY1" fmla="*/ 0 h 415819"/>
              <a:gd name="connsiteX2" fmla="*/ 241322 w 340237"/>
              <a:gd name="connsiteY2" fmla="*/ 415819 h 415819"/>
              <a:gd name="connsiteX3" fmla="*/ 0 w 340237"/>
              <a:gd name="connsiteY3" fmla="*/ 415819 h 415819"/>
            </a:gdLst>
            <a:ahLst/>
            <a:cxnLst>
              <a:cxn ang="0">
                <a:pos x="connsiteX0" y="connsiteY0"/>
              </a:cxn>
              <a:cxn ang="0">
                <a:pos x="connsiteX1" y="connsiteY1"/>
              </a:cxn>
              <a:cxn ang="0">
                <a:pos x="connsiteX2" y="connsiteY2"/>
              </a:cxn>
              <a:cxn ang="0">
                <a:pos x="connsiteX3" y="connsiteY3"/>
              </a:cxn>
            </a:cxnLst>
            <a:rect l="l" t="t" r="r" b="b"/>
            <a:pathLst>
              <a:path w="340237" h="415819">
                <a:moveTo>
                  <a:pt x="174788" y="0"/>
                </a:moveTo>
                <a:lnTo>
                  <a:pt x="340237" y="0"/>
                </a:lnTo>
                <a:lnTo>
                  <a:pt x="241322" y="415819"/>
                </a:lnTo>
                <a:lnTo>
                  <a:pt x="0" y="415819"/>
                </a:lnTo>
                <a:close/>
              </a:path>
            </a:pathLst>
          </a:cu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endParaRPr lang="zh-CN" altLang="en-US" sz="1350" strike="noStrike" noProof="1">
              <a:ea typeface="微软雅黑" panose="020B0503020204020204" charset="-122"/>
            </a:endParaRPr>
          </a:p>
        </p:txBody>
      </p:sp>
      <p:sp>
        <p:nvSpPr>
          <p:cNvPr id="18" name="任意多边形: 形状 17"/>
          <p:cNvSpPr/>
          <p:nvPr>
            <p:custDataLst>
              <p:tags r:id="rId8"/>
            </p:custDataLst>
          </p:nvPr>
        </p:nvSpPr>
        <p:spPr>
          <a:xfrm rot="10800000">
            <a:off x="8586788" y="1882775"/>
            <a:ext cx="255588" cy="311150"/>
          </a:xfrm>
          <a:custGeom>
            <a:avLst/>
            <a:gdLst>
              <a:gd name="connsiteX0" fmla="*/ 174788 w 340237"/>
              <a:gd name="connsiteY0" fmla="*/ 0 h 415819"/>
              <a:gd name="connsiteX1" fmla="*/ 340237 w 340237"/>
              <a:gd name="connsiteY1" fmla="*/ 0 h 415819"/>
              <a:gd name="connsiteX2" fmla="*/ 241322 w 340237"/>
              <a:gd name="connsiteY2" fmla="*/ 415819 h 415819"/>
              <a:gd name="connsiteX3" fmla="*/ 0 w 340237"/>
              <a:gd name="connsiteY3" fmla="*/ 415819 h 415819"/>
            </a:gdLst>
            <a:ahLst/>
            <a:cxnLst>
              <a:cxn ang="0">
                <a:pos x="connsiteX0" y="connsiteY0"/>
              </a:cxn>
              <a:cxn ang="0">
                <a:pos x="connsiteX1" y="connsiteY1"/>
              </a:cxn>
              <a:cxn ang="0">
                <a:pos x="connsiteX2" y="connsiteY2"/>
              </a:cxn>
              <a:cxn ang="0">
                <a:pos x="connsiteX3" y="connsiteY3"/>
              </a:cxn>
            </a:cxnLst>
            <a:rect l="l" t="t" r="r" b="b"/>
            <a:pathLst>
              <a:path w="340237" h="415819">
                <a:moveTo>
                  <a:pt x="174788" y="0"/>
                </a:moveTo>
                <a:lnTo>
                  <a:pt x="340237" y="0"/>
                </a:lnTo>
                <a:lnTo>
                  <a:pt x="241322" y="415819"/>
                </a:lnTo>
                <a:lnTo>
                  <a:pt x="0" y="415819"/>
                </a:lnTo>
                <a:close/>
              </a:path>
            </a:pathLst>
          </a:cu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endParaRPr lang="zh-CN" altLang="en-US" sz="1350" strike="noStrike" noProof="1">
              <a:ea typeface="微软雅黑" panose="020B0503020204020204" charset="-122"/>
            </a:endParaRPr>
          </a:p>
        </p:txBody>
      </p:sp>
      <p:sp>
        <p:nvSpPr>
          <p:cNvPr id="2" name="文本框 1"/>
          <p:cNvSpPr txBox="1"/>
          <p:nvPr>
            <p:custDataLst>
              <p:tags r:id="rId9"/>
            </p:custDataLst>
          </p:nvPr>
        </p:nvSpPr>
        <p:spPr>
          <a:xfrm>
            <a:off x="3053715" y="2209800"/>
            <a:ext cx="6407785" cy="2812415"/>
          </a:xfrm>
          <a:prstGeom prst="rect">
            <a:avLst/>
          </a:prstGeom>
          <a:noFill/>
        </p:spPr>
        <p:txBody>
          <a:bodyPr wrap="square" lIns="76200" tIns="0" rIns="61912" bIns="0" rtlCol="0">
            <a:noAutofit/>
          </a:bodyPr>
          <a:lstStyle>
            <a:defPPr>
              <a:defRPr lang="zh-CN"/>
            </a:defPPr>
            <a:lvl1pPr fontAlgn="auto">
              <a:lnSpc>
                <a:spcPct val="130000"/>
              </a:lnSpc>
              <a:spcAft>
                <a:spcPts val="1000"/>
              </a:spcAft>
              <a:defRPr sz="1600" spc="150"/>
            </a:lvl1pPr>
          </a:lstStyle>
          <a:p>
            <a:pPr indent="0" fontAlgn="ctr">
              <a:spcBef>
                <a:spcPts val="1000"/>
              </a:spcBef>
              <a:spcAft>
                <a:spcPts val="0"/>
              </a:spcAft>
              <a:buClr>
                <a:schemeClr val="tx2">
                  <a:lumMod val="75000"/>
                </a:schemeClr>
              </a:buClr>
              <a:buSzPct val="130000"/>
              <a:buFont typeface="WPS-Bullets" pitchFamily="2" charset="0"/>
              <a:buNone/>
            </a:pPr>
            <a:r>
              <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  1.rem单位</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首先来看，什么是rem单位。rem是一个灵活的、可扩展的单位，由浏览器转化像素并显示。与em单位不同，rem单位无论嵌套层级如何，都只相对于浏览器的根元素（HTML元素）的font-size。默认情况下，html元素的font-size为16px，所以：</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    1 rem = 16px</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为了计算方便，通常可以将html的font-size设置成：</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    html{ font-size: 62.5% }</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这种情况下：</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    1 rem = 10px</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p:txBody>
      </p:sp>
    </p:spTree>
    <p:custDataLst>
      <p:tags r:id="rId10"/>
    </p:custData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5"/>
          <p:cNvSpPr>
            <a:spLocks noGrp="1"/>
          </p:cNvSpPr>
          <p:nvPr>
            <p:ph type="title" idx="4294967295"/>
          </p:nvPr>
        </p:nvSpPr>
        <p:spPr>
          <a:xfrm>
            <a:off x="0" y="365125"/>
            <a:ext cx="10515600" cy="1325880"/>
          </a:xfrm>
        </p:spPr>
        <p:txBody>
          <a:bodyPr>
            <a:normAutofit fontScale="90000"/>
          </a:bodyPr>
          <a:p>
            <a:r>
              <a:rPr lang="zh-CN" altLang="en-US" b="1" spc="300" dirty="0">
                <a:solidFill>
                  <a:schemeClr val="tx1">
                    <a:lumMod val="75000"/>
                    <a:lumOff val="25000"/>
                  </a:schemeClr>
                </a:solidFill>
                <a:uFillTx/>
                <a:latin typeface="Arial" panose="020B0604020202020204" pitchFamily="34" charset="0"/>
                <a:sym typeface="+mn-ea"/>
              </a:rPr>
              <a:t>通过rem来实现响应式布局</a:t>
            </a:r>
            <a:br>
              <a:rPr lang="zh-CN" altLang="en-US" b="1" spc="300" dirty="0">
                <a:solidFill>
                  <a:schemeClr val="tx1">
                    <a:lumMod val="75000"/>
                    <a:lumOff val="25000"/>
                  </a:schemeClr>
                </a:solidFill>
                <a:uFillTx/>
                <a:latin typeface="Arial" panose="020B0604020202020204" pitchFamily="34" charset="0"/>
                <a:ea typeface="微软雅黑" panose="020B0503020204020204" charset="-122"/>
              </a:rPr>
            </a:br>
            <a:endParaRPr lang="zh-CN" altLang="en-US"/>
          </a:p>
        </p:txBody>
      </p:sp>
      <p:sp>
        <p:nvSpPr>
          <p:cNvPr id="16" name="矩形 15"/>
          <p:cNvSpPr/>
          <p:nvPr>
            <p:custDataLst>
              <p:tags r:id="rId1"/>
            </p:custDataLst>
          </p:nvPr>
        </p:nvSpPr>
        <p:spPr>
          <a:xfrm>
            <a:off x="549644" y="1832469"/>
            <a:ext cx="11363028" cy="4499877"/>
          </a:xfrm>
          <a:prstGeom prst="rect">
            <a:avLst/>
          </a:prstGeom>
          <a:pattFill prst="ltDnDiag">
            <a:fgClr>
              <a:schemeClr val="bg1">
                <a:lumMod val="65000"/>
              </a:schemeClr>
            </a:fgClr>
            <a:bgClr>
              <a:schemeClr val="bg1">
                <a:lumMod val="9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600" b="1" dirty="0">
              <a:solidFill>
                <a:schemeClr val="bg1"/>
              </a:solidFill>
              <a:latin typeface="+mn-ea"/>
            </a:endParaRPr>
          </a:p>
        </p:txBody>
      </p:sp>
      <p:sp>
        <p:nvSpPr>
          <p:cNvPr id="17" name="矩形 16"/>
          <p:cNvSpPr/>
          <p:nvPr>
            <p:custDataLst>
              <p:tags r:id="rId2"/>
            </p:custDataLst>
          </p:nvPr>
        </p:nvSpPr>
        <p:spPr>
          <a:xfrm>
            <a:off x="334010" y="1275715"/>
            <a:ext cx="11321415" cy="4805680"/>
          </a:xfrm>
          <a:prstGeom prst="rect">
            <a:avLst/>
          </a:prstGeom>
          <a:solidFill>
            <a:schemeClr val="bg1"/>
          </a:solidFill>
          <a:ln w="508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600" b="1" dirty="0">
              <a:solidFill>
                <a:schemeClr val="bg1"/>
              </a:solidFill>
              <a:latin typeface="+mn-ea"/>
            </a:endParaRPr>
          </a:p>
        </p:txBody>
      </p:sp>
      <p:sp>
        <p:nvSpPr>
          <p:cNvPr id="80" name="椭圆 79"/>
          <p:cNvSpPr/>
          <p:nvPr>
            <p:custDataLst>
              <p:tags r:id="rId3"/>
            </p:custDataLst>
          </p:nvPr>
        </p:nvSpPr>
        <p:spPr>
          <a:xfrm>
            <a:off x="10532745" y="5830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1" name="椭圆 80"/>
          <p:cNvSpPr/>
          <p:nvPr>
            <p:custDataLst>
              <p:tags r:id="rId4"/>
            </p:custDataLst>
          </p:nvPr>
        </p:nvSpPr>
        <p:spPr>
          <a:xfrm>
            <a:off x="10685145" y="5830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2" name="椭圆 81"/>
          <p:cNvSpPr/>
          <p:nvPr>
            <p:custDataLst>
              <p:tags r:id="rId5"/>
            </p:custDataLst>
          </p:nvPr>
        </p:nvSpPr>
        <p:spPr>
          <a:xfrm>
            <a:off x="10837545" y="5830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3" name="椭圆 82"/>
          <p:cNvSpPr/>
          <p:nvPr>
            <p:custDataLst>
              <p:tags r:id="rId6"/>
            </p:custDataLst>
          </p:nvPr>
        </p:nvSpPr>
        <p:spPr>
          <a:xfrm>
            <a:off x="10989945" y="5830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4" name="椭圆 83"/>
          <p:cNvSpPr/>
          <p:nvPr>
            <p:custDataLst>
              <p:tags r:id="rId7"/>
            </p:custDataLst>
          </p:nvPr>
        </p:nvSpPr>
        <p:spPr>
          <a:xfrm>
            <a:off x="11142345" y="5830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5" name="椭圆 84"/>
          <p:cNvSpPr/>
          <p:nvPr>
            <p:custDataLst>
              <p:tags r:id="rId8"/>
            </p:custDataLst>
          </p:nvPr>
        </p:nvSpPr>
        <p:spPr>
          <a:xfrm>
            <a:off x="11294745" y="5830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6" name="椭圆 85"/>
          <p:cNvSpPr/>
          <p:nvPr>
            <p:custDataLst>
              <p:tags r:id="rId9"/>
            </p:custDataLst>
          </p:nvPr>
        </p:nvSpPr>
        <p:spPr>
          <a:xfrm>
            <a:off x="11447145" y="5830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7" name="椭圆 86"/>
          <p:cNvSpPr/>
          <p:nvPr>
            <p:custDataLst>
              <p:tags r:id="rId10"/>
            </p:custDataLst>
          </p:nvPr>
        </p:nvSpPr>
        <p:spPr>
          <a:xfrm>
            <a:off x="11599545" y="5830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8" name="椭圆 87"/>
          <p:cNvSpPr/>
          <p:nvPr>
            <p:custDataLst>
              <p:tags r:id="rId11"/>
            </p:custDataLst>
          </p:nvPr>
        </p:nvSpPr>
        <p:spPr>
          <a:xfrm>
            <a:off x="11751945" y="5830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9" name="椭圆 88"/>
          <p:cNvSpPr/>
          <p:nvPr>
            <p:custDataLst>
              <p:tags r:id="rId12"/>
            </p:custDataLst>
          </p:nvPr>
        </p:nvSpPr>
        <p:spPr>
          <a:xfrm>
            <a:off x="11904345" y="5830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0" name="椭圆 89"/>
          <p:cNvSpPr/>
          <p:nvPr>
            <p:custDataLst>
              <p:tags r:id="rId13"/>
            </p:custDataLst>
          </p:nvPr>
        </p:nvSpPr>
        <p:spPr>
          <a:xfrm>
            <a:off x="12056745" y="5830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9" name="椭圆 68"/>
          <p:cNvSpPr/>
          <p:nvPr>
            <p:custDataLst>
              <p:tags r:id="rId14"/>
            </p:custDataLst>
          </p:nvPr>
        </p:nvSpPr>
        <p:spPr>
          <a:xfrm>
            <a:off x="10532745" y="59829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0" name="椭圆 69"/>
          <p:cNvSpPr/>
          <p:nvPr>
            <p:custDataLst>
              <p:tags r:id="rId15"/>
            </p:custDataLst>
          </p:nvPr>
        </p:nvSpPr>
        <p:spPr>
          <a:xfrm>
            <a:off x="10685145" y="59829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1" name="椭圆 70"/>
          <p:cNvSpPr/>
          <p:nvPr>
            <p:custDataLst>
              <p:tags r:id="rId16"/>
            </p:custDataLst>
          </p:nvPr>
        </p:nvSpPr>
        <p:spPr>
          <a:xfrm>
            <a:off x="10837545" y="59829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2" name="椭圆 71"/>
          <p:cNvSpPr/>
          <p:nvPr>
            <p:custDataLst>
              <p:tags r:id="rId17"/>
            </p:custDataLst>
          </p:nvPr>
        </p:nvSpPr>
        <p:spPr>
          <a:xfrm>
            <a:off x="10989945" y="59829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3" name="椭圆 72"/>
          <p:cNvSpPr/>
          <p:nvPr>
            <p:custDataLst>
              <p:tags r:id="rId18"/>
            </p:custDataLst>
          </p:nvPr>
        </p:nvSpPr>
        <p:spPr>
          <a:xfrm>
            <a:off x="11142345" y="59829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4" name="椭圆 73"/>
          <p:cNvSpPr/>
          <p:nvPr>
            <p:custDataLst>
              <p:tags r:id="rId19"/>
            </p:custDataLst>
          </p:nvPr>
        </p:nvSpPr>
        <p:spPr>
          <a:xfrm>
            <a:off x="11294745" y="59829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5" name="椭圆 74"/>
          <p:cNvSpPr/>
          <p:nvPr>
            <p:custDataLst>
              <p:tags r:id="rId20"/>
            </p:custDataLst>
          </p:nvPr>
        </p:nvSpPr>
        <p:spPr>
          <a:xfrm>
            <a:off x="11447145" y="59829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椭圆 75"/>
          <p:cNvSpPr/>
          <p:nvPr>
            <p:custDataLst>
              <p:tags r:id="rId21"/>
            </p:custDataLst>
          </p:nvPr>
        </p:nvSpPr>
        <p:spPr>
          <a:xfrm>
            <a:off x="11599545" y="59829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椭圆 76"/>
          <p:cNvSpPr/>
          <p:nvPr>
            <p:custDataLst>
              <p:tags r:id="rId22"/>
            </p:custDataLst>
          </p:nvPr>
        </p:nvSpPr>
        <p:spPr>
          <a:xfrm>
            <a:off x="11751945" y="59829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8" name="椭圆 77"/>
          <p:cNvSpPr/>
          <p:nvPr>
            <p:custDataLst>
              <p:tags r:id="rId23"/>
            </p:custDataLst>
          </p:nvPr>
        </p:nvSpPr>
        <p:spPr>
          <a:xfrm>
            <a:off x="11904345" y="59829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9" name="椭圆 78"/>
          <p:cNvSpPr/>
          <p:nvPr>
            <p:custDataLst>
              <p:tags r:id="rId24"/>
            </p:custDataLst>
          </p:nvPr>
        </p:nvSpPr>
        <p:spPr>
          <a:xfrm>
            <a:off x="12056745" y="59829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8" name="椭圆 57"/>
          <p:cNvSpPr/>
          <p:nvPr>
            <p:custDataLst>
              <p:tags r:id="rId25"/>
            </p:custDataLst>
          </p:nvPr>
        </p:nvSpPr>
        <p:spPr>
          <a:xfrm>
            <a:off x="10532745" y="61353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椭圆 58"/>
          <p:cNvSpPr/>
          <p:nvPr>
            <p:custDataLst>
              <p:tags r:id="rId26"/>
            </p:custDataLst>
          </p:nvPr>
        </p:nvSpPr>
        <p:spPr>
          <a:xfrm>
            <a:off x="10685145" y="61353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椭圆 59"/>
          <p:cNvSpPr/>
          <p:nvPr>
            <p:custDataLst>
              <p:tags r:id="rId27"/>
            </p:custDataLst>
          </p:nvPr>
        </p:nvSpPr>
        <p:spPr>
          <a:xfrm>
            <a:off x="10837545" y="61353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椭圆 60"/>
          <p:cNvSpPr/>
          <p:nvPr>
            <p:custDataLst>
              <p:tags r:id="rId28"/>
            </p:custDataLst>
          </p:nvPr>
        </p:nvSpPr>
        <p:spPr>
          <a:xfrm>
            <a:off x="10989945" y="61353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椭圆 61"/>
          <p:cNvSpPr/>
          <p:nvPr>
            <p:custDataLst>
              <p:tags r:id="rId29"/>
            </p:custDataLst>
          </p:nvPr>
        </p:nvSpPr>
        <p:spPr>
          <a:xfrm>
            <a:off x="11142345" y="61353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3" name="椭圆 62"/>
          <p:cNvSpPr/>
          <p:nvPr>
            <p:custDataLst>
              <p:tags r:id="rId30"/>
            </p:custDataLst>
          </p:nvPr>
        </p:nvSpPr>
        <p:spPr>
          <a:xfrm>
            <a:off x="11294745" y="61353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4" name="椭圆 63"/>
          <p:cNvSpPr/>
          <p:nvPr>
            <p:custDataLst>
              <p:tags r:id="rId31"/>
            </p:custDataLst>
          </p:nvPr>
        </p:nvSpPr>
        <p:spPr>
          <a:xfrm>
            <a:off x="11447145" y="61353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5" name="椭圆 64"/>
          <p:cNvSpPr/>
          <p:nvPr>
            <p:custDataLst>
              <p:tags r:id="rId32"/>
            </p:custDataLst>
          </p:nvPr>
        </p:nvSpPr>
        <p:spPr>
          <a:xfrm>
            <a:off x="11599545" y="61353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6" name="椭圆 65"/>
          <p:cNvSpPr/>
          <p:nvPr>
            <p:custDataLst>
              <p:tags r:id="rId33"/>
            </p:custDataLst>
          </p:nvPr>
        </p:nvSpPr>
        <p:spPr>
          <a:xfrm>
            <a:off x="11751945" y="61353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7" name="椭圆 66"/>
          <p:cNvSpPr/>
          <p:nvPr>
            <p:custDataLst>
              <p:tags r:id="rId34"/>
            </p:custDataLst>
          </p:nvPr>
        </p:nvSpPr>
        <p:spPr>
          <a:xfrm>
            <a:off x="11904345" y="61353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8" name="椭圆 67"/>
          <p:cNvSpPr/>
          <p:nvPr>
            <p:custDataLst>
              <p:tags r:id="rId35"/>
            </p:custDataLst>
          </p:nvPr>
        </p:nvSpPr>
        <p:spPr>
          <a:xfrm>
            <a:off x="12056745" y="61353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椭圆 46"/>
          <p:cNvSpPr/>
          <p:nvPr>
            <p:custDataLst>
              <p:tags r:id="rId36"/>
            </p:custDataLst>
          </p:nvPr>
        </p:nvSpPr>
        <p:spPr>
          <a:xfrm>
            <a:off x="10532745" y="62877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椭圆 47"/>
          <p:cNvSpPr/>
          <p:nvPr>
            <p:custDataLst>
              <p:tags r:id="rId37"/>
            </p:custDataLst>
          </p:nvPr>
        </p:nvSpPr>
        <p:spPr>
          <a:xfrm>
            <a:off x="10685145" y="62877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椭圆 48"/>
          <p:cNvSpPr/>
          <p:nvPr>
            <p:custDataLst>
              <p:tags r:id="rId38"/>
            </p:custDataLst>
          </p:nvPr>
        </p:nvSpPr>
        <p:spPr>
          <a:xfrm>
            <a:off x="10837545" y="62877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椭圆 49"/>
          <p:cNvSpPr/>
          <p:nvPr>
            <p:custDataLst>
              <p:tags r:id="rId39"/>
            </p:custDataLst>
          </p:nvPr>
        </p:nvSpPr>
        <p:spPr>
          <a:xfrm>
            <a:off x="10989945" y="62877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椭圆 50"/>
          <p:cNvSpPr/>
          <p:nvPr>
            <p:custDataLst>
              <p:tags r:id="rId40"/>
            </p:custDataLst>
          </p:nvPr>
        </p:nvSpPr>
        <p:spPr>
          <a:xfrm>
            <a:off x="11142345" y="62877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椭圆 51"/>
          <p:cNvSpPr/>
          <p:nvPr>
            <p:custDataLst>
              <p:tags r:id="rId41"/>
            </p:custDataLst>
          </p:nvPr>
        </p:nvSpPr>
        <p:spPr>
          <a:xfrm>
            <a:off x="11294745" y="62877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3" name="椭圆 52"/>
          <p:cNvSpPr/>
          <p:nvPr>
            <p:custDataLst>
              <p:tags r:id="rId42"/>
            </p:custDataLst>
          </p:nvPr>
        </p:nvSpPr>
        <p:spPr>
          <a:xfrm>
            <a:off x="11447145" y="62877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椭圆 53"/>
          <p:cNvSpPr/>
          <p:nvPr>
            <p:custDataLst>
              <p:tags r:id="rId43"/>
            </p:custDataLst>
          </p:nvPr>
        </p:nvSpPr>
        <p:spPr>
          <a:xfrm>
            <a:off x="11599545" y="62877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5" name="椭圆 54"/>
          <p:cNvSpPr/>
          <p:nvPr>
            <p:custDataLst>
              <p:tags r:id="rId44"/>
            </p:custDataLst>
          </p:nvPr>
        </p:nvSpPr>
        <p:spPr>
          <a:xfrm>
            <a:off x="11751945" y="62877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椭圆 55"/>
          <p:cNvSpPr/>
          <p:nvPr>
            <p:custDataLst>
              <p:tags r:id="rId45"/>
            </p:custDataLst>
          </p:nvPr>
        </p:nvSpPr>
        <p:spPr>
          <a:xfrm>
            <a:off x="11904345" y="62877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7" name="椭圆 56"/>
          <p:cNvSpPr/>
          <p:nvPr>
            <p:custDataLst>
              <p:tags r:id="rId46"/>
            </p:custDataLst>
          </p:nvPr>
        </p:nvSpPr>
        <p:spPr>
          <a:xfrm>
            <a:off x="12056745" y="62877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椭圆 35"/>
          <p:cNvSpPr/>
          <p:nvPr>
            <p:custDataLst>
              <p:tags r:id="rId47"/>
            </p:custDataLst>
          </p:nvPr>
        </p:nvSpPr>
        <p:spPr>
          <a:xfrm>
            <a:off x="10532745" y="64401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椭圆 36"/>
          <p:cNvSpPr/>
          <p:nvPr>
            <p:custDataLst>
              <p:tags r:id="rId48"/>
            </p:custDataLst>
          </p:nvPr>
        </p:nvSpPr>
        <p:spPr>
          <a:xfrm>
            <a:off x="10685145" y="64401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椭圆 37"/>
          <p:cNvSpPr/>
          <p:nvPr>
            <p:custDataLst>
              <p:tags r:id="rId49"/>
            </p:custDataLst>
          </p:nvPr>
        </p:nvSpPr>
        <p:spPr>
          <a:xfrm>
            <a:off x="10837545" y="64401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椭圆 38"/>
          <p:cNvSpPr/>
          <p:nvPr>
            <p:custDataLst>
              <p:tags r:id="rId50"/>
            </p:custDataLst>
          </p:nvPr>
        </p:nvSpPr>
        <p:spPr>
          <a:xfrm>
            <a:off x="10989945" y="64401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椭圆 39"/>
          <p:cNvSpPr/>
          <p:nvPr>
            <p:custDataLst>
              <p:tags r:id="rId51"/>
            </p:custDataLst>
          </p:nvPr>
        </p:nvSpPr>
        <p:spPr>
          <a:xfrm>
            <a:off x="11142345" y="64401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椭圆 40"/>
          <p:cNvSpPr/>
          <p:nvPr>
            <p:custDataLst>
              <p:tags r:id="rId52"/>
            </p:custDataLst>
          </p:nvPr>
        </p:nvSpPr>
        <p:spPr>
          <a:xfrm>
            <a:off x="11294745" y="64401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椭圆 41"/>
          <p:cNvSpPr/>
          <p:nvPr>
            <p:custDataLst>
              <p:tags r:id="rId53"/>
            </p:custDataLst>
          </p:nvPr>
        </p:nvSpPr>
        <p:spPr>
          <a:xfrm>
            <a:off x="11447145" y="64401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椭圆 42"/>
          <p:cNvSpPr/>
          <p:nvPr>
            <p:custDataLst>
              <p:tags r:id="rId54"/>
            </p:custDataLst>
          </p:nvPr>
        </p:nvSpPr>
        <p:spPr>
          <a:xfrm>
            <a:off x="11599545" y="64401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椭圆 43"/>
          <p:cNvSpPr/>
          <p:nvPr>
            <p:custDataLst>
              <p:tags r:id="rId55"/>
            </p:custDataLst>
          </p:nvPr>
        </p:nvSpPr>
        <p:spPr>
          <a:xfrm>
            <a:off x="11751945" y="64401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椭圆 44"/>
          <p:cNvSpPr/>
          <p:nvPr>
            <p:custDataLst>
              <p:tags r:id="rId56"/>
            </p:custDataLst>
          </p:nvPr>
        </p:nvSpPr>
        <p:spPr>
          <a:xfrm>
            <a:off x="11904345" y="64401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椭圆 45"/>
          <p:cNvSpPr/>
          <p:nvPr>
            <p:custDataLst>
              <p:tags r:id="rId57"/>
            </p:custDataLst>
          </p:nvPr>
        </p:nvSpPr>
        <p:spPr>
          <a:xfrm>
            <a:off x="12056745" y="64401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椭圆 24"/>
          <p:cNvSpPr/>
          <p:nvPr>
            <p:custDataLst>
              <p:tags r:id="rId58"/>
            </p:custDataLst>
          </p:nvPr>
        </p:nvSpPr>
        <p:spPr>
          <a:xfrm>
            <a:off x="10532745" y="6592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椭圆 25"/>
          <p:cNvSpPr/>
          <p:nvPr>
            <p:custDataLst>
              <p:tags r:id="rId59"/>
            </p:custDataLst>
          </p:nvPr>
        </p:nvSpPr>
        <p:spPr>
          <a:xfrm>
            <a:off x="10685145" y="6592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椭圆 26"/>
          <p:cNvSpPr/>
          <p:nvPr>
            <p:custDataLst>
              <p:tags r:id="rId60"/>
            </p:custDataLst>
          </p:nvPr>
        </p:nvSpPr>
        <p:spPr>
          <a:xfrm>
            <a:off x="10837545" y="6592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椭圆 27"/>
          <p:cNvSpPr/>
          <p:nvPr>
            <p:custDataLst>
              <p:tags r:id="rId61"/>
            </p:custDataLst>
          </p:nvPr>
        </p:nvSpPr>
        <p:spPr>
          <a:xfrm>
            <a:off x="10989945" y="6592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椭圆 28"/>
          <p:cNvSpPr/>
          <p:nvPr>
            <p:custDataLst>
              <p:tags r:id="rId62"/>
            </p:custDataLst>
          </p:nvPr>
        </p:nvSpPr>
        <p:spPr>
          <a:xfrm>
            <a:off x="11142345" y="6592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椭圆 29"/>
          <p:cNvSpPr/>
          <p:nvPr>
            <p:custDataLst>
              <p:tags r:id="rId63"/>
            </p:custDataLst>
          </p:nvPr>
        </p:nvSpPr>
        <p:spPr>
          <a:xfrm>
            <a:off x="11294745" y="6592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椭圆 30"/>
          <p:cNvSpPr/>
          <p:nvPr>
            <p:custDataLst>
              <p:tags r:id="rId64"/>
            </p:custDataLst>
          </p:nvPr>
        </p:nvSpPr>
        <p:spPr>
          <a:xfrm>
            <a:off x="11447145" y="6592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椭圆 31"/>
          <p:cNvSpPr/>
          <p:nvPr>
            <p:custDataLst>
              <p:tags r:id="rId65"/>
            </p:custDataLst>
          </p:nvPr>
        </p:nvSpPr>
        <p:spPr>
          <a:xfrm>
            <a:off x="11599545" y="6592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椭圆 32"/>
          <p:cNvSpPr/>
          <p:nvPr>
            <p:custDataLst>
              <p:tags r:id="rId66"/>
            </p:custDataLst>
          </p:nvPr>
        </p:nvSpPr>
        <p:spPr>
          <a:xfrm>
            <a:off x="11751945" y="6592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椭圆 33"/>
          <p:cNvSpPr/>
          <p:nvPr>
            <p:custDataLst>
              <p:tags r:id="rId67"/>
            </p:custDataLst>
          </p:nvPr>
        </p:nvSpPr>
        <p:spPr>
          <a:xfrm>
            <a:off x="11904345" y="6592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椭圆 34"/>
          <p:cNvSpPr/>
          <p:nvPr>
            <p:custDataLst>
              <p:tags r:id="rId68"/>
            </p:custDataLst>
          </p:nvPr>
        </p:nvSpPr>
        <p:spPr>
          <a:xfrm>
            <a:off x="12056745" y="6592570"/>
            <a:ext cx="71755" cy="717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文本框 1"/>
          <p:cNvSpPr txBox="1"/>
          <p:nvPr>
            <p:custDataLst>
              <p:tags r:id="rId69"/>
            </p:custDataLst>
          </p:nvPr>
        </p:nvSpPr>
        <p:spPr>
          <a:xfrm>
            <a:off x="594995" y="1433195"/>
            <a:ext cx="10852150" cy="4490720"/>
          </a:xfrm>
          <a:prstGeom prst="rect">
            <a:avLst/>
          </a:prstGeom>
          <a:noFill/>
        </p:spPr>
        <p:txBody>
          <a:bodyPr wrap="square" lIns="101600" tIns="0" rIns="82550" bIns="0" rtlCol="0">
            <a:noAutofit/>
          </a:bodyPr>
          <a:lstStyle>
            <a:defPPr>
              <a:defRPr lang="zh-CN"/>
            </a:defPPr>
            <a:lvl1pPr fontAlgn="auto">
              <a:lnSpc>
                <a:spcPct val="130000"/>
              </a:lnSpc>
              <a:spcAft>
                <a:spcPts val="1000"/>
              </a:spcAft>
              <a:defRPr sz="1600" spc="150"/>
            </a:lvl1pPr>
          </a:lstStyle>
          <a:p>
            <a:pPr indent="0" fontAlgn="ctr">
              <a:spcBef>
                <a:spcPts val="1000"/>
              </a:spcBef>
              <a:spcAft>
                <a:spcPts val="0"/>
              </a:spcAft>
              <a:buClr>
                <a:schemeClr val="accent2"/>
              </a:buClr>
              <a:buSzPct val="100000"/>
              <a:buFont typeface="WPS-Bullets" pitchFamily="2" charset="0"/>
              <a:buNone/>
            </a:pPr>
            <a:r>
              <a:rPr lang="en-US" altLang="zh-CN" dirty="0">
                <a:solidFill>
                  <a:schemeClr val="tx1">
                    <a:lumMod val="75000"/>
                    <a:lumOff val="25000"/>
                  </a:schemeClr>
                </a:solidFill>
                <a:latin typeface="Arial" panose="020B0604020202020204" pitchFamily="34" charset="0"/>
                <a:ea typeface="微软雅黑" panose="020B0503020204020204" charset="-122"/>
                <a:sym typeface="+mn-ea"/>
              </a:rPr>
              <a:t>rem单位都是相对于根元素html的font-size来决定大小的,根元素的font-size相当于提供了一个基准，当页面的size发生变化时，只需要改变font-size的值，那么以rem为固定单位的元素的大小也会发生响应的变化。因此，如果通过rem来实现响应式的布局，只需要根据视图容器的大小，动态的改变font-size即可。</a:t>
            </a:r>
            <a:endParaRPr lang="en-US" altLang="zh-CN" dirty="0">
              <a:solidFill>
                <a:schemeClr val="tx1">
                  <a:lumMod val="75000"/>
                  <a:lumOff val="25000"/>
                </a:schemeClr>
              </a:solidFill>
              <a:latin typeface="Arial" panose="020B0604020202020204" pitchFamily="34" charset="0"/>
              <a:ea typeface="微软雅黑" panose="020B0503020204020204" charset="-122"/>
              <a:sym typeface="+mn-ea"/>
            </a:endParaRPr>
          </a:p>
          <a:p>
            <a:pPr indent="0" fontAlgn="ctr">
              <a:spcBef>
                <a:spcPts val="1000"/>
              </a:spcBef>
              <a:spcAft>
                <a:spcPts val="0"/>
              </a:spcAft>
              <a:buClr>
                <a:schemeClr val="accent2"/>
              </a:buClr>
              <a:buSzPct val="100000"/>
              <a:buFont typeface="WPS-Bullets" pitchFamily="2" charset="0"/>
              <a:buNone/>
            </a:pPr>
            <a:r>
              <a:rPr lang="en-US" altLang="zh-CN" dirty="0">
                <a:solidFill>
                  <a:schemeClr val="tx1">
                    <a:lumMod val="75000"/>
                    <a:lumOff val="25000"/>
                  </a:schemeClr>
                </a:solidFill>
                <a:latin typeface="Arial" panose="020B0604020202020204" pitchFamily="34" charset="0"/>
                <a:ea typeface="微软雅黑" panose="020B0503020204020204" charset="-122"/>
                <a:sym typeface="+mn-ea"/>
              </a:rPr>
              <a:t>function refreshRem() {</a:t>
            </a:r>
            <a:endParaRPr lang="en-US" altLang="zh-CN" dirty="0">
              <a:solidFill>
                <a:schemeClr val="tx1">
                  <a:lumMod val="75000"/>
                  <a:lumOff val="25000"/>
                </a:schemeClr>
              </a:solidFill>
              <a:latin typeface="Arial" panose="020B0604020202020204" pitchFamily="34" charset="0"/>
              <a:ea typeface="微软雅黑" panose="020B0503020204020204" charset="-122"/>
              <a:sym typeface="+mn-ea"/>
            </a:endParaRPr>
          </a:p>
          <a:p>
            <a:pPr indent="0" fontAlgn="ctr">
              <a:spcBef>
                <a:spcPts val="1000"/>
              </a:spcBef>
              <a:spcAft>
                <a:spcPts val="0"/>
              </a:spcAft>
              <a:buClr>
                <a:schemeClr val="accent2"/>
              </a:buClr>
              <a:buSzPct val="100000"/>
              <a:buFont typeface="WPS-Bullets" pitchFamily="2" charset="0"/>
              <a:buNone/>
            </a:pPr>
            <a:r>
              <a:rPr lang="en-US" altLang="zh-CN" dirty="0">
                <a:solidFill>
                  <a:schemeClr val="tx1">
                    <a:lumMod val="75000"/>
                    <a:lumOff val="25000"/>
                  </a:schemeClr>
                </a:solidFill>
                <a:latin typeface="Arial" panose="020B0604020202020204" pitchFamily="34" charset="0"/>
                <a:ea typeface="微软雅黑" panose="020B0503020204020204" charset="-122"/>
                <a:sym typeface="+mn-ea"/>
              </a:rPr>
              <a:t>    var docEl = doc.documentElement;</a:t>
            </a:r>
            <a:endParaRPr lang="en-US" altLang="zh-CN" dirty="0">
              <a:solidFill>
                <a:schemeClr val="tx1">
                  <a:lumMod val="75000"/>
                  <a:lumOff val="25000"/>
                </a:schemeClr>
              </a:solidFill>
              <a:latin typeface="Arial" panose="020B0604020202020204" pitchFamily="34" charset="0"/>
              <a:ea typeface="微软雅黑" panose="020B0503020204020204" charset="-122"/>
              <a:sym typeface="+mn-ea"/>
            </a:endParaRPr>
          </a:p>
          <a:p>
            <a:pPr indent="0" fontAlgn="ctr">
              <a:spcBef>
                <a:spcPts val="1000"/>
              </a:spcBef>
              <a:spcAft>
                <a:spcPts val="0"/>
              </a:spcAft>
              <a:buClr>
                <a:schemeClr val="accent2"/>
              </a:buClr>
              <a:buSzPct val="100000"/>
              <a:buFont typeface="WPS-Bullets" pitchFamily="2" charset="0"/>
              <a:buNone/>
            </a:pPr>
            <a:r>
              <a:rPr lang="en-US" altLang="zh-CN" dirty="0">
                <a:solidFill>
                  <a:schemeClr val="tx1">
                    <a:lumMod val="75000"/>
                    <a:lumOff val="25000"/>
                  </a:schemeClr>
                </a:solidFill>
                <a:latin typeface="Arial" panose="020B0604020202020204" pitchFamily="34" charset="0"/>
                <a:ea typeface="微软雅黑" panose="020B0503020204020204" charset="-122"/>
                <a:sym typeface="+mn-ea"/>
              </a:rPr>
              <a:t>    var width = docEl.getBoundingClientRect().width;</a:t>
            </a:r>
            <a:endParaRPr lang="en-US" altLang="zh-CN" dirty="0">
              <a:solidFill>
                <a:schemeClr val="tx1">
                  <a:lumMod val="75000"/>
                  <a:lumOff val="25000"/>
                </a:schemeClr>
              </a:solidFill>
              <a:latin typeface="Arial" panose="020B0604020202020204" pitchFamily="34" charset="0"/>
              <a:ea typeface="微软雅黑" panose="020B0503020204020204" charset="-122"/>
              <a:sym typeface="+mn-ea"/>
            </a:endParaRPr>
          </a:p>
          <a:p>
            <a:pPr indent="0" fontAlgn="ctr">
              <a:spcBef>
                <a:spcPts val="1000"/>
              </a:spcBef>
              <a:spcAft>
                <a:spcPts val="0"/>
              </a:spcAft>
              <a:buClr>
                <a:schemeClr val="accent2"/>
              </a:buClr>
              <a:buSzPct val="100000"/>
              <a:buFont typeface="WPS-Bullets" pitchFamily="2" charset="0"/>
              <a:buNone/>
            </a:pPr>
            <a:r>
              <a:rPr lang="en-US" altLang="zh-CN" dirty="0">
                <a:solidFill>
                  <a:schemeClr val="tx1">
                    <a:lumMod val="75000"/>
                    <a:lumOff val="25000"/>
                  </a:schemeClr>
                </a:solidFill>
                <a:latin typeface="Arial" panose="020B0604020202020204" pitchFamily="34" charset="0"/>
                <a:ea typeface="微软雅黑" panose="020B0503020204020204" charset="-122"/>
                <a:sym typeface="+mn-ea"/>
              </a:rPr>
              <a:t>    var rem = width / 10;</a:t>
            </a:r>
            <a:endParaRPr lang="en-US" altLang="zh-CN" dirty="0">
              <a:solidFill>
                <a:schemeClr val="tx1">
                  <a:lumMod val="75000"/>
                  <a:lumOff val="25000"/>
                </a:schemeClr>
              </a:solidFill>
              <a:latin typeface="Arial" panose="020B0604020202020204" pitchFamily="34" charset="0"/>
              <a:ea typeface="微软雅黑" panose="020B0503020204020204" charset="-122"/>
              <a:sym typeface="+mn-ea"/>
            </a:endParaRPr>
          </a:p>
          <a:p>
            <a:pPr indent="0" fontAlgn="ctr">
              <a:spcBef>
                <a:spcPts val="1000"/>
              </a:spcBef>
              <a:spcAft>
                <a:spcPts val="0"/>
              </a:spcAft>
              <a:buClr>
                <a:schemeClr val="accent2"/>
              </a:buClr>
              <a:buSzPct val="100000"/>
              <a:buFont typeface="WPS-Bullets" pitchFamily="2" charset="0"/>
              <a:buNone/>
            </a:pPr>
            <a:r>
              <a:rPr lang="en-US" altLang="zh-CN" dirty="0">
                <a:solidFill>
                  <a:schemeClr val="tx1">
                    <a:lumMod val="75000"/>
                    <a:lumOff val="25000"/>
                  </a:schemeClr>
                </a:solidFill>
                <a:latin typeface="Arial" panose="020B0604020202020204" pitchFamily="34" charset="0"/>
                <a:ea typeface="微软雅黑" panose="020B0503020204020204" charset="-122"/>
                <a:sym typeface="+mn-ea"/>
              </a:rPr>
              <a:t>    docEl.style.fontSize = rem + 'px';</a:t>
            </a:r>
            <a:endParaRPr lang="en-US" altLang="zh-CN" dirty="0">
              <a:solidFill>
                <a:schemeClr val="tx1">
                  <a:lumMod val="75000"/>
                  <a:lumOff val="25000"/>
                </a:schemeClr>
              </a:solidFill>
              <a:latin typeface="Arial" panose="020B0604020202020204" pitchFamily="34" charset="0"/>
              <a:ea typeface="微软雅黑" panose="020B0503020204020204" charset="-122"/>
              <a:sym typeface="+mn-ea"/>
            </a:endParaRPr>
          </a:p>
          <a:p>
            <a:pPr indent="0" fontAlgn="ctr">
              <a:spcBef>
                <a:spcPts val="1000"/>
              </a:spcBef>
              <a:spcAft>
                <a:spcPts val="0"/>
              </a:spcAft>
              <a:buClr>
                <a:schemeClr val="accent2"/>
              </a:buClr>
              <a:buSzPct val="100000"/>
              <a:buFont typeface="WPS-Bullets" pitchFamily="2" charset="0"/>
              <a:buNone/>
            </a:pPr>
            <a:r>
              <a:rPr lang="en-US" altLang="zh-CN" dirty="0">
                <a:solidFill>
                  <a:schemeClr val="tx1">
                    <a:lumMod val="75000"/>
                    <a:lumOff val="25000"/>
                  </a:schemeClr>
                </a:solidFill>
                <a:latin typeface="Arial" panose="020B0604020202020204" pitchFamily="34" charset="0"/>
                <a:ea typeface="微软雅黑" panose="020B0503020204020204" charset="-122"/>
                <a:sym typeface="+mn-ea"/>
              </a:rPr>
              <a:t>    flexible.rem = win.rem = rem;</a:t>
            </a:r>
            <a:endParaRPr lang="en-US" altLang="zh-CN" dirty="0">
              <a:solidFill>
                <a:schemeClr val="tx1">
                  <a:lumMod val="75000"/>
                  <a:lumOff val="25000"/>
                </a:schemeClr>
              </a:solidFill>
              <a:latin typeface="Arial" panose="020B0604020202020204" pitchFamily="34" charset="0"/>
              <a:ea typeface="微软雅黑" panose="020B0503020204020204" charset="-122"/>
              <a:sym typeface="+mn-ea"/>
            </a:endParaRPr>
          </a:p>
          <a:p>
            <a:pPr indent="0" fontAlgn="ctr">
              <a:spcBef>
                <a:spcPts val="1000"/>
              </a:spcBef>
              <a:spcAft>
                <a:spcPts val="0"/>
              </a:spcAft>
              <a:buClr>
                <a:schemeClr val="accent2"/>
              </a:buClr>
              <a:buSzPct val="100000"/>
              <a:buFont typeface="WPS-Bullets" pitchFamily="2" charset="0"/>
              <a:buNone/>
            </a:pPr>
            <a:r>
              <a:rPr lang="en-US" altLang="zh-CN" dirty="0">
                <a:solidFill>
                  <a:schemeClr val="tx1">
                    <a:lumMod val="75000"/>
                    <a:lumOff val="25000"/>
                  </a:schemeClr>
                </a:solidFill>
                <a:latin typeface="Arial" panose="020B0604020202020204" pitchFamily="34" charset="0"/>
                <a:ea typeface="微软雅黑" panose="020B0503020204020204" charset="-122"/>
                <a:sym typeface="+mn-ea"/>
              </a:rPr>
              <a:t>}</a:t>
            </a:r>
            <a:endParaRPr lang="en-US" altLang="zh-CN" dirty="0">
              <a:solidFill>
                <a:schemeClr val="tx1">
                  <a:lumMod val="75000"/>
                  <a:lumOff val="25000"/>
                </a:schemeClr>
              </a:solidFill>
              <a:latin typeface="Arial" panose="020B0604020202020204" pitchFamily="34" charset="0"/>
              <a:ea typeface="微软雅黑" panose="020B0503020204020204" charset="-122"/>
              <a:sym typeface="+mn-ea"/>
            </a:endParaRPr>
          </a:p>
          <a:p>
            <a:pPr indent="0" fontAlgn="ctr">
              <a:spcBef>
                <a:spcPts val="1000"/>
              </a:spcBef>
              <a:spcAft>
                <a:spcPts val="0"/>
              </a:spcAft>
              <a:buClr>
                <a:schemeClr val="accent2"/>
              </a:buClr>
              <a:buSzPct val="100000"/>
              <a:buFont typeface="WPS-Bullets" pitchFamily="2" charset="0"/>
              <a:buNone/>
            </a:pPr>
            <a:r>
              <a:rPr lang="en-US" altLang="zh-CN" dirty="0">
                <a:solidFill>
                  <a:schemeClr val="tx1">
                    <a:lumMod val="75000"/>
                    <a:lumOff val="25000"/>
                  </a:schemeClr>
                </a:solidFill>
                <a:latin typeface="Arial" panose="020B0604020202020204" pitchFamily="34" charset="0"/>
                <a:ea typeface="微软雅黑" panose="020B0503020204020204" charset="-122"/>
                <a:sym typeface="+mn-ea"/>
              </a:rPr>
              <a:t>win.addEventListener('resize', refreshRem);</a:t>
            </a:r>
            <a:endParaRPr lang="en-US" altLang="zh-CN" dirty="0">
              <a:solidFill>
                <a:schemeClr val="tx1">
                  <a:lumMod val="75000"/>
                  <a:lumOff val="25000"/>
                </a:schemeClr>
              </a:solidFill>
              <a:latin typeface="Arial" panose="020B0604020202020204" pitchFamily="34" charset="0"/>
              <a:ea typeface="微软雅黑" panose="020B0503020204020204" charset="-122"/>
              <a:sym typeface="+mn-ea"/>
            </a:endParaRPr>
          </a:p>
          <a:p>
            <a:pPr indent="0" fontAlgn="ctr">
              <a:spcBef>
                <a:spcPts val="1000"/>
              </a:spcBef>
              <a:spcAft>
                <a:spcPts val="0"/>
              </a:spcAft>
              <a:buClr>
                <a:schemeClr val="accent2"/>
              </a:buClr>
              <a:buSzPct val="100000"/>
              <a:buFont typeface="WPS-Bullets" pitchFamily="2" charset="0"/>
              <a:buNone/>
            </a:pPr>
            <a:endParaRPr lang="en-US" altLang="zh-CN" sz="1600" spc="150" dirty="0">
              <a:solidFill>
                <a:schemeClr val="tx1">
                  <a:lumMod val="75000"/>
                  <a:lumOff val="25000"/>
                </a:schemeClr>
              </a:solidFill>
              <a:latin typeface="Arial" panose="020B0604020202020204" pitchFamily="34" charset="0"/>
              <a:ea typeface="微软雅黑" panose="020B0503020204020204" charset="-122"/>
              <a:sym typeface="+mn-ea"/>
            </a:endParaRPr>
          </a:p>
        </p:txBody>
      </p:sp>
      <p:sp>
        <p:nvSpPr>
          <p:cNvPr id="14" name="任意多边形: 形状 13"/>
          <p:cNvSpPr>
            <a:spLocks noChangeAspect="1"/>
          </p:cNvSpPr>
          <p:nvPr>
            <p:custDataLst>
              <p:tags r:id="rId70"/>
            </p:custDataLst>
          </p:nvPr>
        </p:nvSpPr>
        <p:spPr>
          <a:xfrm rot="10800000">
            <a:off x="11371580" y="776605"/>
            <a:ext cx="281940" cy="572135"/>
          </a:xfrm>
          <a:custGeom>
            <a:avLst/>
            <a:gdLst>
              <a:gd name="connsiteX0" fmla="*/ 207995 w 295275"/>
              <a:gd name="connsiteY0" fmla="*/ 0 h 599179"/>
              <a:gd name="connsiteX1" fmla="*/ 218480 w 295275"/>
              <a:gd name="connsiteY1" fmla="*/ 17025 h 599179"/>
              <a:gd name="connsiteX2" fmla="*/ 263922 w 295275"/>
              <a:gd name="connsiteY2" fmla="*/ 59952 h 599179"/>
              <a:gd name="connsiteX3" fmla="*/ 275967 w 295275"/>
              <a:gd name="connsiteY3" fmla="*/ 66705 h 599179"/>
              <a:gd name="connsiteX4" fmla="*/ 258864 w 295275"/>
              <a:gd name="connsiteY4" fmla="*/ 77309 h 599179"/>
              <a:gd name="connsiteX5" fmla="*/ 164932 w 295275"/>
              <a:gd name="connsiteY5" fmla="*/ 229252 h 599179"/>
              <a:gd name="connsiteX6" fmla="*/ 145322 w 295275"/>
              <a:gd name="connsiteY6" fmla="*/ 303904 h 599179"/>
              <a:gd name="connsiteX7" fmla="*/ 295275 w 295275"/>
              <a:gd name="connsiteY7" fmla="*/ 303904 h 599179"/>
              <a:gd name="connsiteX8" fmla="*/ 295275 w 295275"/>
              <a:gd name="connsiteY8" fmla="*/ 599179 h 599179"/>
              <a:gd name="connsiteX9" fmla="*/ 0 w 295275"/>
              <a:gd name="connsiteY9" fmla="*/ 599179 h 599179"/>
              <a:gd name="connsiteX10" fmla="*/ 0 w 295275"/>
              <a:gd name="connsiteY10" fmla="*/ 303904 h 599179"/>
              <a:gd name="connsiteX11" fmla="*/ 5952 w 295275"/>
              <a:gd name="connsiteY11" fmla="*/ 269304 h 599179"/>
              <a:gd name="connsiteX12" fmla="*/ 204540 w 295275"/>
              <a:gd name="connsiteY12" fmla="*/ 547 h 599179"/>
              <a:gd name="connsiteX0-1" fmla="*/ 207995 w 295275"/>
              <a:gd name="connsiteY0-2" fmla="*/ 0 h 599179"/>
              <a:gd name="connsiteX1-3" fmla="*/ 218480 w 295275"/>
              <a:gd name="connsiteY1-4" fmla="*/ 17025 h 599179"/>
              <a:gd name="connsiteX2-5" fmla="*/ 263922 w 295275"/>
              <a:gd name="connsiteY2-6" fmla="*/ 59952 h 599179"/>
              <a:gd name="connsiteX3-7" fmla="*/ 275967 w 295275"/>
              <a:gd name="connsiteY3-8" fmla="*/ 66705 h 599179"/>
              <a:gd name="connsiteX4-9" fmla="*/ 258864 w 295275"/>
              <a:gd name="connsiteY4-10" fmla="*/ 77309 h 599179"/>
              <a:gd name="connsiteX5-11" fmla="*/ 164932 w 295275"/>
              <a:gd name="connsiteY5-12" fmla="*/ 229252 h 599179"/>
              <a:gd name="connsiteX6-13" fmla="*/ 152376 w 295275"/>
              <a:gd name="connsiteY6-14" fmla="*/ 303904 h 599179"/>
              <a:gd name="connsiteX7-15" fmla="*/ 295275 w 295275"/>
              <a:gd name="connsiteY7-16" fmla="*/ 303904 h 599179"/>
              <a:gd name="connsiteX8-17" fmla="*/ 295275 w 295275"/>
              <a:gd name="connsiteY8-18" fmla="*/ 599179 h 599179"/>
              <a:gd name="connsiteX9-19" fmla="*/ 0 w 295275"/>
              <a:gd name="connsiteY9-20" fmla="*/ 599179 h 599179"/>
              <a:gd name="connsiteX10-21" fmla="*/ 0 w 295275"/>
              <a:gd name="connsiteY10-22" fmla="*/ 303904 h 599179"/>
              <a:gd name="connsiteX11-23" fmla="*/ 5952 w 295275"/>
              <a:gd name="connsiteY11-24" fmla="*/ 269304 h 599179"/>
              <a:gd name="connsiteX12-25" fmla="*/ 204540 w 295275"/>
              <a:gd name="connsiteY12-26" fmla="*/ 547 h 599179"/>
              <a:gd name="connsiteX13" fmla="*/ 207995 w 295275"/>
              <a:gd name="connsiteY13" fmla="*/ 0 h 599179"/>
              <a:gd name="connsiteX0-27" fmla="*/ 207995 w 295275"/>
              <a:gd name="connsiteY0-28" fmla="*/ 0 h 599179"/>
              <a:gd name="connsiteX1-29" fmla="*/ 218480 w 295275"/>
              <a:gd name="connsiteY1-30" fmla="*/ 17025 h 599179"/>
              <a:gd name="connsiteX2-31" fmla="*/ 263922 w 295275"/>
              <a:gd name="connsiteY2-32" fmla="*/ 59952 h 599179"/>
              <a:gd name="connsiteX3-33" fmla="*/ 275967 w 295275"/>
              <a:gd name="connsiteY3-34" fmla="*/ 66705 h 599179"/>
              <a:gd name="connsiteX4-35" fmla="*/ 258864 w 295275"/>
              <a:gd name="connsiteY4-36" fmla="*/ 77309 h 599179"/>
              <a:gd name="connsiteX5-37" fmla="*/ 164932 w 295275"/>
              <a:gd name="connsiteY5-38" fmla="*/ 229252 h 599179"/>
              <a:gd name="connsiteX6-39" fmla="*/ 152376 w 295275"/>
              <a:gd name="connsiteY6-40" fmla="*/ 303904 h 599179"/>
              <a:gd name="connsiteX7-41" fmla="*/ 295275 w 295275"/>
              <a:gd name="connsiteY7-42" fmla="*/ 303904 h 599179"/>
              <a:gd name="connsiteX8-43" fmla="*/ 295275 w 295275"/>
              <a:gd name="connsiteY8-44" fmla="*/ 599179 h 599179"/>
              <a:gd name="connsiteX9-45" fmla="*/ 0 w 295275"/>
              <a:gd name="connsiteY9-46" fmla="*/ 599179 h 599179"/>
              <a:gd name="connsiteX10-47" fmla="*/ 0 w 295275"/>
              <a:gd name="connsiteY10-48" fmla="*/ 303904 h 599179"/>
              <a:gd name="connsiteX11-49" fmla="*/ 5952 w 295275"/>
              <a:gd name="connsiteY11-50" fmla="*/ 269304 h 599179"/>
              <a:gd name="connsiteX12-51" fmla="*/ 204540 w 295275"/>
              <a:gd name="connsiteY12-52" fmla="*/ 547 h 599179"/>
              <a:gd name="connsiteX13-53" fmla="*/ 207995 w 295275"/>
              <a:gd name="connsiteY13-54" fmla="*/ 0 h 599179"/>
              <a:gd name="connsiteX0-55" fmla="*/ 207995 w 295275"/>
              <a:gd name="connsiteY0-56" fmla="*/ 0 h 599179"/>
              <a:gd name="connsiteX1-57" fmla="*/ 218480 w 295275"/>
              <a:gd name="connsiteY1-58" fmla="*/ 17025 h 599179"/>
              <a:gd name="connsiteX2-59" fmla="*/ 263922 w 295275"/>
              <a:gd name="connsiteY2-60" fmla="*/ 59952 h 599179"/>
              <a:gd name="connsiteX3-61" fmla="*/ 275967 w 295275"/>
              <a:gd name="connsiteY3-62" fmla="*/ 66705 h 599179"/>
              <a:gd name="connsiteX4-63" fmla="*/ 258864 w 295275"/>
              <a:gd name="connsiteY4-64" fmla="*/ 77309 h 599179"/>
              <a:gd name="connsiteX5-65" fmla="*/ 164932 w 295275"/>
              <a:gd name="connsiteY5-66" fmla="*/ 229252 h 599179"/>
              <a:gd name="connsiteX6-67" fmla="*/ 152376 w 295275"/>
              <a:gd name="connsiteY6-68" fmla="*/ 303904 h 599179"/>
              <a:gd name="connsiteX7-69" fmla="*/ 295275 w 295275"/>
              <a:gd name="connsiteY7-70" fmla="*/ 303904 h 599179"/>
              <a:gd name="connsiteX8-71" fmla="*/ 295275 w 295275"/>
              <a:gd name="connsiteY8-72" fmla="*/ 599179 h 599179"/>
              <a:gd name="connsiteX9-73" fmla="*/ 0 w 295275"/>
              <a:gd name="connsiteY9-74" fmla="*/ 599179 h 599179"/>
              <a:gd name="connsiteX10-75" fmla="*/ 0 w 295275"/>
              <a:gd name="connsiteY10-76" fmla="*/ 303904 h 599179"/>
              <a:gd name="connsiteX11-77" fmla="*/ 5952 w 295275"/>
              <a:gd name="connsiteY11-78" fmla="*/ 269304 h 599179"/>
              <a:gd name="connsiteX12-79" fmla="*/ 204540 w 295275"/>
              <a:gd name="connsiteY12-80" fmla="*/ 547 h 599179"/>
              <a:gd name="connsiteX13-81" fmla="*/ 207995 w 295275"/>
              <a:gd name="connsiteY13-82" fmla="*/ 0 h 599179"/>
              <a:gd name="connsiteX0-83" fmla="*/ 207995 w 295275"/>
              <a:gd name="connsiteY0-84" fmla="*/ 0 h 599179"/>
              <a:gd name="connsiteX1-85" fmla="*/ 218480 w 295275"/>
              <a:gd name="connsiteY1-86" fmla="*/ 17025 h 599179"/>
              <a:gd name="connsiteX2-87" fmla="*/ 263922 w 295275"/>
              <a:gd name="connsiteY2-88" fmla="*/ 59952 h 599179"/>
              <a:gd name="connsiteX3-89" fmla="*/ 275967 w 295275"/>
              <a:gd name="connsiteY3-90" fmla="*/ 66705 h 599179"/>
              <a:gd name="connsiteX4-91" fmla="*/ 258864 w 295275"/>
              <a:gd name="connsiteY4-92" fmla="*/ 77309 h 599179"/>
              <a:gd name="connsiteX5-93" fmla="*/ 152376 w 295275"/>
              <a:gd name="connsiteY5-94" fmla="*/ 303904 h 599179"/>
              <a:gd name="connsiteX6-95" fmla="*/ 295275 w 295275"/>
              <a:gd name="connsiteY6-96" fmla="*/ 303904 h 599179"/>
              <a:gd name="connsiteX7-97" fmla="*/ 295275 w 295275"/>
              <a:gd name="connsiteY7-98" fmla="*/ 599179 h 599179"/>
              <a:gd name="connsiteX8-99" fmla="*/ 0 w 295275"/>
              <a:gd name="connsiteY8-100" fmla="*/ 599179 h 599179"/>
              <a:gd name="connsiteX9-101" fmla="*/ 0 w 295275"/>
              <a:gd name="connsiteY9-102" fmla="*/ 303904 h 599179"/>
              <a:gd name="connsiteX10-103" fmla="*/ 5952 w 295275"/>
              <a:gd name="connsiteY10-104" fmla="*/ 269304 h 599179"/>
              <a:gd name="connsiteX11-105" fmla="*/ 204540 w 295275"/>
              <a:gd name="connsiteY11-106" fmla="*/ 547 h 599179"/>
              <a:gd name="connsiteX12-107" fmla="*/ 207995 w 295275"/>
              <a:gd name="connsiteY12-108" fmla="*/ 0 h 599179"/>
              <a:gd name="connsiteX0-109" fmla="*/ 207995 w 295275"/>
              <a:gd name="connsiteY0-110" fmla="*/ 0 h 599179"/>
              <a:gd name="connsiteX1-111" fmla="*/ 218480 w 295275"/>
              <a:gd name="connsiteY1-112" fmla="*/ 17025 h 599179"/>
              <a:gd name="connsiteX2-113" fmla="*/ 263922 w 295275"/>
              <a:gd name="connsiteY2-114" fmla="*/ 59952 h 599179"/>
              <a:gd name="connsiteX3-115" fmla="*/ 275967 w 295275"/>
              <a:gd name="connsiteY3-116" fmla="*/ 66705 h 599179"/>
              <a:gd name="connsiteX4-117" fmla="*/ 258864 w 295275"/>
              <a:gd name="connsiteY4-118" fmla="*/ 77309 h 599179"/>
              <a:gd name="connsiteX5-119" fmla="*/ 152376 w 295275"/>
              <a:gd name="connsiteY5-120" fmla="*/ 303904 h 599179"/>
              <a:gd name="connsiteX6-121" fmla="*/ 295275 w 295275"/>
              <a:gd name="connsiteY6-122" fmla="*/ 303904 h 599179"/>
              <a:gd name="connsiteX7-123" fmla="*/ 295275 w 295275"/>
              <a:gd name="connsiteY7-124" fmla="*/ 599179 h 599179"/>
              <a:gd name="connsiteX8-125" fmla="*/ 0 w 295275"/>
              <a:gd name="connsiteY8-126" fmla="*/ 599179 h 599179"/>
              <a:gd name="connsiteX9-127" fmla="*/ 0 w 295275"/>
              <a:gd name="connsiteY9-128" fmla="*/ 303904 h 599179"/>
              <a:gd name="connsiteX10-129" fmla="*/ 5952 w 295275"/>
              <a:gd name="connsiteY10-130" fmla="*/ 269304 h 599179"/>
              <a:gd name="connsiteX11-131" fmla="*/ 204540 w 295275"/>
              <a:gd name="connsiteY11-132" fmla="*/ 547 h 599179"/>
              <a:gd name="connsiteX12-133" fmla="*/ 207995 w 295275"/>
              <a:gd name="connsiteY12-134" fmla="*/ 0 h 599179"/>
              <a:gd name="connsiteX0-135" fmla="*/ 207995 w 295275"/>
              <a:gd name="connsiteY0-136" fmla="*/ 0 h 599179"/>
              <a:gd name="connsiteX1-137" fmla="*/ 218480 w 295275"/>
              <a:gd name="connsiteY1-138" fmla="*/ 17025 h 599179"/>
              <a:gd name="connsiteX2-139" fmla="*/ 263922 w 295275"/>
              <a:gd name="connsiteY2-140" fmla="*/ 59952 h 599179"/>
              <a:gd name="connsiteX3-141" fmla="*/ 275967 w 295275"/>
              <a:gd name="connsiteY3-142" fmla="*/ 66705 h 599179"/>
              <a:gd name="connsiteX4-143" fmla="*/ 152376 w 295275"/>
              <a:gd name="connsiteY4-144" fmla="*/ 303904 h 599179"/>
              <a:gd name="connsiteX5-145" fmla="*/ 295275 w 295275"/>
              <a:gd name="connsiteY5-146" fmla="*/ 303904 h 599179"/>
              <a:gd name="connsiteX6-147" fmla="*/ 295275 w 295275"/>
              <a:gd name="connsiteY6-148" fmla="*/ 599179 h 599179"/>
              <a:gd name="connsiteX7-149" fmla="*/ 0 w 295275"/>
              <a:gd name="connsiteY7-150" fmla="*/ 599179 h 599179"/>
              <a:gd name="connsiteX8-151" fmla="*/ 0 w 295275"/>
              <a:gd name="connsiteY8-152" fmla="*/ 303904 h 599179"/>
              <a:gd name="connsiteX9-153" fmla="*/ 5952 w 295275"/>
              <a:gd name="connsiteY9-154" fmla="*/ 269304 h 599179"/>
              <a:gd name="connsiteX10-155" fmla="*/ 204540 w 295275"/>
              <a:gd name="connsiteY10-156" fmla="*/ 547 h 599179"/>
              <a:gd name="connsiteX11-157" fmla="*/ 207995 w 295275"/>
              <a:gd name="connsiteY11-158" fmla="*/ 0 h 599179"/>
              <a:gd name="connsiteX0-159" fmla="*/ 207995 w 295275"/>
              <a:gd name="connsiteY0-160" fmla="*/ 0 h 599179"/>
              <a:gd name="connsiteX1-161" fmla="*/ 218480 w 295275"/>
              <a:gd name="connsiteY1-162" fmla="*/ 17025 h 599179"/>
              <a:gd name="connsiteX2-163" fmla="*/ 263922 w 295275"/>
              <a:gd name="connsiteY2-164" fmla="*/ 59952 h 599179"/>
              <a:gd name="connsiteX3-165" fmla="*/ 275967 w 295275"/>
              <a:gd name="connsiteY3-166" fmla="*/ 66705 h 599179"/>
              <a:gd name="connsiteX4-167" fmla="*/ 152376 w 295275"/>
              <a:gd name="connsiteY4-168" fmla="*/ 303904 h 599179"/>
              <a:gd name="connsiteX5-169" fmla="*/ 295275 w 295275"/>
              <a:gd name="connsiteY5-170" fmla="*/ 303904 h 599179"/>
              <a:gd name="connsiteX6-171" fmla="*/ 295275 w 295275"/>
              <a:gd name="connsiteY6-172" fmla="*/ 599179 h 599179"/>
              <a:gd name="connsiteX7-173" fmla="*/ 0 w 295275"/>
              <a:gd name="connsiteY7-174" fmla="*/ 599179 h 599179"/>
              <a:gd name="connsiteX8-175" fmla="*/ 0 w 295275"/>
              <a:gd name="connsiteY8-176" fmla="*/ 303904 h 599179"/>
              <a:gd name="connsiteX9-177" fmla="*/ 5952 w 295275"/>
              <a:gd name="connsiteY9-178" fmla="*/ 269304 h 599179"/>
              <a:gd name="connsiteX10-179" fmla="*/ 204540 w 295275"/>
              <a:gd name="connsiteY10-180" fmla="*/ 547 h 599179"/>
              <a:gd name="connsiteX11-181" fmla="*/ 207995 w 295275"/>
              <a:gd name="connsiteY11-182" fmla="*/ 0 h 599179"/>
              <a:gd name="connsiteX0-183" fmla="*/ 207995 w 295275"/>
              <a:gd name="connsiteY0-184" fmla="*/ 0 h 599179"/>
              <a:gd name="connsiteX1-185" fmla="*/ 218480 w 295275"/>
              <a:gd name="connsiteY1-186" fmla="*/ 17025 h 599179"/>
              <a:gd name="connsiteX2-187" fmla="*/ 263922 w 295275"/>
              <a:gd name="connsiteY2-188" fmla="*/ 59952 h 599179"/>
              <a:gd name="connsiteX3-189" fmla="*/ 275967 w 295275"/>
              <a:gd name="connsiteY3-190" fmla="*/ 66705 h 599179"/>
              <a:gd name="connsiteX4-191" fmla="*/ 152376 w 295275"/>
              <a:gd name="connsiteY4-192" fmla="*/ 303904 h 599179"/>
              <a:gd name="connsiteX5-193" fmla="*/ 295275 w 295275"/>
              <a:gd name="connsiteY5-194" fmla="*/ 303904 h 599179"/>
              <a:gd name="connsiteX6-195" fmla="*/ 295275 w 295275"/>
              <a:gd name="connsiteY6-196" fmla="*/ 599179 h 599179"/>
              <a:gd name="connsiteX7-197" fmla="*/ 0 w 295275"/>
              <a:gd name="connsiteY7-198" fmla="*/ 599179 h 599179"/>
              <a:gd name="connsiteX8-199" fmla="*/ 0 w 295275"/>
              <a:gd name="connsiteY8-200" fmla="*/ 303904 h 599179"/>
              <a:gd name="connsiteX9-201" fmla="*/ 5952 w 295275"/>
              <a:gd name="connsiteY9-202" fmla="*/ 269304 h 599179"/>
              <a:gd name="connsiteX10-203" fmla="*/ 204540 w 295275"/>
              <a:gd name="connsiteY10-204" fmla="*/ 547 h 599179"/>
              <a:gd name="connsiteX11-205" fmla="*/ 207995 w 295275"/>
              <a:gd name="connsiteY11-206" fmla="*/ 0 h 599179"/>
              <a:gd name="connsiteX0-207" fmla="*/ 207995 w 295275"/>
              <a:gd name="connsiteY0-208" fmla="*/ 0 h 599179"/>
              <a:gd name="connsiteX1-209" fmla="*/ 218480 w 295275"/>
              <a:gd name="connsiteY1-210" fmla="*/ 17025 h 599179"/>
              <a:gd name="connsiteX2-211" fmla="*/ 263922 w 295275"/>
              <a:gd name="connsiteY2-212" fmla="*/ 59952 h 599179"/>
              <a:gd name="connsiteX3-213" fmla="*/ 275967 w 295275"/>
              <a:gd name="connsiteY3-214" fmla="*/ 66705 h 599179"/>
              <a:gd name="connsiteX4-215" fmla="*/ 152376 w 295275"/>
              <a:gd name="connsiteY4-216" fmla="*/ 303904 h 599179"/>
              <a:gd name="connsiteX5-217" fmla="*/ 295275 w 295275"/>
              <a:gd name="connsiteY5-218" fmla="*/ 303904 h 599179"/>
              <a:gd name="connsiteX6-219" fmla="*/ 295275 w 295275"/>
              <a:gd name="connsiteY6-220" fmla="*/ 599179 h 599179"/>
              <a:gd name="connsiteX7-221" fmla="*/ 0 w 295275"/>
              <a:gd name="connsiteY7-222" fmla="*/ 599179 h 599179"/>
              <a:gd name="connsiteX8-223" fmla="*/ 0 w 295275"/>
              <a:gd name="connsiteY8-224" fmla="*/ 303904 h 599179"/>
              <a:gd name="connsiteX9-225" fmla="*/ 5952 w 295275"/>
              <a:gd name="connsiteY9-226" fmla="*/ 269304 h 599179"/>
              <a:gd name="connsiteX10-227" fmla="*/ 204540 w 295275"/>
              <a:gd name="connsiteY10-228" fmla="*/ 547 h 599179"/>
              <a:gd name="connsiteX11-229" fmla="*/ 207995 w 295275"/>
              <a:gd name="connsiteY11-230" fmla="*/ 0 h 599179"/>
              <a:gd name="connsiteX0-231" fmla="*/ 207995 w 295275"/>
              <a:gd name="connsiteY0-232" fmla="*/ 0 h 599179"/>
              <a:gd name="connsiteX1-233" fmla="*/ 218480 w 295275"/>
              <a:gd name="connsiteY1-234" fmla="*/ 17025 h 599179"/>
              <a:gd name="connsiteX2-235" fmla="*/ 263922 w 295275"/>
              <a:gd name="connsiteY2-236" fmla="*/ 59952 h 599179"/>
              <a:gd name="connsiteX3-237" fmla="*/ 275967 w 295275"/>
              <a:gd name="connsiteY3-238" fmla="*/ 66705 h 599179"/>
              <a:gd name="connsiteX4-239" fmla="*/ 152376 w 295275"/>
              <a:gd name="connsiteY4-240" fmla="*/ 303904 h 599179"/>
              <a:gd name="connsiteX5-241" fmla="*/ 295275 w 295275"/>
              <a:gd name="connsiteY5-242" fmla="*/ 303904 h 599179"/>
              <a:gd name="connsiteX6-243" fmla="*/ 295275 w 295275"/>
              <a:gd name="connsiteY6-244" fmla="*/ 599179 h 599179"/>
              <a:gd name="connsiteX7-245" fmla="*/ 0 w 295275"/>
              <a:gd name="connsiteY7-246" fmla="*/ 599179 h 599179"/>
              <a:gd name="connsiteX8-247" fmla="*/ 0 w 295275"/>
              <a:gd name="connsiteY8-248" fmla="*/ 303904 h 599179"/>
              <a:gd name="connsiteX9-249" fmla="*/ 204540 w 295275"/>
              <a:gd name="connsiteY9-250" fmla="*/ 547 h 599179"/>
              <a:gd name="connsiteX10-251" fmla="*/ 207995 w 295275"/>
              <a:gd name="connsiteY10-252" fmla="*/ 0 h 599179"/>
              <a:gd name="connsiteX0-253" fmla="*/ 207995 w 295275"/>
              <a:gd name="connsiteY0-254" fmla="*/ 0 h 599179"/>
              <a:gd name="connsiteX1-255" fmla="*/ 218480 w 295275"/>
              <a:gd name="connsiteY1-256" fmla="*/ 17025 h 599179"/>
              <a:gd name="connsiteX2-257" fmla="*/ 263922 w 295275"/>
              <a:gd name="connsiteY2-258" fmla="*/ 59952 h 599179"/>
              <a:gd name="connsiteX3-259" fmla="*/ 275967 w 295275"/>
              <a:gd name="connsiteY3-260" fmla="*/ 66705 h 599179"/>
              <a:gd name="connsiteX4-261" fmla="*/ 152376 w 295275"/>
              <a:gd name="connsiteY4-262" fmla="*/ 303904 h 599179"/>
              <a:gd name="connsiteX5-263" fmla="*/ 295275 w 295275"/>
              <a:gd name="connsiteY5-264" fmla="*/ 303904 h 599179"/>
              <a:gd name="connsiteX6-265" fmla="*/ 295275 w 295275"/>
              <a:gd name="connsiteY6-266" fmla="*/ 599179 h 599179"/>
              <a:gd name="connsiteX7-267" fmla="*/ 0 w 295275"/>
              <a:gd name="connsiteY7-268" fmla="*/ 599179 h 599179"/>
              <a:gd name="connsiteX8-269" fmla="*/ 0 w 295275"/>
              <a:gd name="connsiteY8-270" fmla="*/ 303904 h 599179"/>
              <a:gd name="connsiteX9-271" fmla="*/ 204540 w 295275"/>
              <a:gd name="connsiteY9-272" fmla="*/ 547 h 599179"/>
              <a:gd name="connsiteX10-273" fmla="*/ 207995 w 295275"/>
              <a:gd name="connsiteY10-274" fmla="*/ 0 h 599179"/>
              <a:gd name="connsiteX0-275" fmla="*/ 207995 w 295275"/>
              <a:gd name="connsiteY0-276" fmla="*/ 0 h 599179"/>
              <a:gd name="connsiteX1-277" fmla="*/ 218480 w 295275"/>
              <a:gd name="connsiteY1-278" fmla="*/ 17025 h 599179"/>
              <a:gd name="connsiteX2-279" fmla="*/ 263922 w 295275"/>
              <a:gd name="connsiteY2-280" fmla="*/ 59952 h 599179"/>
              <a:gd name="connsiteX3-281" fmla="*/ 275967 w 295275"/>
              <a:gd name="connsiteY3-282" fmla="*/ 66705 h 599179"/>
              <a:gd name="connsiteX4-283" fmla="*/ 152376 w 295275"/>
              <a:gd name="connsiteY4-284" fmla="*/ 303904 h 599179"/>
              <a:gd name="connsiteX5-285" fmla="*/ 295275 w 295275"/>
              <a:gd name="connsiteY5-286" fmla="*/ 303904 h 599179"/>
              <a:gd name="connsiteX6-287" fmla="*/ 295275 w 295275"/>
              <a:gd name="connsiteY6-288" fmla="*/ 599179 h 599179"/>
              <a:gd name="connsiteX7-289" fmla="*/ 0 w 295275"/>
              <a:gd name="connsiteY7-290" fmla="*/ 599179 h 599179"/>
              <a:gd name="connsiteX8-291" fmla="*/ 0 w 295275"/>
              <a:gd name="connsiteY8-292" fmla="*/ 303904 h 599179"/>
              <a:gd name="connsiteX9-293" fmla="*/ 207995 w 295275"/>
              <a:gd name="connsiteY9-294" fmla="*/ 0 h 599179"/>
              <a:gd name="connsiteX0-295" fmla="*/ 207995 w 295275"/>
              <a:gd name="connsiteY0-296" fmla="*/ 0 h 599179"/>
              <a:gd name="connsiteX1-297" fmla="*/ 218480 w 295275"/>
              <a:gd name="connsiteY1-298" fmla="*/ 17025 h 599179"/>
              <a:gd name="connsiteX2-299" fmla="*/ 263922 w 295275"/>
              <a:gd name="connsiteY2-300" fmla="*/ 59952 h 599179"/>
              <a:gd name="connsiteX3-301" fmla="*/ 275967 w 295275"/>
              <a:gd name="connsiteY3-302" fmla="*/ 66705 h 599179"/>
              <a:gd name="connsiteX4-303" fmla="*/ 152376 w 295275"/>
              <a:gd name="connsiteY4-304" fmla="*/ 303904 h 599179"/>
              <a:gd name="connsiteX5-305" fmla="*/ 295275 w 295275"/>
              <a:gd name="connsiteY5-306" fmla="*/ 303904 h 599179"/>
              <a:gd name="connsiteX6-307" fmla="*/ 295275 w 295275"/>
              <a:gd name="connsiteY6-308" fmla="*/ 599179 h 599179"/>
              <a:gd name="connsiteX7-309" fmla="*/ 0 w 295275"/>
              <a:gd name="connsiteY7-310" fmla="*/ 599179 h 599179"/>
              <a:gd name="connsiteX8-311" fmla="*/ 0 w 295275"/>
              <a:gd name="connsiteY8-312" fmla="*/ 303904 h 599179"/>
              <a:gd name="connsiteX9-313" fmla="*/ 207995 w 295275"/>
              <a:gd name="connsiteY9-314" fmla="*/ 0 h 599179"/>
              <a:gd name="connsiteX0-315" fmla="*/ 207995 w 295275"/>
              <a:gd name="connsiteY0-316" fmla="*/ 0 h 599179"/>
              <a:gd name="connsiteX1-317" fmla="*/ 218480 w 295275"/>
              <a:gd name="connsiteY1-318" fmla="*/ 17025 h 599179"/>
              <a:gd name="connsiteX2-319" fmla="*/ 263922 w 295275"/>
              <a:gd name="connsiteY2-320" fmla="*/ 59952 h 599179"/>
              <a:gd name="connsiteX3-321" fmla="*/ 275967 w 295275"/>
              <a:gd name="connsiteY3-322" fmla="*/ 66705 h 599179"/>
              <a:gd name="connsiteX4-323" fmla="*/ 152376 w 295275"/>
              <a:gd name="connsiteY4-324" fmla="*/ 303904 h 599179"/>
              <a:gd name="connsiteX5-325" fmla="*/ 295275 w 295275"/>
              <a:gd name="connsiteY5-326" fmla="*/ 303904 h 599179"/>
              <a:gd name="connsiteX6-327" fmla="*/ 295275 w 295275"/>
              <a:gd name="connsiteY6-328" fmla="*/ 599179 h 599179"/>
              <a:gd name="connsiteX7-329" fmla="*/ 0 w 295275"/>
              <a:gd name="connsiteY7-330" fmla="*/ 599179 h 599179"/>
              <a:gd name="connsiteX8-331" fmla="*/ 0 w 295275"/>
              <a:gd name="connsiteY8-332" fmla="*/ 303904 h 599179"/>
              <a:gd name="connsiteX9-333" fmla="*/ 207995 w 295275"/>
              <a:gd name="connsiteY9-334" fmla="*/ 0 h 599179"/>
              <a:gd name="connsiteX0-335" fmla="*/ 207995 w 295275"/>
              <a:gd name="connsiteY0-336" fmla="*/ 0 h 599179"/>
              <a:gd name="connsiteX1-337" fmla="*/ 218480 w 295275"/>
              <a:gd name="connsiteY1-338" fmla="*/ 17025 h 599179"/>
              <a:gd name="connsiteX2-339" fmla="*/ 263922 w 295275"/>
              <a:gd name="connsiteY2-340" fmla="*/ 59952 h 599179"/>
              <a:gd name="connsiteX3-341" fmla="*/ 275967 w 295275"/>
              <a:gd name="connsiteY3-342" fmla="*/ 66705 h 599179"/>
              <a:gd name="connsiteX4-343" fmla="*/ 152376 w 295275"/>
              <a:gd name="connsiteY4-344" fmla="*/ 303904 h 599179"/>
              <a:gd name="connsiteX5-345" fmla="*/ 295275 w 295275"/>
              <a:gd name="connsiteY5-346" fmla="*/ 303904 h 599179"/>
              <a:gd name="connsiteX6-347" fmla="*/ 295275 w 295275"/>
              <a:gd name="connsiteY6-348" fmla="*/ 599179 h 599179"/>
              <a:gd name="connsiteX7-349" fmla="*/ 0 w 295275"/>
              <a:gd name="connsiteY7-350" fmla="*/ 599179 h 599179"/>
              <a:gd name="connsiteX8-351" fmla="*/ 0 w 295275"/>
              <a:gd name="connsiteY8-352" fmla="*/ 303904 h 599179"/>
              <a:gd name="connsiteX9-353" fmla="*/ 207995 w 295275"/>
              <a:gd name="connsiteY9-354" fmla="*/ 0 h 599179"/>
              <a:gd name="connsiteX0-355" fmla="*/ 207995 w 295275"/>
              <a:gd name="connsiteY0-356" fmla="*/ 0 h 599179"/>
              <a:gd name="connsiteX1-357" fmla="*/ 218480 w 295275"/>
              <a:gd name="connsiteY1-358" fmla="*/ 17025 h 599179"/>
              <a:gd name="connsiteX2-359" fmla="*/ 263922 w 295275"/>
              <a:gd name="connsiteY2-360" fmla="*/ 59952 h 599179"/>
              <a:gd name="connsiteX3-361" fmla="*/ 275967 w 295275"/>
              <a:gd name="connsiteY3-362" fmla="*/ 66705 h 599179"/>
              <a:gd name="connsiteX4-363" fmla="*/ 152376 w 295275"/>
              <a:gd name="connsiteY4-364" fmla="*/ 303904 h 599179"/>
              <a:gd name="connsiteX5-365" fmla="*/ 295275 w 295275"/>
              <a:gd name="connsiteY5-366" fmla="*/ 303904 h 599179"/>
              <a:gd name="connsiteX6-367" fmla="*/ 295275 w 295275"/>
              <a:gd name="connsiteY6-368" fmla="*/ 599179 h 599179"/>
              <a:gd name="connsiteX7-369" fmla="*/ 0 w 295275"/>
              <a:gd name="connsiteY7-370" fmla="*/ 599179 h 599179"/>
              <a:gd name="connsiteX8-371" fmla="*/ 0 w 295275"/>
              <a:gd name="connsiteY8-372" fmla="*/ 303904 h 599179"/>
              <a:gd name="connsiteX9-373" fmla="*/ 207995 w 295275"/>
              <a:gd name="connsiteY9-374" fmla="*/ 0 h 599179"/>
              <a:gd name="connsiteX0-375" fmla="*/ 207995 w 295275"/>
              <a:gd name="connsiteY0-376" fmla="*/ 0 h 599179"/>
              <a:gd name="connsiteX1-377" fmla="*/ 218480 w 295275"/>
              <a:gd name="connsiteY1-378" fmla="*/ 17025 h 599179"/>
              <a:gd name="connsiteX2-379" fmla="*/ 263922 w 295275"/>
              <a:gd name="connsiteY2-380" fmla="*/ 59952 h 599179"/>
              <a:gd name="connsiteX3-381" fmla="*/ 275967 w 295275"/>
              <a:gd name="connsiteY3-382" fmla="*/ 66705 h 599179"/>
              <a:gd name="connsiteX4-383" fmla="*/ 152376 w 295275"/>
              <a:gd name="connsiteY4-384" fmla="*/ 303904 h 599179"/>
              <a:gd name="connsiteX5-385" fmla="*/ 295275 w 295275"/>
              <a:gd name="connsiteY5-386" fmla="*/ 303904 h 599179"/>
              <a:gd name="connsiteX6-387" fmla="*/ 295275 w 295275"/>
              <a:gd name="connsiteY6-388" fmla="*/ 599179 h 599179"/>
              <a:gd name="connsiteX7-389" fmla="*/ 0 w 295275"/>
              <a:gd name="connsiteY7-390" fmla="*/ 599179 h 599179"/>
              <a:gd name="connsiteX8-391" fmla="*/ 0 w 295275"/>
              <a:gd name="connsiteY8-392" fmla="*/ 303904 h 599179"/>
              <a:gd name="connsiteX9-393" fmla="*/ 207995 w 295275"/>
              <a:gd name="connsiteY9-394" fmla="*/ 0 h 599179"/>
              <a:gd name="connsiteX0-395" fmla="*/ 207995 w 295275"/>
              <a:gd name="connsiteY0-396" fmla="*/ 0 h 599179"/>
              <a:gd name="connsiteX1-397" fmla="*/ 218480 w 295275"/>
              <a:gd name="connsiteY1-398" fmla="*/ 17025 h 599179"/>
              <a:gd name="connsiteX2-399" fmla="*/ 263922 w 295275"/>
              <a:gd name="connsiteY2-400" fmla="*/ 59952 h 599179"/>
              <a:gd name="connsiteX3-401" fmla="*/ 275967 w 295275"/>
              <a:gd name="connsiteY3-402" fmla="*/ 66705 h 599179"/>
              <a:gd name="connsiteX4-403" fmla="*/ 152376 w 295275"/>
              <a:gd name="connsiteY4-404" fmla="*/ 303904 h 599179"/>
              <a:gd name="connsiteX5-405" fmla="*/ 295275 w 295275"/>
              <a:gd name="connsiteY5-406" fmla="*/ 303904 h 599179"/>
              <a:gd name="connsiteX6-407" fmla="*/ 295275 w 295275"/>
              <a:gd name="connsiteY6-408" fmla="*/ 599179 h 599179"/>
              <a:gd name="connsiteX7-409" fmla="*/ 0 w 295275"/>
              <a:gd name="connsiteY7-410" fmla="*/ 599179 h 599179"/>
              <a:gd name="connsiteX8-411" fmla="*/ 0 w 295275"/>
              <a:gd name="connsiteY8-412" fmla="*/ 303904 h 599179"/>
              <a:gd name="connsiteX9-413" fmla="*/ 207995 w 295275"/>
              <a:gd name="connsiteY9-414" fmla="*/ 0 h 599179"/>
              <a:gd name="connsiteX0-415" fmla="*/ 207995 w 295275"/>
              <a:gd name="connsiteY0-416" fmla="*/ 0 h 599179"/>
              <a:gd name="connsiteX1-417" fmla="*/ 218480 w 295275"/>
              <a:gd name="connsiteY1-418" fmla="*/ 17025 h 599179"/>
              <a:gd name="connsiteX2-419" fmla="*/ 263922 w 295275"/>
              <a:gd name="connsiteY2-420" fmla="*/ 59952 h 599179"/>
              <a:gd name="connsiteX3-421" fmla="*/ 275967 w 295275"/>
              <a:gd name="connsiteY3-422" fmla="*/ 66705 h 599179"/>
              <a:gd name="connsiteX4-423" fmla="*/ 152376 w 295275"/>
              <a:gd name="connsiteY4-424" fmla="*/ 303904 h 599179"/>
              <a:gd name="connsiteX5-425" fmla="*/ 295275 w 295275"/>
              <a:gd name="connsiteY5-426" fmla="*/ 303904 h 599179"/>
              <a:gd name="connsiteX6-427" fmla="*/ 295275 w 295275"/>
              <a:gd name="connsiteY6-428" fmla="*/ 599179 h 599179"/>
              <a:gd name="connsiteX7-429" fmla="*/ 0 w 295275"/>
              <a:gd name="connsiteY7-430" fmla="*/ 599179 h 599179"/>
              <a:gd name="connsiteX8-431" fmla="*/ 0 w 295275"/>
              <a:gd name="connsiteY8-432" fmla="*/ 334942 h 599179"/>
              <a:gd name="connsiteX9-433" fmla="*/ 207995 w 295275"/>
              <a:gd name="connsiteY9-434" fmla="*/ 0 h 599179"/>
              <a:gd name="connsiteX0-435" fmla="*/ 207995 w 295275"/>
              <a:gd name="connsiteY0-436" fmla="*/ 0 h 599179"/>
              <a:gd name="connsiteX1-437" fmla="*/ 218480 w 295275"/>
              <a:gd name="connsiteY1-438" fmla="*/ 17025 h 599179"/>
              <a:gd name="connsiteX2-439" fmla="*/ 263922 w 295275"/>
              <a:gd name="connsiteY2-440" fmla="*/ 59952 h 599179"/>
              <a:gd name="connsiteX3-441" fmla="*/ 275967 w 295275"/>
              <a:gd name="connsiteY3-442" fmla="*/ 66705 h 599179"/>
              <a:gd name="connsiteX4-443" fmla="*/ 152376 w 295275"/>
              <a:gd name="connsiteY4-444" fmla="*/ 303904 h 599179"/>
              <a:gd name="connsiteX5-445" fmla="*/ 295275 w 295275"/>
              <a:gd name="connsiteY5-446" fmla="*/ 303904 h 599179"/>
              <a:gd name="connsiteX6-447" fmla="*/ 295275 w 295275"/>
              <a:gd name="connsiteY6-448" fmla="*/ 599179 h 599179"/>
              <a:gd name="connsiteX7-449" fmla="*/ 0 w 295275"/>
              <a:gd name="connsiteY7-450" fmla="*/ 599179 h 599179"/>
              <a:gd name="connsiteX8-451" fmla="*/ 0 w 295275"/>
              <a:gd name="connsiteY8-452" fmla="*/ 334942 h 599179"/>
              <a:gd name="connsiteX9-453" fmla="*/ 207995 w 295275"/>
              <a:gd name="connsiteY9-454" fmla="*/ 0 h 599179"/>
              <a:gd name="connsiteX0-455" fmla="*/ 207995 w 295275"/>
              <a:gd name="connsiteY0-456" fmla="*/ 0 h 599179"/>
              <a:gd name="connsiteX1-457" fmla="*/ 218480 w 295275"/>
              <a:gd name="connsiteY1-458" fmla="*/ 17025 h 599179"/>
              <a:gd name="connsiteX2-459" fmla="*/ 263922 w 295275"/>
              <a:gd name="connsiteY2-460" fmla="*/ 59952 h 599179"/>
              <a:gd name="connsiteX3-461" fmla="*/ 275967 w 295275"/>
              <a:gd name="connsiteY3-462" fmla="*/ 66705 h 599179"/>
              <a:gd name="connsiteX4-463" fmla="*/ 152376 w 295275"/>
              <a:gd name="connsiteY4-464" fmla="*/ 303904 h 599179"/>
              <a:gd name="connsiteX5-465" fmla="*/ 295275 w 295275"/>
              <a:gd name="connsiteY5-466" fmla="*/ 303904 h 599179"/>
              <a:gd name="connsiteX6-467" fmla="*/ 295275 w 295275"/>
              <a:gd name="connsiteY6-468" fmla="*/ 599179 h 599179"/>
              <a:gd name="connsiteX7-469" fmla="*/ 0 w 295275"/>
              <a:gd name="connsiteY7-470" fmla="*/ 599179 h 599179"/>
              <a:gd name="connsiteX8-471" fmla="*/ 0 w 295275"/>
              <a:gd name="connsiteY8-472" fmla="*/ 334942 h 599179"/>
              <a:gd name="connsiteX9-473" fmla="*/ 207995 w 295275"/>
              <a:gd name="connsiteY9-474" fmla="*/ 0 h 599179"/>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Lst>
            <a:rect l="l" t="t" r="r" b="b"/>
            <a:pathLst>
              <a:path w="295275" h="599179">
                <a:moveTo>
                  <a:pt x="207995" y="0"/>
                </a:moveTo>
                <a:lnTo>
                  <a:pt x="218480" y="17025"/>
                </a:lnTo>
                <a:cubicBezTo>
                  <a:pt x="231034" y="32364"/>
                  <a:pt x="246314" y="46986"/>
                  <a:pt x="263922" y="59952"/>
                </a:cubicBezTo>
                <a:lnTo>
                  <a:pt x="275967" y="66705"/>
                </a:lnTo>
                <a:cubicBezTo>
                  <a:pt x="274744" y="66607"/>
                  <a:pt x="166924" y="148026"/>
                  <a:pt x="152376" y="303904"/>
                </a:cubicBezTo>
                <a:lnTo>
                  <a:pt x="295275" y="303904"/>
                </a:lnTo>
                <a:lnTo>
                  <a:pt x="295275" y="599179"/>
                </a:lnTo>
                <a:lnTo>
                  <a:pt x="0" y="599179"/>
                </a:lnTo>
                <a:lnTo>
                  <a:pt x="0" y="334942"/>
                </a:lnTo>
                <a:cubicBezTo>
                  <a:pt x="10368" y="113589"/>
                  <a:pt x="207637" y="2353"/>
                  <a:pt x="207995" y="0"/>
                </a:cubicBezTo>
                <a:close/>
              </a:path>
            </a:pathLst>
          </a:custGeom>
          <a:solidFill>
            <a:schemeClr val="bg1">
              <a:lumMod val="85000"/>
            </a:schemeClr>
          </a:solidFill>
          <a:ln w="31750" cap="rnd">
            <a:no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dirty="0"/>
          </a:p>
        </p:txBody>
      </p:sp>
      <p:sp>
        <p:nvSpPr>
          <p:cNvPr id="15" name="任意多边形: 形状 14"/>
          <p:cNvSpPr>
            <a:spLocks noChangeAspect="1"/>
          </p:cNvSpPr>
          <p:nvPr>
            <p:custDataLst>
              <p:tags r:id="rId71"/>
            </p:custDataLst>
          </p:nvPr>
        </p:nvSpPr>
        <p:spPr>
          <a:xfrm rot="10800000">
            <a:off x="10997565" y="776605"/>
            <a:ext cx="281940" cy="572135"/>
          </a:xfrm>
          <a:custGeom>
            <a:avLst/>
            <a:gdLst>
              <a:gd name="connsiteX0" fmla="*/ 207995 w 295275"/>
              <a:gd name="connsiteY0" fmla="*/ 0 h 599179"/>
              <a:gd name="connsiteX1" fmla="*/ 218480 w 295275"/>
              <a:gd name="connsiteY1" fmla="*/ 17025 h 599179"/>
              <a:gd name="connsiteX2" fmla="*/ 263922 w 295275"/>
              <a:gd name="connsiteY2" fmla="*/ 59952 h 599179"/>
              <a:gd name="connsiteX3" fmla="*/ 275967 w 295275"/>
              <a:gd name="connsiteY3" fmla="*/ 66705 h 599179"/>
              <a:gd name="connsiteX4" fmla="*/ 258864 w 295275"/>
              <a:gd name="connsiteY4" fmla="*/ 77309 h 599179"/>
              <a:gd name="connsiteX5" fmla="*/ 164932 w 295275"/>
              <a:gd name="connsiteY5" fmla="*/ 229252 h 599179"/>
              <a:gd name="connsiteX6" fmla="*/ 145322 w 295275"/>
              <a:gd name="connsiteY6" fmla="*/ 303904 h 599179"/>
              <a:gd name="connsiteX7" fmla="*/ 295275 w 295275"/>
              <a:gd name="connsiteY7" fmla="*/ 303904 h 599179"/>
              <a:gd name="connsiteX8" fmla="*/ 295275 w 295275"/>
              <a:gd name="connsiteY8" fmla="*/ 599179 h 599179"/>
              <a:gd name="connsiteX9" fmla="*/ 0 w 295275"/>
              <a:gd name="connsiteY9" fmla="*/ 599179 h 599179"/>
              <a:gd name="connsiteX10" fmla="*/ 0 w 295275"/>
              <a:gd name="connsiteY10" fmla="*/ 303904 h 599179"/>
              <a:gd name="connsiteX11" fmla="*/ 5952 w 295275"/>
              <a:gd name="connsiteY11" fmla="*/ 269304 h 599179"/>
              <a:gd name="connsiteX12" fmla="*/ 204540 w 295275"/>
              <a:gd name="connsiteY12" fmla="*/ 547 h 599179"/>
              <a:gd name="connsiteX0-1" fmla="*/ 207995 w 295275"/>
              <a:gd name="connsiteY0-2" fmla="*/ 0 h 599179"/>
              <a:gd name="connsiteX1-3" fmla="*/ 218480 w 295275"/>
              <a:gd name="connsiteY1-4" fmla="*/ 17025 h 599179"/>
              <a:gd name="connsiteX2-5" fmla="*/ 263922 w 295275"/>
              <a:gd name="connsiteY2-6" fmla="*/ 59952 h 599179"/>
              <a:gd name="connsiteX3-7" fmla="*/ 275967 w 295275"/>
              <a:gd name="connsiteY3-8" fmla="*/ 66705 h 599179"/>
              <a:gd name="connsiteX4-9" fmla="*/ 258864 w 295275"/>
              <a:gd name="connsiteY4-10" fmla="*/ 77309 h 599179"/>
              <a:gd name="connsiteX5-11" fmla="*/ 164932 w 295275"/>
              <a:gd name="connsiteY5-12" fmla="*/ 229252 h 599179"/>
              <a:gd name="connsiteX6-13" fmla="*/ 152376 w 295275"/>
              <a:gd name="connsiteY6-14" fmla="*/ 303904 h 599179"/>
              <a:gd name="connsiteX7-15" fmla="*/ 295275 w 295275"/>
              <a:gd name="connsiteY7-16" fmla="*/ 303904 h 599179"/>
              <a:gd name="connsiteX8-17" fmla="*/ 295275 w 295275"/>
              <a:gd name="connsiteY8-18" fmla="*/ 599179 h 599179"/>
              <a:gd name="connsiteX9-19" fmla="*/ 0 w 295275"/>
              <a:gd name="connsiteY9-20" fmla="*/ 599179 h 599179"/>
              <a:gd name="connsiteX10-21" fmla="*/ 0 w 295275"/>
              <a:gd name="connsiteY10-22" fmla="*/ 303904 h 599179"/>
              <a:gd name="connsiteX11-23" fmla="*/ 5952 w 295275"/>
              <a:gd name="connsiteY11-24" fmla="*/ 269304 h 599179"/>
              <a:gd name="connsiteX12-25" fmla="*/ 204540 w 295275"/>
              <a:gd name="connsiteY12-26" fmla="*/ 547 h 599179"/>
              <a:gd name="connsiteX13" fmla="*/ 207995 w 295275"/>
              <a:gd name="connsiteY13" fmla="*/ 0 h 599179"/>
              <a:gd name="connsiteX0-27" fmla="*/ 207995 w 295275"/>
              <a:gd name="connsiteY0-28" fmla="*/ 0 h 599179"/>
              <a:gd name="connsiteX1-29" fmla="*/ 218480 w 295275"/>
              <a:gd name="connsiteY1-30" fmla="*/ 17025 h 599179"/>
              <a:gd name="connsiteX2-31" fmla="*/ 263922 w 295275"/>
              <a:gd name="connsiteY2-32" fmla="*/ 59952 h 599179"/>
              <a:gd name="connsiteX3-33" fmla="*/ 275967 w 295275"/>
              <a:gd name="connsiteY3-34" fmla="*/ 66705 h 599179"/>
              <a:gd name="connsiteX4-35" fmla="*/ 258864 w 295275"/>
              <a:gd name="connsiteY4-36" fmla="*/ 77309 h 599179"/>
              <a:gd name="connsiteX5-37" fmla="*/ 164932 w 295275"/>
              <a:gd name="connsiteY5-38" fmla="*/ 229252 h 599179"/>
              <a:gd name="connsiteX6-39" fmla="*/ 152376 w 295275"/>
              <a:gd name="connsiteY6-40" fmla="*/ 303904 h 599179"/>
              <a:gd name="connsiteX7-41" fmla="*/ 295275 w 295275"/>
              <a:gd name="connsiteY7-42" fmla="*/ 303904 h 599179"/>
              <a:gd name="connsiteX8-43" fmla="*/ 295275 w 295275"/>
              <a:gd name="connsiteY8-44" fmla="*/ 599179 h 599179"/>
              <a:gd name="connsiteX9-45" fmla="*/ 0 w 295275"/>
              <a:gd name="connsiteY9-46" fmla="*/ 599179 h 599179"/>
              <a:gd name="connsiteX10-47" fmla="*/ 0 w 295275"/>
              <a:gd name="connsiteY10-48" fmla="*/ 303904 h 599179"/>
              <a:gd name="connsiteX11-49" fmla="*/ 5952 w 295275"/>
              <a:gd name="connsiteY11-50" fmla="*/ 269304 h 599179"/>
              <a:gd name="connsiteX12-51" fmla="*/ 204540 w 295275"/>
              <a:gd name="connsiteY12-52" fmla="*/ 547 h 599179"/>
              <a:gd name="connsiteX13-53" fmla="*/ 207995 w 295275"/>
              <a:gd name="connsiteY13-54" fmla="*/ 0 h 599179"/>
              <a:gd name="connsiteX0-55" fmla="*/ 207995 w 295275"/>
              <a:gd name="connsiteY0-56" fmla="*/ 0 h 599179"/>
              <a:gd name="connsiteX1-57" fmla="*/ 218480 w 295275"/>
              <a:gd name="connsiteY1-58" fmla="*/ 17025 h 599179"/>
              <a:gd name="connsiteX2-59" fmla="*/ 263922 w 295275"/>
              <a:gd name="connsiteY2-60" fmla="*/ 59952 h 599179"/>
              <a:gd name="connsiteX3-61" fmla="*/ 275967 w 295275"/>
              <a:gd name="connsiteY3-62" fmla="*/ 66705 h 599179"/>
              <a:gd name="connsiteX4-63" fmla="*/ 258864 w 295275"/>
              <a:gd name="connsiteY4-64" fmla="*/ 77309 h 599179"/>
              <a:gd name="connsiteX5-65" fmla="*/ 164932 w 295275"/>
              <a:gd name="connsiteY5-66" fmla="*/ 229252 h 599179"/>
              <a:gd name="connsiteX6-67" fmla="*/ 152376 w 295275"/>
              <a:gd name="connsiteY6-68" fmla="*/ 303904 h 599179"/>
              <a:gd name="connsiteX7-69" fmla="*/ 295275 w 295275"/>
              <a:gd name="connsiteY7-70" fmla="*/ 303904 h 599179"/>
              <a:gd name="connsiteX8-71" fmla="*/ 295275 w 295275"/>
              <a:gd name="connsiteY8-72" fmla="*/ 599179 h 599179"/>
              <a:gd name="connsiteX9-73" fmla="*/ 0 w 295275"/>
              <a:gd name="connsiteY9-74" fmla="*/ 599179 h 599179"/>
              <a:gd name="connsiteX10-75" fmla="*/ 0 w 295275"/>
              <a:gd name="connsiteY10-76" fmla="*/ 303904 h 599179"/>
              <a:gd name="connsiteX11-77" fmla="*/ 5952 w 295275"/>
              <a:gd name="connsiteY11-78" fmla="*/ 269304 h 599179"/>
              <a:gd name="connsiteX12-79" fmla="*/ 204540 w 295275"/>
              <a:gd name="connsiteY12-80" fmla="*/ 547 h 599179"/>
              <a:gd name="connsiteX13-81" fmla="*/ 207995 w 295275"/>
              <a:gd name="connsiteY13-82" fmla="*/ 0 h 599179"/>
              <a:gd name="connsiteX0-83" fmla="*/ 207995 w 295275"/>
              <a:gd name="connsiteY0-84" fmla="*/ 0 h 599179"/>
              <a:gd name="connsiteX1-85" fmla="*/ 218480 w 295275"/>
              <a:gd name="connsiteY1-86" fmla="*/ 17025 h 599179"/>
              <a:gd name="connsiteX2-87" fmla="*/ 263922 w 295275"/>
              <a:gd name="connsiteY2-88" fmla="*/ 59952 h 599179"/>
              <a:gd name="connsiteX3-89" fmla="*/ 275967 w 295275"/>
              <a:gd name="connsiteY3-90" fmla="*/ 66705 h 599179"/>
              <a:gd name="connsiteX4-91" fmla="*/ 258864 w 295275"/>
              <a:gd name="connsiteY4-92" fmla="*/ 77309 h 599179"/>
              <a:gd name="connsiteX5-93" fmla="*/ 152376 w 295275"/>
              <a:gd name="connsiteY5-94" fmla="*/ 303904 h 599179"/>
              <a:gd name="connsiteX6-95" fmla="*/ 295275 w 295275"/>
              <a:gd name="connsiteY6-96" fmla="*/ 303904 h 599179"/>
              <a:gd name="connsiteX7-97" fmla="*/ 295275 w 295275"/>
              <a:gd name="connsiteY7-98" fmla="*/ 599179 h 599179"/>
              <a:gd name="connsiteX8-99" fmla="*/ 0 w 295275"/>
              <a:gd name="connsiteY8-100" fmla="*/ 599179 h 599179"/>
              <a:gd name="connsiteX9-101" fmla="*/ 0 w 295275"/>
              <a:gd name="connsiteY9-102" fmla="*/ 303904 h 599179"/>
              <a:gd name="connsiteX10-103" fmla="*/ 5952 w 295275"/>
              <a:gd name="connsiteY10-104" fmla="*/ 269304 h 599179"/>
              <a:gd name="connsiteX11-105" fmla="*/ 204540 w 295275"/>
              <a:gd name="connsiteY11-106" fmla="*/ 547 h 599179"/>
              <a:gd name="connsiteX12-107" fmla="*/ 207995 w 295275"/>
              <a:gd name="connsiteY12-108" fmla="*/ 0 h 599179"/>
              <a:gd name="connsiteX0-109" fmla="*/ 207995 w 295275"/>
              <a:gd name="connsiteY0-110" fmla="*/ 0 h 599179"/>
              <a:gd name="connsiteX1-111" fmla="*/ 218480 w 295275"/>
              <a:gd name="connsiteY1-112" fmla="*/ 17025 h 599179"/>
              <a:gd name="connsiteX2-113" fmla="*/ 263922 w 295275"/>
              <a:gd name="connsiteY2-114" fmla="*/ 59952 h 599179"/>
              <a:gd name="connsiteX3-115" fmla="*/ 275967 w 295275"/>
              <a:gd name="connsiteY3-116" fmla="*/ 66705 h 599179"/>
              <a:gd name="connsiteX4-117" fmla="*/ 258864 w 295275"/>
              <a:gd name="connsiteY4-118" fmla="*/ 77309 h 599179"/>
              <a:gd name="connsiteX5-119" fmla="*/ 152376 w 295275"/>
              <a:gd name="connsiteY5-120" fmla="*/ 303904 h 599179"/>
              <a:gd name="connsiteX6-121" fmla="*/ 295275 w 295275"/>
              <a:gd name="connsiteY6-122" fmla="*/ 303904 h 599179"/>
              <a:gd name="connsiteX7-123" fmla="*/ 295275 w 295275"/>
              <a:gd name="connsiteY7-124" fmla="*/ 599179 h 599179"/>
              <a:gd name="connsiteX8-125" fmla="*/ 0 w 295275"/>
              <a:gd name="connsiteY8-126" fmla="*/ 599179 h 599179"/>
              <a:gd name="connsiteX9-127" fmla="*/ 0 w 295275"/>
              <a:gd name="connsiteY9-128" fmla="*/ 303904 h 599179"/>
              <a:gd name="connsiteX10-129" fmla="*/ 5952 w 295275"/>
              <a:gd name="connsiteY10-130" fmla="*/ 269304 h 599179"/>
              <a:gd name="connsiteX11-131" fmla="*/ 204540 w 295275"/>
              <a:gd name="connsiteY11-132" fmla="*/ 547 h 599179"/>
              <a:gd name="connsiteX12-133" fmla="*/ 207995 w 295275"/>
              <a:gd name="connsiteY12-134" fmla="*/ 0 h 599179"/>
              <a:gd name="connsiteX0-135" fmla="*/ 207995 w 295275"/>
              <a:gd name="connsiteY0-136" fmla="*/ 0 h 599179"/>
              <a:gd name="connsiteX1-137" fmla="*/ 218480 w 295275"/>
              <a:gd name="connsiteY1-138" fmla="*/ 17025 h 599179"/>
              <a:gd name="connsiteX2-139" fmla="*/ 263922 w 295275"/>
              <a:gd name="connsiteY2-140" fmla="*/ 59952 h 599179"/>
              <a:gd name="connsiteX3-141" fmla="*/ 275967 w 295275"/>
              <a:gd name="connsiteY3-142" fmla="*/ 66705 h 599179"/>
              <a:gd name="connsiteX4-143" fmla="*/ 152376 w 295275"/>
              <a:gd name="connsiteY4-144" fmla="*/ 303904 h 599179"/>
              <a:gd name="connsiteX5-145" fmla="*/ 295275 w 295275"/>
              <a:gd name="connsiteY5-146" fmla="*/ 303904 h 599179"/>
              <a:gd name="connsiteX6-147" fmla="*/ 295275 w 295275"/>
              <a:gd name="connsiteY6-148" fmla="*/ 599179 h 599179"/>
              <a:gd name="connsiteX7-149" fmla="*/ 0 w 295275"/>
              <a:gd name="connsiteY7-150" fmla="*/ 599179 h 599179"/>
              <a:gd name="connsiteX8-151" fmla="*/ 0 w 295275"/>
              <a:gd name="connsiteY8-152" fmla="*/ 303904 h 599179"/>
              <a:gd name="connsiteX9-153" fmla="*/ 5952 w 295275"/>
              <a:gd name="connsiteY9-154" fmla="*/ 269304 h 599179"/>
              <a:gd name="connsiteX10-155" fmla="*/ 204540 w 295275"/>
              <a:gd name="connsiteY10-156" fmla="*/ 547 h 599179"/>
              <a:gd name="connsiteX11-157" fmla="*/ 207995 w 295275"/>
              <a:gd name="connsiteY11-158" fmla="*/ 0 h 599179"/>
              <a:gd name="connsiteX0-159" fmla="*/ 207995 w 295275"/>
              <a:gd name="connsiteY0-160" fmla="*/ 0 h 599179"/>
              <a:gd name="connsiteX1-161" fmla="*/ 218480 w 295275"/>
              <a:gd name="connsiteY1-162" fmla="*/ 17025 h 599179"/>
              <a:gd name="connsiteX2-163" fmla="*/ 263922 w 295275"/>
              <a:gd name="connsiteY2-164" fmla="*/ 59952 h 599179"/>
              <a:gd name="connsiteX3-165" fmla="*/ 275967 w 295275"/>
              <a:gd name="connsiteY3-166" fmla="*/ 66705 h 599179"/>
              <a:gd name="connsiteX4-167" fmla="*/ 152376 w 295275"/>
              <a:gd name="connsiteY4-168" fmla="*/ 303904 h 599179"/>
              <a:gd name="connsiteX5-169" fmla="*/ 295275 w 295275"/>
              <a:gd name="connsiteY5-170" fmla="*/ 303904 h 599179"/>
              <a:gd name="connsiteX6-171" fmla="*/ 295275 w 295275"/>
              <a:gd name="connsiteY6-172" fmla="*/ 599179 h 599179"/>
              <a:gd name="connsiteX7-173" fmla="*/ 0 w 295275"/>
              <a:gd name="connsiteY7-174" fmla="*/ 599179 h 599179"/>
              <a:gd name="connsiteX8-175" fmla="*/ 0 w 295275"/>
              <a:gd name="connsiteY8-176" fmla="*/ 303904 h 599179"/>
              <a:gd name="connsiteX9-177" fmla="*/ 5952 w 295275"/>
              <a:gd name="connsiteY9-178" fmla="*/ 269304 h 599179"/>
              <a:gd name="connsiteX10-179" fmla="*/ 204540 w 295275"/>
              <a:gd name="connsiteY10-180" fmla="*/ 547 h 599179"/>
              <a:gd name="connsiteX11-181" fmla="*/ 207995 w 295275"/>
              <a:gd name="connsiteY11-182" fmla="*/ 0 h 599179"/>
              <a:gd name="connsiteX0-183" fmla="*/ 207995 w 295275"/>
              <a:gd name="connsiteY0-184" fmla="*/ 0 h 599179"/>
              <a:gd name="connsiteX1-185" fmla="*/ 218480 w 295275"/>
              <a:gd name="connsiteY1-186" fmla="*/ 17025 h 599179"/>
              <a:gd name="connsiteX2-187" fmla="*/ 263922 w 295275"/>
              <a:gd name="connsiteY2-188" fmla="*/ 59952 h 599179"/>
              <a:gd name="connsiteX3-189" fmla="*/ 275967 w 295275"/>
              <a:gd name="connsiteY3-190" fmla="*/ 66705 h 599179"/>
              <a:gd name="connsiteX4-191" fmla="*/ 152376 w 295275"/>
              <a:gd name="connsiteY4-192" fmla="*/ 303904 h 599179"/>
              <a:gd name="connsiteX5-193" fmla="*/ 295275 w 295275"/>
              <a:gd name="connsiteY5-194" fmla="*/ 303904 h 599179"/>
              <a:gd name="connsiteX6-195" fmla="*/ 295275 w 295275"/>
              <a:gd name="connsiteY6-196" fmla="*/ 599179 h 599179"/>
              <a:gd name="connsiteX7-197" fmla="*/ 0 w 295275"/>
              <a:gd name="connsiteY7-198" fmla="*/ 599179 h 599179"/>
              <a:gd name="connsiteX8-199" fmla="*/ 0 w 295275"/>
              <a:gd name="connsiteY8-200" fmla="*/ 303904 h 599179"/>
              <a:gd name="connsiteX9-201" fmla="*/ 5952 w 295275"/>
              <a:gd name="connsiteY9-202" fmla="*/ 269304 h 599179"/>
              <a:gd name="connsiteX10-203" fmla="*/ 204540 w 295275"/>
              <a:gd name="connsiteY10-204" fmla="*/ 547 h 599179"/>
              <a:gd name="connsiteX11-205" fmla="*/ 207995 w 295275"/>
              <a:gd name="connsiteY11-206" fmla="*/ 0 h 599179"/>
              <a:gd name="connsiteX0-207" fmla="*/ 207995 w 295275"/>
              <a:gd name="connsiteY0-208" fmla="*/ 0 h 599179"/>
              <a:gd name="connsiteX1-209" fmla="*/ 218480 w 295275"/>
              <a:gd name="connsiteY1-210" fmla="*/ 17025 h 599179"/>
              <a:gd name="connsiteX2-211" fmla="*/ 263922 w 295275"/>
              <a:gd name="connsiteY2-212" fmla="*/ 59952 h 599179"/>
              <a:gd name="connsiteX3-213" fmla="*/ 275967 w 295275"/>
              <a:gd name="connsiteY3-214" fmla="*/ 66705 h 599179"/>
              <a:gd name="connsiteX4-215" fmla="*/ 152376 w 295275"/>
              <a:gd name="connsiteY4-216" fmla="*/ 303904 h 599179"/>
              <a:gd name="connsiteX5-217" fmla="*/ 295275 w 295275"/>
              <a:gd name="connsiteY5-218" fmla="*/ 303904 h 599179"/>
              <a:gd name="connsiteX6-219" fmla="*/ 295275 w 295275"/>
              <a:gd name="connsiteY6-220" fmla="*/ 599179 h 599179"/>
              <a:gd name="connsiteX7-221" fmla="*/ 0 w 295275"/>
              <a:gd name="connsiteY7-222" fmla="*/ 599179 h 599179"/>
              <a:gd name="connsiteX8-223" fmla="*/ 0 w 295275"/>
              <a:gd name="connsiteY8-224" fmla="*/ 303904 h 599179"/>
              <a:gd name="connsiteX9-225" fmla="*/ 5952 w 295275"/>
              <a:gd name="connsiteY9-226" fmla="*/ 269304 h 599179"/>
              <a:gd name="connsiteX10-227" fmla="*/ 204540 w 295275"/>
              <a:gd name="connsiteY10-228" fmla="*/ 547 h 599179"/>
              <a:gd name="connsiteX11-229" fmla="*/ 207995 w 295275"/>
              <a:gd name="connsiteY11-230" fmla="*/ 0 h 599179"/>
              <a:gd name="connsiteX0-231" fmla="*/ 207995 w 295275"/>
              <a:gd name="connsiteY0-232" fmla="*/ 0 h 599179"/>
              <a:gd name="connsiteX1-233" fmla="*/ 218480 w 295275"/>
              <a:gd name="connsiteY1-234" fmla="*/ 17025 h 599179"/>
              <a:gd name="connsiteX2-235" fmla="*/ 263922 w 295275"/>
              <a:gd name="connsiteY2-236" fmla="*/ 59952 h 599179"/>
              <a:gd name="connsiteX3-237" fmla="*/ 275967 w 295275"/>
              <a:gd name="connsiteY3-238" fmla="*/ 66705 h 599179"/>
              <a:gd name="connsiteX4-239" fmla="*/ 152376 w 295275"/>
              <a:gd name="connsiteY4-240" fmla="*/ 303904 h 599179"/>
              <a:gd name="connsiteX5-241" fmla="*/ 295275 w 295275"/>
              <a:gd name="connsiteY5-242" fmla="*/ 303904 h 599179"/>
              <a:gd name="connsiteX6-243" fmla="*/ 295275 w 295275"/>
              <a:gd name="connsiteY6-244" fmla="*/ 599179 h 599179"/>
              <a:gd name="connsiteX7-245" fmla="*/ 0 w 295275"/>
              <a:gd name="connsiteY7-246" fmla="*/ 599179 h 599179"/>
              <a:gd name="connsiteX8-247" fmla="*/ 0 w 295275"/>
              <a:gd name="connsiteY8-248" fmla="*/ 303904 h 599179"/>
              <a:gd name="connsiteX9-249" fmla="*/ 204540 w 295275"/>
              <a:gd name="connsiteY9-250" fmla="*/ 547 h 599179"/>
              <a:gd name="connsiteX10-251" fmla="*/ 207995 w 295275"/>
              <a:gd name="connsiteY10-252" fmla="*/ 0 h 599179"/>
              <a:gd name="connsiteX0-253" fmla="*/ 207995 w 295275"/>
              <a:gd name="connsiteY0-254" fmla="*/ 0 h 599179"/>
              <a:gd name="connsiteX1-255" fmla="*/ 218480 w 295275"/>
              <a:gd name="connsiteY1-256" fmla="*/ 17025 h 599179"/>
              <a:gd name="connsiteX2-257" fmla="*/ 263922 w 295275"/>
              <a:gd name="connsiteY2-258" fmla="*/ 59952 h 599179"/>
              <a:gd name="connsiteX3-259" fmla="*/ 275967 w 295275"/>
              <a:gd name="connsiteY3-260" fmla="*/ 66705 h 599179"/>
              <a:gd name="connsiteX4-261" fmla="*/ 152376 w 295275"/>
              <a:gd name="connsiteY4-262" fmla="*/ 303904 h 599179"/>
              <a:gd name="connsiteX5-263" fmla="*/ 295275 w 295275"/>
              <a:gd name="connsiteY5-264" fmla="*/ 303904 h 599179"/>
              <a:gd name="connsiteX6-265" fmla="*/ 295275 w 295275"/>
              <a:gd name="connsiteY6-266" fmla="*/ 599179 h 599179"/>
              <a:gd name="connsiteX7-267" fmla="*/ 0 w 295275"/>
              <a:gd name="connsiteY7-268" fmla="*/ 599179 h 599179"/>
              <a:gd name="connsiteX8-269" fmla="*/ 0 w 295275"/>
              <a:gd name="connsiteY8-270" fmla="*/ 303904 h 599179"/>
              <a:gd name="connsiteX9-271" fmla="*/ 204540 w 295275"/>
              <a:gd name="connsiteY9-272" fmla="*/ 547 h 599179"/>
              <a:gd name="connsiteX10-273" fmla="*/ 207995 w 295275"/>
              <a:gd name="connsiteY10-274" fmla="*/ 0 h 599179"/>
              <a:gd name="connsiteX0-275" fmla="*/ 207995 w 295275"/>
              <a:gd name="connsiteY0-276" fmla="*/ 0 h 599179"/>
              <a:gd name="connsiteX1-277" fmla="*/ 218480 w 295275"/>
              <a:gd name="connsiteY1-278" fmla="*/ 17025 h 599179"/>
              <a:gd name="connsiteX2-279" fmla="*/ 263922 w 295275"/>
              <a:gd name="connsiteY2-280" fmla="*/ 59952 h 599179"/>
              <a:gd name="connsiteX3-281" fmla="*/ 275967 w 295275"/>
              <a:gd name="connsiteY3-282" fmla="*/ 66705 h 599179"/>
              <a:gd name="connsiteX4-283" fmla="*/ 152376 w 295275"/>
              <a:gd name="connsiteY4-284" fmla="*/ 303904 h 599179"/>
              <a:gd name="connsiteX5-285" fmla="*/ 295275 w 295275"/>
              <a:gd name="connsiteY5-286" fmla="*/ 303904 h 599179"/>
              <a:gd name="connsiteX6-287" fmla="*/ 295275 w 295275"/>
              <a:gd name="connsiteY6-288" fmla="*/ 599179 h 599179"/>
              <a:gd name="connsiteX7-289" fmla="*/ 0 w 295275"/>
              <a:gd name="connsiteY7-290" fmla="*/ 599179 h 599179"/>
              <a:gd name="connsiteX8-291" fmla="*/ 0 w 295275"/>
              <a:gd name="connsiteY8-292" fmla="*/ 303904 h 599179"/>
              <a:gd name="connsiteX9-293" fmla="*/ 207995 w 295275"/>
              <a:gd name="connsiteY9-294" fmla="*/ 0 h 599179"/>
              <a:gd name="connsiteX0-295" fmla="*/ 207995 w 295275"/>
              <a:gd name="connsiteY0-296" fmla="*/ 0 h 599179"/>
              <a:gd name="connsiteX1-297" fmla="*/ 218480 w 295275"/>
              <a:gd name="connsiteY1-298" fmla="*/ 17025 h 599179"/>
              <a:gd name="connsiteX2-299" fmla="*/ 263922 w 295275"/>
              <a:gd name="connsiteY2-300" fmla="*/ 59952 h 599179"/>
              <a:gd name="connsiteX3-301" fmla="*/ 275967 w 295275"/>
              <a:gd name="connsiteY3-302" fmla="*/ 66705 h 599179"/>
              <a:gd name="connsiteX4-303" fmla="*/ 152376 w 295275"/>
              <a:gd name="connsiteY4-304" fmla="*/ 303904 h 599179"/>
              <a:gd name="connsiteX5-305" fmla="*/ 295275 w 295275"/>
              <a:gd name="connsiteY5-306" fmla="*/ 303904 h 599179"/>
              <a:gd name="connsiteX6-307" fmla="*/ 295275 w 295275"/>
              <a:gd name="connsiteY6-308" fmla="*/ 599179 h 599179"/>
              <a:gd name="connsiteX7-309" fmla="*/ 0 w 295275"/>
              <a:gd name="connsiteY7-310" fmla="*/ 599179 h 599179"/>
              <a:gd name="connsiteX8-311" fmla="*/ 0 w 295275"/>
              <a:gd name="connsiteY8-312" fmla="*/ 303904 h 599179"/>
              <a:gd name="connsiteX9-313" fmla="*/ 207995 w 295275"/>
              <a:gd name="connsiteY9-314" fmla="*/ 0 h 599179"/>
              <a:gd name="connsiteX0-315" fmla="*/ 207995 w 295275"/>
              <a:gd name="connsiteY0-316" fmla="*/ 0 h 599179"/>
              <a:gd name="connsiteX1-317" fmla="*/ 218480 w 295275"/>
              <a:gd name="connsiteY1-318" fmla="*/ 17025 h 599179"/>
              <a:gd name="connsiteX2-319" fmla="*/ 263922 w 295275"/>
              <a:gd name="connsiteY2-320" fmla="*/ 59952 h 599179"/>
              <a:gd name="connsiteX3-321" fmla="*/ 275967 w 295275"/>
              <a:gd name="connsiteY3-322" fmla="*/ 66705 h 599179"/>
              <a:gd name="connsiteX4-323" fmla="*/ 152376 w 295275"/>
              <a:gd name="connsiteY4-324" fmla="*/ 303904 h 599179"/>
              <a:gd name="connsiteX5-325" fmla="*/ 295275 w 295275"/>
              <a:gd name="connsiteY5-326" fmla="*/ 303904 h 599179"/>
              <a:gd name="connsiteX6-327" fmla="*/ 295275 w 295275"/>
              <a:gd name="connsiteY6-328" fmla="*/ 599179 h 599179"/>
              <a:gd name="connsiteX7-329" fmla="*/ 0 w 295275"/>
              <a:gd name="connsiteY7-330" fmla="*/ 599179 h 599179"/>
              <a:gd name="connsiteX8-331" fmla="*/ 0 w 295275"/>
              <a:gd name="connsiteY8-332" fmla="*/ 303904 h 599179"/>
              <a:gd name="connsiteX9-333" fmla="*/ 207995 w 295275"/>
              <a:gd name="connsiteY9-334" fmla="*/ 0 h 599179"/>
              <a:gd name="connsiteX0-335" fmla="*/ 207995 w 295275"/>
              <a:gd name="connsiteY0-336" fmla="*/ 0 h 599179"/>
              <a:gd name="connsiteX1-337" fmla="*/ 218480 w 295275"/>
              <a:gd name="connsiteY1-338" fmla="*/ 17025 h 599179"/>
              <a:gd name="connsiteX2-339" fmla="*/ 263922 w 295275"/>
              <a:gd name="connsiteY2-340" fmla="*/ 59952 h 599179"/>
              <a:gd name="connsiteX3-341" fmla="*/ 275967 w 295275"/>
              <a:gd name="connsiteY3-342" fmla="*/ 66705 h 599179"/>
              <a:gd name="connsiteX4-343" fmla="*/ 152376 w 295275"/>
              <a:gd name="connsiteY4-344" fmla="*/ 303904 h 599179"/>
              <a:gd name="connsiteX5-345" fmla="*/ 295275 w 295275"/>
              <a:gd name="connsiteY5-346" fmla="*/ 303904 h 599179"/>
              <a:gd name="connsiteX6-347" fmla="*/ 295275 w 295275"/>
              <a:gd name="connsiteY6-348" fmla="*/ 599179 h 599179"/>
              <a:gd name="connsiteX7-349" fmla="*/ 0 w 295275"/>
              <a:gd name="connsiteY7-350" fmla="*/ 599179 h 599179"/>
              <a:gd name="connsiteX8-351" fmla="*/ 0 w 295275"/>
              <a:gd name="connsiteY8-352" fmla="*/ 303904 h 599179"/>
              <a:gd name="connsiteX9-353" fmla="*/ 207995 w 295275"/>
              <a:gd name="connsiteY9-354" fmla="*/ 0 h 599179"/>
              <a:gd name="connsiteX0-355" fmla="*/ 207995 w 295275"/>
              <a:gd name="connsiteY0-356" fmla="*/ 0 h 599179"/>
              <a:gd name="connsiteX1-357" fmla="*/ 218480 w 295275"/>
              <a:gd name="connsiteY1-358" fmla="*/ 17025 h 599179"/>
              <a:gd name="connsiteX2-359" fmla="*/ 263922 w 295275"/>
              <a:gd name="connsiteY2-360" fmla="*/ 59952 h 599179"/>
              <a:gd name="connsiteX3-361" fmla="*/ 275967 w 295275"/>
              <a:gd name="connsiteY3-362" fmla="*/ 66705 h 599179"/>
              <a:gd name="connsiteX4-363" fmla="*/ 152376 w 295275"/>
              <a:gd name="connsiteY4-364" fmla="*/ 303904 h 599179"/>
              <a:gd name="connsiteX5-365" fmla="*/ 295275 w 295275"/>
              <a:gd name="connsiteY5-366" fmla="*/ 303904 h 599179"/>
              <a:gd name="connsiteX6-367" fmla="*/ 295275 w 295275"/>
              <a:gd name="connsiteY6-368" fmla="*/ 599179 h 599179"/>
              <a:gd name="connsiteX7-369" fmla="*/ 0 w 295275"/>
              <a:gd name="connsiteY7-370" fmla="*/ 599179 h 599179"/>
              <a:gd name="connsiteX8-371" fmla="*/ 0 w 295275"/>
              <a:gd name="connsiteY8-372" fmla="*/ 303904 h 599179"/>
              <a:gd name="connsiteX9-373" fmla="*/ 207995 w 295275"/>
              <a:gd name="connsiteY9-374" fmla="*/ 0 h 599179"/>
              <a:gd name="connsiteX0-375" fmla="*/ 207995 w 295275"/>
              <a:gd name="connsiteY0-376" fmla="*/ 0 h 599179"/>
              <a:gd name="connsiteX1-377" fmla="*/ 218480 w 295275"/>
              <a:gd name="connsiteY1-378" fmla="*/ 17025 h 599179"/>
              <a:gd name="connsiteX2-379" fmla="*/ 263922 w 295275"/>
              <a:gd name="connsiteY2-380" fmla="*/ 59952 h 599179"/>
              <a:gd name="connsiteX3-381" fmla="*/ 275967 w 295275"/>
              <a:gd name="connsiteY3-382" fmla="*/ 66705 h 599179"/>
              <a:gd name="connsiteX4-383" fmla="*/ 152376 w 295275"/>
              <a:gd name="connsiteY4-384" fmla="*/ 303904 h 599179"/>
              <a:gd name="connsiteX5-385" fmla="*/ 295275 w 295275"/>
              <a:gd name="connsiteY5-386" fmla="*/ 303904 h 599179"/>
              <a:gd name="connsiteX6-387" fmla="*/ 295275 w 295275"/>
              <a:gd name="connsiteY6-388" fmla="*/ 599179 h 599179"/>
              <a:gd name="connsiteX7-389" fmla="*/ 0 w 295275"/>
              <a:gd name="connsiteY7-390" fmla="*/ 599179 h 599179"/>
              <a:gd name="connsiteX8-391" fmla="*/ 0 w 295275"/>
              <a:gd name="connsiteY8-392" fmla="*/ 303904 h 599179"/>
              <a:gd name="connsiteX9-393" fmla="*/ 207995 w 295275"/>
              <a:gd name="connsiteY9-394" fmla="*/ 0 h 599179"/>
              <a:gd name="connsiteX0-395" fmla="*/ 207995 w 295275"/>
              <a:gd name="connsiteY0-396" fmla="*/ 0 h 599179"/>
              <a:gd name="connsiteX1-397" fmla="*/ 218480 w 295275"/>
              <a:gd name="connsiteY1-398" fmla="*/ 17025 h 599179"/>
              <a:gd name="connsiteX2-399" fmla="*/ 263922 w 295275"/>
              <a:gd name="connsiteY2-400" fmla="*/ 59952 h 599179"/>
              <a:gd name="connsiteX3-401" fmla="*/ 275967 w 295275"/>
              <a:gd name="connsiteY3-402" fmla="*/ 66705 h 599179"/>
              <a:gd name="connsiteX4-403" fmla="*/ 152376 w 295275"/>
              <a:gd name="connsiteY4-404" fmla="*/ 303904 h 599179"/>
              <a:gd name="connsiteX5-405" fmla="*/ 295275 w 295275"/>
              <a:gd name="connsiteY5-406" fmla="*/ 303904 h 599179"/>
              <a:gd name="connsiteX6-407" fmla="*/ 295275 w 295275"/>
              <a:gd name="connsiteY6-408" fmla="*/ 599179 h 599179"/>
              <a:gd name="connsiteX7-409" fmla="*/ 0 w 295275"/>
              <a:gd name="connsiteY7-410" fmla="*/ 599179 h 599179"/>
              <a:gd name="connsiteX8-411" fmla="*/ 0 w 295275"/>
              <a:gd name="connsiteY8-412" fmla="*/ 303904 h 599179"/>
              <a:gd name="connsiteX9-413" fmla="*/ 207995 w 295275"/>
              <a:gd name="connsiteY9-414" fmla="*/ 0 h 599179"/>
              <a:gd name="connsiteX0-415" fmla="*/ 207995 w 295275"/>
              <a:gd name="connsiteY0-416" fmla="*/ 0 h 599179"/>
              <a:gd name="connsiteX1-417" fmla="*/ 218480 w 295275"/>
              <a:gd name="connsiteY1-418" fmla="*/ 17025 h 599179"/>
              <a:gd name="connsiteX2-419" fmla="*/ 263922 w 295275"/>
              <a:gd name="connsiteY2-420" fmla="*/ 59952 h 599179"/>
              <a:gd name="connsiteX3-421" fmla="*/ 275967 w 295275"/>
              <a:gd name="connsiteY3-422" fmla="*/ 66705 h 599179"/>
              <a:gd name="connsiteX4-423" fmla="*/ 152376 w 295275"/>
              <a:gd name="connsiteY4-424" fmla="*/ 303904 h 599179"/>
              <a:gd name="connsiteX5-425" fmla="*/ 295275 w 295275"/>
              <a:gd name="connsiteY5-426" fmla="*/ 303904 h 599179"/>
              <a:gd name="connsiteX6-427" fmla="*/ 295275 w 295275"/>
              <a:gd name="connsiteY6-428" fmla="*/ 599179 h 599179"/>
              <a:gd name="connsiteX7-429" fmla="*/ 0 w 295275"/>
              <a:gd name="connsiteY7-430" fmla="*/ 599179 h 599179"/>
              <a:gd name="connsiteX8-431" fmla="*/ 0 w 295275"/>
              <a:gd name="connsiteY8-432" fmla="*/ 334942 h 599179"/>
              <a:gd name="connsiteX9-433" fmla="*/ 207995 w 295275"/>
              <a:gd name="connsiteY9-434" fmla="*/ 0 h 599179"/>
              <a:gd name="connsiteX0-435" fmla="*/ 207995 w 295275"/>
              <a:gd name="connsiteY0-436" fmla="*/ 0 h 599179"/>
              <a:gd name="connsiteX1-437" fmla="*/ 218480 w 295275"/>
              <a:gd name="connsiteY1-438" fmla="*/ 17025 h 599179"/>
              <a:gd name="connsiteX2-439" fmla="*/ 263922 w 295275"/>
              <a:gd name="connsiteY2-440" fmla="*/ 59952 h 599179"/>
              <a:gd name="connsiteX3-441" fmla="*/ 275967 w 295275"/>
              <a:gd name="connsiteY3-442" fmla="*/ 66705 h 599179"/>
              <a:gd name="connsiteX4-443" fmla="*/ 152376 w 295275"/>
              <a:gd name="connsiteY4-444" fmla="*/ 303904 h 599179"/>
              <a:gd name="connsiteX5-445" fmla="*/ 295275 w 295275"/>
              <a:gd name="connsiteY5-446" fmla="*/ 303904 h 599179"/>
              <a:gd name="connsiteX6-447" fmla="*/ 295275 w 295275"/>
              <a:gd name="connsiteY6-448" fmla="*/ 599179 h 599179"/>
              <a:gd name="connsiteX7-449" fmla="*/ 0 w 295275"/>
              <a:gd name="connsiteY7-450" fmla="*/ 599179 h 599179"/>
              <a:gd name="connsiteX8-451" fmla="*/ 0 w 295275"/>
              <a:gd name="connsiteY8-452" fmla="*/ 334942 h 599179"/>
              <a:gd name="connsiteX9-453" fmla="*/ 207995 w 295275"/>
              <a:gd name="connsiteY9-454" fmla="*/ 0 h 599179"/>
              <a:gd name="connsiteX0-455" fmla="*/ 207995 w 295275"/>
              <a:gd name="connsiteY0-456" fmla="*/ 0 h 599179"/>
              <a:gd name="connsiteX1-457" fmla="*/ 218480 w 295275"/>
              <a:gd name="connsiteY1-458" fmla="*/ 17025 h 599179"/>
              <a:gd name="connsiteX2-459" fmla="*/ 263922 w 295275"/>
              <a:gd name="connsiteY2-460" fmla="*/ 59952 h 599179"/>
              <a:gd name="connsiteX3-461" fmla="*/ 275967 w 295275"/>
              <a:gd name="connsiteY3-462" fmla="*/ 66705 h 599179"/>
              <a:gd name="connsiteX4-463" fmla="*/ 152376 w 295275"/>
              <a:gd name="connsiteY4-464" fmla="*/ 303904 h 599179"/>
              <a:gd name="connsiteX5-465" fmla="*/ 295275 w 295275"/>
              <a:gd name="connsiteY5-466" fmla="*/ 303904 h 599179"/>
              <a:gd name="connsiteX6-467" fmla="*/ 295275 w 295275"/>
              <a:gd name="connsiteY6-468" fmla="*/ 599179 h 599179"/>
              <a:gd name="connsiteX7-469" fmla="*/ 0 w 295275"/>
              <a:gd name="connsiteY7-470" fmla="*/ 599179 h 599179"/>
              <a:gd name="connsiteX8-471" fmla="*/ 0 w 295275"/>
              <a:gd name="connsiteY8-472" fmla="*/ 334942 h 599179"/>
              <a:gd name="connsiteX9-473" fmla="*/ 207995 w 295275"/>
              <a:gd name="connsiteY9-474" fmla="*/ 0 h 599179"/>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Lst>
            <a:rect l="l" t="t" r="r" b="b"/>
            <a:pathLst>
              <a:path w="295275" h="599179">
                <a:moveTo>
                  <a:pt x="207995" y="0"/>
                </a:moveTo>
                <a:lnTo>
                  <a:pt x="218480" y="17025"/>
                </a:lnTo>
                <a:cubicBezTo>
                  <a:pt x="231034" y="32364"/>
                  <a:pt x="246314" y="46986"/>
                  <a:pt x="263922" y="59952"/>
                </a:cubicBezTo>
                <a:lnTo>
                  <a:pt x="275967" y="66705"/>
                </a:lnTo>
                <a:cubicBezTo>
                  <a:pt x="274744" y="66607"/>
                  <a:pt x="166924" y="148026"/>
                  <a:pt x="152376" y="303904"/>
                </a:cubicBezTo>
                <a:lnTo>
                  <a:pt x="295275" y="303904"/>
                </a:lnTo>
                <a:lnTo>
                  <a:pt x="295275" y="599179"/>
                </a:lnTo>
                <a:lnTo>
                  <a:pt x="0" y="599179"/>
                </a:lnTo>
                <a:lnTo>
                  <a:pt x="0" y="334942"/>
                </a:lnTo>
                <a:cubicBezTo>
                  <a:pt x="10368" y="113589"/>
                  <a:pt x="207637" y="2353"/>
                  <a:pt x="207995" y="0"/>
                </a:cubicBezTo>
                <a:close/>
              </a:path>
            </a:pathLst>
          </a:custGeom>
          <a:solidFill>
            <a:schemeClr val="bg1">
              <a:lumMod val="85000"/>
            </a:schemeClr>
          </a:solidFill>
          <a:ln w="31750" cap="rnd">
            <a:no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2" name="任意多边形: 形状 11"/>
          <p:cNvSpPr>
            <a:spLocks noChangeAspect="1"/>
          </p:cNvSpPr>
          <p:nvPr>
            <p:custDataLst>
              <p:tags r:id="rId72"/>
            </p:custDataLst>
          </p:nvPr>
        </p:nvSpPr>
        <p:spPr>
          <a:xfrm rot="10800000">
            <a:off x="11270615" y="676275"/>
            <a:ext cx="281940" cy="572135"/>
          </a:xfrm>
          <a:custGeom>
            <a:avLst/>
            <a:gdLst>
              <a:gd name="connsiteX0" fmla="*/ 207995 w 295275"/>
              <a:gd name="connsiteY0" fmla="*/ 0 h 599179"/>
              <a:gd name="connsiteX1" fmla="*/ 218480 w 295275"/>
              <a:gd name="connsiteY1" fmla="*/ 17025 h 599179"/>
              <a:gd name="connsiteX2" fmla="*/ 263922 w 295275"/>
              <a:gd name="connsiteY2" fmla="*/ 59952 h 599179"/>
              <a:gd name="connsiteX3" fmla="*/ 275967 w 295275"/>
              <a:gd name="connsiteY3" fmla="*/ 66705 h 599179"/>
              <a:gd name="connsiteX4" fmla="*/ 258864 w 295275"/>
              <a:gd name="connsiteY4" fmla="*/ 77309 h 599179"/>
              <a:gd name="connsiteX5" fmla="*/ 164932 w 295275"/>
              <a:gd name="connsiteY5" fmla="*/ 229252 h 599179"/>
              <a:gd name="connsiteX6" fmla="*/ 145322 w 295275"/>
              <a:gd name="connsiteY6" fmla="*/ 303904 h 599179"/>
              <a:gd name="connsiteX7" fmla="*/ 295275 w 295275"/>
              <a:gd name="connsiteY7" fmla="*/ 303904 h 599179"/>
              <a:gd name="connsiteX8" fmla="*/ 295275 w 295275"/>
              <a:gd name="connsiteY8" fmla="*/ 599179 h 599179"/>
              <a:gd name="connsiteX9" fmla="*/ 0 w 295275"/>
              <a:gd name="connsiteY9" fmla="*/ 599179 h 599179"/>
              <a:gd name="connsiteX10" fmla="*/ 0 w 295275"/>
              <a:gd name="connsiteY10" fmla="*/ 303904 h 599179"/>
              <a:gd name="connsiteX11" fmla="*/ 5952 w 295275"/>
              <a:gd name="connsiteY11" fmla="*/ 269304 h 599179"/>
              <a:gd name="connsiteX12" fmla="*/ 204540 w 295275"/>
              <a:gd name="connsiteY12" fmla="*/ 547 h 599179"/>
              <a:gd name="connsiteX0-1" fmla="*/ 207995 w 295275"/>
              <a:gd name="connsiteY0-2" fmla="*/ 0 h 599179"/>
              <a:gd name="connsiteX1-3" fmla="*/ 218480 w 295275"/>
              <a:gd name="connsiteY1-4" fmla="*/ 17025 h 599179"/>
              <a:gd name="connsiteX2-5" fmla="*/ 263922 w 295275"/>
              <a:gd name="connsiteY2-6" fmla="*/ 59952 h 599179"/>
              <a:gd name="connsiteX3-7" fmla="*/ 275967 w 295275"/>
              <a:gd name="connsiteY3-8" fmla="*/ 66705 h 599179"/>
              <a:gd name="connsiteX4-9" fmla="*/ 258864 w 295275"/>
              <a:gd name="connsiteY4-10" fmla="*/ 77309 h 599179"/>
              <a:gd name="connsiteX5-11" fmla="*/ 164932 w 295275"/>
              <a:gd name="connsiteY5-12" fmla="*/ 229252 h 599179"/>
              <a:gd name="connsiteX6-13" fmla="*/ 152376 w 295275"/>
              <a:gd name="connsiteY6-14" fmla="*/ 303904 h 599179"/>
              <a:gd name="connsiteX7-15" fmla="*/ 295275 w 295275"/>
              <a:gd name="connsiteY7-16" fmla="*/ 303904 h 599179"/>
              <a:gd name="connsiteX8-17" fmla="*/ 295275 w 295275"/>
              <a:gd name="connsiteY8-18" fmla="*/ 599179 h 599179"/>
              <a:gd name="connsiteX9-19" fmla="*/ 0 w 295275"/>
              <a:gd name="connsiteY9-20" fmla="*/ 599179 h 599179"/>
              <a:gd name="connsiteX10-21" fmla="*/ 0 w 295275"/>
              <a:gd name="connsiteY10-22" fmla="*/ 303904 h 599179"/>
              <a:gd name="connsiteX11-23" fmla="*/ 5952 w 295275"/>
              <a:gd name="connsiteY11-24" fmla="*/ 269304 h 599179"/>
              <a:gd name="connsiteX12-25" fmla="*/ 204540 w 295275"/>
              <a:gd name="connsiteY12-26" fmla="*/ 547 h 599179"/>
              <a:gd name="connsiteX13" fmla="*/ 207995 w 295275"/>
              <a:gd name="connsiteY13" fmla="*/ 0 h 599179"/>
              <a:gd name="connsiteX0-27" fmla="*/ 207995 w 295275"/>
              <a:gd name="connsiteY0-28" fmla="*/ 0 h 599179"/>
              <a:gd name="connsiteX1-29" fmla="*/ 218480 w 295275"/>
              <a:gd name="connsiteY1-30" fmla="*/ 17025 h 599179"/>
              <a:gd name="connsiteX2-31" fmla="*/ 263922 w 295275"/>
              <a:gd name="connsiteY2-32" fmla="*/ 59952 h 599179"/>
              <a:gd name="connsiteX3-33" fmla="*/ 275967 w 295275"/>
              <a:gd name="connsiteY3-34" fmla="*/ 66705 h 599179"/>
              <a:gd name="connsiteX4-35" fmla="*/ 258864 w 295275"/>
              <a:gd name="connsiteY4-36" fmla="*/ 77309 h 599179"/>
              <a:gd name="connsiteX5-37" fmla="*/ 164932 w 295275"/>
              <a:gd name="connsiteY5-38" fmla="*/ 229252 h 599179"/>
              <a:gd name="connsiteX6-39" fmla="*/ 152376 w 295275"/>
              <a:gd name="connsiteY6-40" fmla="*/ 303904 h 599179"/>
              <a:gd name="connsiteX7-41" fmla="*/ 295275 w 295275"/>
              <a:gd name="connsiteY7-42" fmla="*/ 303904 h 599179"/>
              <a:gd name="connsiteX8-43" fmla="*/ 295275 w 295275"/>
              <a:gd name="connsiteY8-44" fmla="*/ 599179 h 599179"/>
              <a:gd name="connsiteX9-45" fmla="*/ 0 w 295275"/>
              <a:gd name="connsiteY9-46" fmla="*/ 599179 h 599179"/>
              <a:gd name="connsiteX10-47" fmla="*/ 0 w 295275"/>
              <a:gd name="connsiteY10-48" fmla="*/ 303904 h 599179"/>
              <a:gd name="connsiteX11-49" fmla="*/ 5952 w 295275"/>
              <a:gd name="connsiteY11-50" fmla="*/ 269304 h 599179"/>
              <a:gd name="connsiteX12-51" fmla="*/ 204540 w 295275"/>
              <a:gd name="connsiteY12-52" fmla="*/ 547 h 599179"/>
              <a:gd name="connsiteX13-53" fmla="*/ 207995 w 295275"/>
              <a:gd name="connsiteY13-54" fmla="*/ 0 h 599179"/>
              <a:gd name="connsiteX0-55" fmla="*/ 207995 w 295275"/>
              <a:gd name="connsiteY0-56" fmla="*/ 0 h 599179"/>
              <a:gd name="connsiteX1-57" fmla="*/ 218480 w 295275"/>
              <a:gd name="connsiteY1-58" fmla="*/ 17025 h 599179"/>
              <a:gd name="connsiteX2-59" fmla="*/ 263922 w 295275"/>
              <a:gd name="connsiteY2-60" fmla="*/ 59952 h 599179"/>
              <a:gd name="connsiteX3-61" fmla="*/ 275967 w 295275"/>
              <a:gd name="connsiteY3-62" fmla="*/ 66705 h 599179"/>
              <a:gd name="connsiteX4-63" fmla="*/ 258864 w 295275"/>
              <a:gd name="connsiteY4-64" fmla="*/ 77309 h 599179"/>
              <a:gd name="connsiteX5-65" fmla="*/ 164932 w 295275"/>
              <a:gd name="connsiteY5-66" fmla="*/ 229252 h 599179"/>
              <a:gd name="connsiteX6-67" fmla="*/ 152376 w 295275"/>
              <a:gd name="connsiteY6-68" fmla="*/ 303904 h 599179"/>
              <a:gd name="connsiteX7-69" fmla="*/ 295275 w 295275"/>
              <a:gd name="connsiteY7-70" fmla="*/ 303904 h 599179"/>
              <a:gd name="connsiteX8-71" fmla="*/ 295275 w 295275"/>
              <a:gd name="connsiteY8-72" fmla="*/ 599179 h 599179"/>
              <a:gd name="connsiteX9-73" fmla="*/ 0 w 295275"/>
              <a:gd name="connsiteY9-74" fmla="*/ 599179 h 599179"/>
              <a:gd name="connsiteX10-75" fmla="*/ 0 w 295275"/>
              <a:gd name="connsiteY10-76" fmla="*/ 303904 h 599179"/>
              <a:gd name="connsiteX11-77" fmla="*/ 5952 w 295275"/>
              <a:gd name="connsiteY11-78" fmla="*/ 269304 h 599179"/>
              <a:gd name="connsiteX12-79" fmla="*/ 204540 w 295275"/>
              <a:gd name="connsiteY12-80" fmla="*/ 547 h 599179"/>
              <a:gd name="connsiteX13-81" fmla="*/ 207995 w 295275"/>
              <a:gd name="connsiteY13-82" fmla="*/ 0 h 599179"/>
              <a:gd name="connsiteX0-83" fmla="*/ 207995 w 295275"/>
              <a:gd name="connsiteY0-84" fmla="*/ 0 h 599179"/>
              <a:gd name="connsiteX1-85" fmla="*/ 218480 w 295275"/>
              <a:gd name="connsiteY1-86" fmla="*/ 17025 h 599179"/>
              <a:gd name="connsiteX2-87" fmla="*/ 263922 w 295275"/>
              <a:gd name="connsiteY2-88" fmla="*/ 59952 h 599179"/>
              <a:gd name="connsiteX3-89" fmla="*/ 275967 w 295275"/>
              <a:gd name="connsiteY3-90" fmla="*/ 66705 h 599179"/>
              <a:gd name="connsiteX4-91" fmla="*/ 258864 w 295275"/>
              <a:gd name="connsiteY4-92" fmla="*/ 77309 h 599179"/>
              <a:gd name="connsiteX5-93" fmla="*/ 152376 w 295275"/>
              <a:gd name="connsiteY5-94" fmla="*/ 303904 h 599179"/>
              <a:gd name="connsiteX6-95" fmla="*/ 295275 w 295275"/>
              <a:gd name="connsiteY6-96" fmla="*/ 303904 h 599179"/>
              <a:gd name="connsiteX7-97" fmla="*/ 295275 w 295275"/>
              <a:gd name="connsiteY7-98" fmla="*/ 599179 h 599179"/>
              <a:gd name="connsiteX8-99" fmla="*/ 0 w 295275"/>
              <a:gd name="connsiteY8-100" fmla="*/ 599179 h 599179"/>
              <a:gd name="connsiteX9-101" fmla="*/ 0 w 295275"/>
              <a:gd name="connsiteY9-102" fmla="*/ 303904 h 599179"/>
              <a:gd name="connsiteX10-103" fmla="*/ 5952 w 295275"/>
              <a:gd name="connsiteY10-104" fmla="*/ 269304 h 599179"/>
              <a:gd name="connsiteX11-105" fmla="*/ 204540 w 295275"/>
              <a:gd name="connsiteY11-106" fmla="*/ 547 h 599179"/>
              <a:gd name="connsiteX12-107" fmla="*/ 207995 w 295275"/>
              <a:gd name="connsiteY12-108" fmla="*/ 0 h 599179"/>
              <a:gd name="connsiteX0-109" fmla="*/ 207995 w 295275"/>
              <a:gd name="connsiteY0-110" fmla="*/ 0 h 599179"/>
              <a:gd name="connsiteX1-111" fmla="*/ 218480 w 295275"/>
              <a:gd name="connsiteY1-112" fmla="*/ 17025 h 599179"/>
              <a:gd name="connsiteX2-113" fmla="*/ 263922 w 295275"/>
              <a:gd name="connsiteY2-114" fmla="*/ 59952 h 599179"/>
              <a:gd name="connsiteX3-115" fmla="*/ 275967 w 295275"/>
              <a:gd name="connsiteY3-116" fmla="*/ 66705 h 599179"/>
              <a:gd name="connsiteX4-117" fmla="*/ 258864 w 295275"/>
              <a:gd name="connsiteY4-118" fmla="*/ 77309 h 599179"/>
              <a:gd name="connsiteX5-119" fmla="*/ 152376 w 295275"/>
              <a:gd name="connsiteY5-120" fmla="*/ 303904 h 599179"/>
              <a:gd name="connsiteX6-121" fmla="*/ 295275 w 295275"/>
              <a:gd name="connsiteY6-122" fmla="*/ 303904 h 599179"/>
              <a:gd name="connsiteX7-123" fmla="*/ 295275 w 295275"/>
              <a:gd name="connsiteY7-124" fmla="*/ 599179 h 599179"/>
              <a:gd name="connsiteX8-125" fmla="*/ 0 w 295275"/>
              <a:gd name="connsiteY8-126" fmla="*/ 599179 h 599179"/>
              <a:gd name="connsiteX9-127" fmla="*/ 0 w 295275"/>
              <a:gd name="connsiteY9-128" fmla="*/ 303904 h 599179"/>
              <a:gd name="connsiteX10-129" fmla="*/ 5952 w 295275"/>
              <a:gd name="connsiteY10-130" fmla="*/ 269304 h 599179"/>
              <a:gd name="connsiteX11-131" fmla="*/ 204540 w 295275"/>
              <a:gd name="connsiteY11-132" fmla="*/ 547 h 599179"/>
              <a:gd name="connsiteX12-133" fmla="*/ 207995 w 295275"/>
              <a:gd name="connsiteY12-134" fmla="*/ 0 h 599179"/>
              <a:gd name="connsiteX0-135" fmla="*/ 207995 w 295275"/>
              <a:gd name="connsiteY0-136" fmla="*/ 0 h 599179"/>
              <a:gd name="connsiteX1-137" fmla="*/ 218480 w 295275"/>
              <a:gd name="connsiteY1-138" fmla="*/ 17025 h 599179"/>
              <a:gd name="connsiteX2-139" fmla="*/ 263922 w 295275"/>
              <a:gd name="connsiteY2-140" fmla="*/ 59952 h 599179"/>
              <a:gd name="connsiteX3-141" fmla="*/ 275967 w 295275"/>
              <a:gd name="connsiteY3-142" fmla="*/ 66705 h 599179"/>
              <a:gd name="connsiteX4-143" fmla="*/ 152376 w 295275"/>
              <a:gd name="connsiteY4-144" fmla="*/ 303904 h 599179"/>
              <a:gd name="connsiteX5-145" fmla="*/ 295275 w 295275"/>
              <a:gd name="connsiteY5-146" fmla="*/ 303904 h 599179"/>
              <a:gd name="connsiteX6-147" fmla="*/ 295275 w 295275"/>
              <a:gd name="connsiteY6-148" fmla="*/ 599179 h 599179"/>
              <a:gd name="connsiteX7-149" fmla="*/ 0 w 295275"/>
              <a:gd name="connsiteY7-150" fmla="*/ 599179 h 599179"/>
              <a:gd name="connsiteX8-151" fmla="*/ 0 w 295275"/>
              <a:gd name="connsiteY8-152" fmla="*/ 303904 h 599179"/>
              <a:gd name="connsiteX9-153" fmla="*/ 5952 w 295275"/>
              <a:gd name="connsiteY9-154" fmla="*/ 269304 h 599179"/>
              <a:gd name="connsiteX10-155" fmla="*/ 204540 w 295275"/>
              <a:gd name="connsiteY10-156" fmla="*/ 547 h 599179"/>
              <a:gd name="connsiteX11-157" fmla="*/ 207995 w 295275"/>
              <a:gd name="connsiteY11-158" fmla="*/ 0 h 599179"/>
              <a:gd name="connsiteX0-159" fmla="*/ 207995 w 295275"/>
              <a:gd name="connsiteY0-160" fmla="*/ 0 h 599179"/>
              <a:gd name="connsiteX1-161" fmla="*/ 218480 w 295275"/>
              <a:gd name="connsiteY1-162" fmla="*/ 17025 h 599179"/>
              <a:gd name="connsiteX2-163" fmla="*/ 263922 w 295275"/>
              <a:gd name="connsiteY2-164" fmla="*/ 59952 h 599179"/>
              <a:gd name="connsiteX3-165" fmla="*/ 275967 w 295275"/>
              <a:gd name="connsiteY3-166" fmla="*/ 66705 h 599179"/>
              <a:gd name="connsiteX4-167" fmla="*/ 152376 w 295275"/>
              <a:gd name="connsiteY4-168" fmla="*/ 303904 h 599179"/>
              <a:gd name="connsiteX5-169" fmla="*/ 295275 w 295275"/>
              <a:gd name="connsiteY5-170" fmla="*/ 303904 h 599179"/>
              <a:gd name="connsiteX6-171" fmla="*/ 295275 w 295275"/>
              <a:gd name="connsiteY6-172" fmla="*/ 599179 h 599179"/>
              <a:gd name="connsiteX7-173" fmla="*/ 0 w 295275"/>
              <a:gd name="connsiteY7-174" fmla="*/ 599179 h 599179"/>
              <a:gd name="connsiteX8-175" fmla="*/ 0 w 295275"/>
              <a:gd name="connsiteY8-176" fmla="*/ 303904 h 599179"/>
              <a:gd name="connsiteX9-177" fmla="*/ 5952 w 295275"/>
              <a:gd name="connsiteY9-178" fmla="*/ 269304 h 599179"/>
              <a:gd name="connsiteX10-179" fmla="*/ 204540 w 295275"/>
              <a:gd name="connsiteY10-180" fmla="*/ 547 h 599179"/>
              <a:gd name="connsiteX11-181" fmla="*/ 207995 w 295275"/>
              <a:gd name="connsiteY11-182" fmla="*/ 0 h 599179"/>
              <a:gd name="connsiteX0-183" fmla="*/ 207995 w 295275"/>
              <a:gd name="connsiteY0-184" fmla="*/ 0 h 599179"/>
              <a:gd name="connsiteX1-185" fmla="*/ 218480 w 295275"/>
              <a:gd name="connsiteY1-186" fmla="*/ 17025 h 599179"/>
              <a:gd name="connsiteX2-187" fmla="*/ 263922 w 295275"/>
              <a:gd name="connsiteY2-188" fmla="*/ 59952 h 599179"/>
              <a:gd name="connsiteX3-189" fmla="*/ 275967 w 295275"/>
              <a:gd name="connsiteY3-190" fmla="*/ 66705 h 599179"/>
              <a:gd name="connsiteX4-191" fmla="*/ 152376 w 295275"/>
              <a:gd name="connsiteY4-192" fmla="*/ 303904 h 599179"/>
              <a:gd name="connsiteX5-193" fmla="*/ 295275 w 295275"/>
              <a:gd name="connsiteY5-194" fmla="*/ 303904 h 599179"/>
              <a:gd name="connsiteX6-195" fmla="*/ 295275 w 295275"/>
              <a:gd name="connsiteY6-196" fmla="*/ 599179 h 599179"/>
              <a:gd name="connsiteX7-197" fmla="*/ 0 w 295275"/>
              <a:gd name="connsiteY7-198" fmla="*/ 599179 h 599179"/>
              <a:gd name="connsiteX8-199" fmla="*/ 0 w 295275"/>
              <a:gd name="connsiteY8-200" fmla="*/ 303904 h 599179"/>
              <a:gd name="connsiteX9-201" fmla="*/ 5952 w 295275"/>
              <a:gd name="connsiteY9-202" fmla="*/ 269304 h 599179"/>
              <a:gd name="connsiteX10-203" fmla="*/ 204540 w 295275"/>
              <a:gd name="connsiteY10-204" fmla="*/ 547 h 599179"/>
              <a:gd name="connsiteX11-205" fmla="*/ 207995 w 295275"/>
              <a:gd name="connsiteY11-206" fmla="*/ 0 h 599179"/>
              <a:gd name="connsiteX0-207" fmla="*/ 207995 w 295275"/>
              <a:gd name="connsiteY0-208" fmla="*/ 0 h 599179"/>
              <a:gd name="connsiteX1-209" fmla="*/ 218480 w 295275"/>
              <a:gd name="connsiteY1-210" fmla="*/ 17025 h 599179"/>
              <a:gd name="connsiteX2-211" fmla="*/ 263922 w 295275"/>
              <a:gd name="connsiteY2-212" fmla="*/ 59952 h 599179"/>
              <a:gd name="connsiteX3-213" fmla="*/ 275967 w 295275"/>
              <a:gd name="connsiteY3-214" fmla="*/ 66705 h 599179"/>
              <a:gd name="connsiteX4-215" fmla="*/ 152376 w 295275"/>
              <a:gd name="connsiteY4-216" fmla="*/ 303904 h 599179"/>
              <a:gd name="connsiteX5-217" fmla="*/ 295275 w 295275"/>
              <a:gd name="connsiteY5-218" fmla="*/ 303904 h 599179"/>
              <a:gd name="connsiteX6-219" fmla="*/ 295275 w 295275"/>
              <a:gd name="connsiteY6-220" fmla="*/ 599179 h 599179"/>
              <a:gd name="connsiteX7-221" fmla="*/ 0 w 295275"/>
              <a:gd name="connsiteY7-222" fmla="*/ 599179 h 599179"/>
              <a:gd name="connsiteX8-223" fmla="*/ 0 w 295275"/>
              <a:gd name="connsiteY8-224" fmla="*/ 303904 h 599179"/>
              <a:gd name="connsiteX9-225" fmla="*/ 5952 w 295275"/>
              <a:gd name="connsiteY9-226" fmla="*/ 269304 h 599179"/>
              <a:gd name="connsiteX10-227" fmla="*/ 204540 w 295275"/>
              <a:gd name="connsiteY10-228" fmla="*/ 547 h 599179"/>
              <a:gd name="connsiteX11-229" fmla="*/ 207995 w 295275"/>
              <a:gd name="connsiteY11-230" fmla="*/ 0 h 599179"/>
              <a:gd name="connsiteX0-231" fmla="*/ 207995 w 295275"/>
              <a:gd name="connsiteY0-232" fmla="*/ 0 h 599179"/>
              <a:gd name="connsiteX1-233" fmla="*/ 218480 w 295275"/>
              <a:gd name="connsiteY1-234" fmla="*/ 17025 h 599179"/>
              <a:gd name="connsiteX2-235" fmla="*/ 263922 w 295275"/>
              <a:gd name="connsiteY2-236" fmla="*/ 59952 h 599179"/>
              <a:gd name="connsiteX3-237" fmla="*/ 275967 w 295275"/>
              <a:gd name="connsiteY3-238" fmla="*/ 66705 h 599179"/>
              <a:gd name="connsiteX4-239" fmla="*/ 152376 w 295275"/>
              <a:gd name="connsiteY4-240" fmla="*/ 303904 h 599179"/>
              <a:gd name="connsiteX5-241" fmla="*/ 295275 w 295275"/>
              <a:gd name="connsiteY5-242" fmla="*/ 303904 h 599179"/>
              <a:gd name="connsiteX6-243" fmla="*/ 295275 w 295275"/>
              <a:gd name="connsiteY6-244" fmla="*/ 599179 h 599179"/>
              <a:gd name="connsiteX7-245" fmla="*/ 0 w 295275"/>
              <a:gd name="connsiteY7-246" fmla="*/ 599179 h 599179"/>
              <a:gd name="connsiteX8-247" fmla="*/ 0 w 295275"/>
              <a:gd name="connsiteY8-248" fmla="*/ 303904 h 599179"/>
              <a:gd name="connsiteX9-249" fmla="*/ 204540 w 295275"/>
              <a:gd name="connsiteY9-250" fmla="*/ 547 h 599179"/>
              <a:gd name="connsiteX10-251" fmla="*/ 207995 w 295275"/>
              <a:gd name="connsiteY10-252" fmla="*/ 0 h 599179"/>
              <a:gd name="connsiteX0-253" fmla="*/ 207995 w 295275"/>
              <a:gd name="connsiteY0-254" fmla="*/ 0 h 599179"/>
              <a:gd name="connsiteX1-255" fmla="*/ 218480 w 295275"/>
              <a:gd name="connsiteY1-256" fmla="*/ 17025 h 599179"/>
              <a:gd name="connsiteX2-257" fmla="*/ 263922 w 295275"/>
              <a:gd name="connsiteY2-258" fmla="*/ 59952 h 599179"/>
              <a:gd name="connsiteX3-259" fmla="*/ 275967 w 295275"/>
              <a:gd name="connsiteY3-260" fmla="*/ 66705 h 599179"/>
              <a:gd name="connsiteX4-261" fmla="*/ 152376 w 295275"/>
              <a:gd name="connsiteY4-262" fmla="*/ 303904 h 599179"/>
              <a:gd name="connsiteX5-263" fmla="*/ 295275 w 295275"/>
              <a:gd name="connsiteY5-264" fmla="*/ 303904 h 599179"/>
              <a:gd name="connsiteX6-265" fmla="*/ 295275 w 295275"/>
              <a:gd name="connsiteY6-266" fmla="*/ 599179 h 599179"/>
              <a:gd name="connsiteX7-267" fmla="*/ 0 w 295275"/>
              <a:gd name="connsiteY7-268" fmla="*/ 599179 h 599179"/>
              <a:gd name="connsiteX8-269" fmla="*/ 0 w 295275"/>
              <a:gd name="connsiteY8-270" fmla="*/ 303904 h 599179"/>
              <a:gd name="connsiteX9-271" fmla="*/ 204540 w 295275"/>
              <a:gd name="connsiteY9-272" fmla="*/ 547 h 599179"/>
              <a:gd name="connsiteX10-273" fmla="*/ 207995 w 295275"/>
              <a:gd name="connsiteY10-274" fmla="*/ 0 h 599179"/>
              <a:gd name="connsiteX0-275" fmla="*/ 207995 w 295275"/>
              <a:gd name="connsiteY0-276" fmla="*/ 0 h 599179"/>
              <a:gd name="connsiteX1-277" fmla="*/ 218480 w 295275"/>
              <a:gd name="connsiteY1-278" fmla="*/ 17025 h 599179"/>
              <a:gd name="connsiteX2-279" fmla="*/ 263922 w 295275"/>
              <a:gd name="connsiteY2-280" fmla="*/ 59952 h 599179"/>
              <a:gd name="connsiteX3-281" fmla="*/ 275967 w 295275"/>
              <a:gd name="connsiteY3-282" fmla="*/ 66705 h 599179"/>
              <a:gd name="connsiteX4-283" fmla="*/ 152376 w 295275"/>
              <a:gd name="connsiteY4-284" fmla="*/ 303904 h 599179"/>
              <a:gd name="connsiteX5-285" fmla="*/ 295275 w 295275"/>
              <a:gd name="connsiteY5-286" fmla="*/ 303904 h 599179"/>
              <a:gd name="connsiteX6-287" fmla="*/ 295275 w 295275"/>
              <a:gd name="connsiteY6-288" fmla="*/ 599179 h 599179"/>
              <a:gd name="connsiteX7-289" fmla="*/ 0 w 295275"/>
              <a:gd name="connsiteY7-290" fmla="*/ 599179 h 599179"/>
              <a:gd name="connsiteX8-291" fmla="*/ 0 w 295275"/>
              <a:gd name="connsiteY8-292" fmla="*/ 303904 h 599179"/>
              <a:gd name="connsiteX9-293" fmla="*/ 207995 w 295275"/>
              <a:gd name="connsiteY9-294" fmla="*/ 0 h 599179"/>
              <a:gd name="connsiteX0-295" fmla="*/ 207995 w 295275"/>
              <a:gd name="connsiteY0-296" fmla="*/ 0 h 599179"/>
              <a:gd name="connsiteX1-297" fmla="*/ 218480 w 295275"/>
              <a:gd name="connsiteY1-298" fmla="*/ 17025 h 599179"/>
              <a:gd name="connsiteX2-299" fmla="*/ 263922 w 295275"/>
              <a:gd name="connsiteY2-300" fmla="*/ 59952 h 599179"/>
              <a:gd name="connsiteX3-301" fmla="*/ 275967 w 295275"/>
              <a:gd name="connsiteY3-302" fmla="*/ 66705 h 599179"/>
              <a:gd name="connsiteX4-303" fmla="*/ 152376 w 295275"/>
              <a:gd name="connsiteY4-304" fmla="*/ 303904 h 599179"/>
              <a:gd name="connsiteX5-305" fmla="*/ 295275 w 295275"/>
              <a:gd name="connsiteY5-306" fmla="*/ 303904 h 599179"/>
              <a:gd name="connsiteX6-307" fmla="*/ 295275 w 295275"/>
              <a:gd name="connsiteY6-308" fmla="*/ 599179 h 599179"/>
              <a:gd name="connsiteX7-309" fmla="*/ 0 w 295275"/>
              <a:gd name="connsiteY7-310" fmla="*/ 599179 h 599179"/>
              <a:gd name="connsiteX8-311" fmla="*/ 0 w 295275"/>
              <a:gd name="connsiteY8-312" fmla="*/ 303904 h 599179"/>
              <a:gd name="connsiteX9-313" fmla="*/ 207995 w 295275"/>
              <a:gd name="connsiteY9-314" fmla="*/ 0 h 599179"/>
              <a:gd name="connsiteX0-315" fmla="*/ 207995 w 295275"/>
              <a:gd name="connsiteY0-316" fmla="*/ 0 h 599179"/>
              <a:gd name="connsiteX1-317" fmla="*/ 218480 w 295275"/>
              <a:gd name="connsiteY1-318" fmla="*/ 17025 h 599179"/>
              <a:gd name="connsiteX2-319" fmla="*/ 263922 w 295275"/>
              <a:gd name="connsiteY2-320" fmla="*/ 59952 h 599179"/>
              <a:gd name="connsiteX3-321" fmla="*/ 275967 w 295275"/>
              <a:gd name="connsiteY3-322" fmla="*/ 66705 h 599179"/>
              <a:gd name="connsiteX4-323" fmla="*/ 152376 w 295275"/>
              <a:gd name="connsiteY4-324" fmla="*/ 303904 h 599179"/>
              <a:gd name="connsiteX5-325" fmla="*/ 295275 w 295275"/>
              <a:gd name="connsiteY5-326" fmla="*/ 303904 h 599179"/>
              <a:gd name="connsiteX6-327" fmla="*/ 295275 w 295275"/>
              <a:gd name="connsiteY6-328" fmla="*/ 599179 h 599179"/>
              <a:gd name="connsiteX7-329" fmla="*/ 0 w 295275"/>
              <a:gd name="connsiteY7-330" fmla="*/ 599179 h 599179"/>
              <a:gd name="connsiteX8-331" fmla="*/ 0 w 295275"/>
              <a:gd name="connsiteY8-332" fmla="*/ 303904 h 599179"/>
              <a:gd name="connsiteX9-333" fmla="*/ 207995 w 295275"/>
              <a:gd name="connsiteY9-334" fmla="*/ 0 h 599179"/>
              <a:gd name="connsiteX0-335" fmla="*/ 207995 w 295275"/>
              <a:gd name="connsiteY0-336" fmla="*/ 0 h 599179"/>
              <a:gd name="connsiteX1-337" fmla="*/ 218480 w 295275"/>
              <a:gd name="connsiteY1-338" fmla="*/ 17025 h 599179"/>
              <a:gd name="connsiteX2-339" fmla="*/ 263922 w 295275"/>
              <a:gd name="connsiteY2-340" fmla="*/ 59952 h 599179"/>
              <a:gd name="connsiteX3-341" fmla="*/ 275967 w 295275"/>
              <a:gd name="connsiteY3-342" fmla="*/ 66705 h 599179"/>
              <a:gd name="connsiteX4-343" fmla="*/ 152376 w 295275"/>
              <a:gd name="connsiteY4-344" fmla="*/ 303904 h 599179"/>
              <a:gd name="connsiteX5-345" fmla="*/ 295275 w 295275"/>
              <a:gd name="connsiteY5-346" fmla="*/ 303904 h 599179"/>
              <a:gd name="connsiteX6-347" fmla="*/ 295275 w 295275"/>
              <a:gd name="connsiteY6-348" fmla="*/ 599179 h 599179"/>
              <a:gd name="connsiteX7-349" fmla="*/ 0 w 295275"/>
              <a:gd name="connsiteY7-350" fmla="*/ 599179 h 599179"/>
              <a:gd name="connsiteX8-351" fmla="*/ 0 w 295275"/>
              <a:gd name="connsiteY8-352" fmla="*/ 303904 h 599179"/>
              <a:gd name="connsiteX9-353" fmla="*/ 207995 w 295275"/>
              <a:gd name="connsiteY9-354" fmla="*/ 0 h 599179"/>
              <a:gd name="connsiteX0-355" fmla="*/ 207995 w 295275"/>
              <a:gd name="connsiteY0-356" fmla="*/ 0 h 599179"/>
              <a:gd name="connsiteX1-357" fmla="*/ 218480 w 295275"/>
              <a:gd name="connsiteY1-358" fmla="*/ 17025 h 599179"/>
              <a:gd name="connsiteX2-359" fmla="*/ 263922 w 295275"/>
              <a:gd name="connsiteY2-360" fmla="*/ 59952 h 599179"/>
              <a:gd name="connsiteX3-361" fmla="*/ 275967 w 295275"/>
              <a:gd name="connsiteY3-362" fmla="*/ 66705 h 599179"/>
              <a:gd name="connsiteX4-363" fmla="*/ 152376 w 295275"/>
              <a:gd name="connsiteY4-364" fmla="*/ 303904 h 599179"/>
              <a:gd name="connsiteX5-365" fmla="*/ 295275 w 295275"/>
              <a:gd name="connsiteY5-366" fmla="*/ 303904 h 599179"/>
              <a:gd name="connsiteX6-367" fmla="*/ 295275 w 295275"/>
              <a:gd name="connsiteY6-368" fmla="*/ 599179 h 599179"/>
              <a:gd name="connsiteX7-369" fmla="*/ 0 w 295275"/>
              <a:gd name="connsiteY7-370" fmla="*/ 599179 h 599179"/>
              <a:gd name="connsiteX8-371" fmla="*/ 0 w 295275"/>
              <a:gd name="connsiteY8-372" fmla="*/ 303904 h 599179"/>
              <a:gd name="connsiteX9-373" fmla="*/ 207995 w 295275"/>
              <a:gd name="connsiteY9-374" fmla="*/ 0 h 599179"/>
              <a:gd name="connsiteX0-375" fmla="*/ 207995 w 295275"/>
              <a:gd name="connsiteY0-376" fmla="*/ 0 h 599179"/>
              <a:gd name="connsiteX1-377" fmla="*/ 218480 w 295275"/>
              <a:gd name="connsiteY1-378" fmla="*/ 17025 h 599179"/>
              <a:gd name="connsiteX2-379" fmla="*/ 263922 w 295275"/>
              <a:gd name="connsiteY2-380" fmla="*/ 59952 h 599179"/>
              <a:gd name="connsiteX3-381" fmla="*/ 275967 w 295275"/>
              <a:gd name="connsiteY3-382" fmla="*/ 66705 h 599179"/>
              <a:gd name="connsiteX4-383" fmla="*/ 152376 w 295275"/>
              <a:gd name="connsiteY4-384" fmla="*/ 303904 h 599179"/>
              <a:gd name="connsiteX5-385" fmla="*/ 295275 w 295275"/>
              <a:gd name="connsiteY5-386" fmla="*/ 303904 h 599179"/>
              <a:gd name="connsiteX6-387" fmla="*/ 295275 w 295275"/>
              <a:gd name="connsiteY6-388" fmla="*/ 599179 h 599179"/>
              <a:gd name="connsiteX7-389" fmla="*/ 0 w 295275"/>
              <a:gd name="connsiteY7-390" fmla="*/ 599179 h 599179"/>
              <a:gd name="connsiteX8-391" fmla="*/ 0 w 295275"/>
              <a:gd name="connsiteY8-392" fmla="*/ 303904 h 599179"/>
              <a:gd name="connsiteX9-393" fmla="*/ 207995 w 295275"/>
              <a:gd name="connsiteY9-394" fmla="*/ 0 h 599179"/>
              <a:gd name="connsiteX0-395" fmla="*/ 207995 w 295275"/>
              <a:gd name="connsiteY0-396" fmla="*/ 0 h 599179"/>
              <a:gd name="connsiteX1-397" fmla="*/ 218480 w 295275"/>
              <a:gd name="connsiteY1-398" fmla="*/ 17025 h 599179"/>
              <a:gd name="connsiteX2-399" fmla="*/ 263922 w 295275"/>
              <a:gd name="connsiteY2-400" fmla="*/ 59952 h 599179"/>
              <a:gd name="connsiteX3-401" fmla="*/ 275967 w 295275"/>
              <a:gd name="connsiteY3-402" fmla="*/ 66705 h 599179"/>
              <a:gd name="connsiteX4-403" fmla="*/ 152376 w 295275"/>
              <a:gd name="connsiteY4-404" fmla="*/ 303904 h 599179"/>
              <a:gd name="connsiteX5-405" fmla="*/ 295275 w 295275"/>
              <a:gd name="connsiteY5-406" fmla="*/ 303904 h 599179"/>
              <a:gd name="connsiteX6-407" fmla="*/ 295275 w 295275"/>
              <a:gd name="connsiteY6-408" fmla="*/ 599179 h 599179"/>
              <a:gd name="connsiteX7-409" fmla="*/ 0 w 295275"/>
              <a:gd name="connsiteY7-410" fmla="*/ 599179 h 599179"/>
              <a:gd name="connsiteX8-411" fmla="*/ 0 w 295275"/>
              <a:gd name="connsiteY8-412" fmla="*/ 303904 h 599179"/>
              <a:gd name="connsiteX9-413" fmla="*/ 207995 w 295275"/>
              <a:gd name="connsiteY9-414" fmla="*/ 0 h 599179"/>
              <a:gd name="connsiteX0-415" fmla="*/ 207995 w 295275"/>
              <a:gd name="connsiteY0-416" fmla="*/ 0 h 599179"/>
              <a:gd name="connsiteX1-417" fmla="*/ 218480 w 295275"/>
              <a:gd name="connsiteY1-418" fmla="*/ 17025 h 599179"/>
              <a:gd name="connsiteX2-419" fmla="*/ 263922 w 295275"/>
              <a:gd name="connsiteY2-420" fmla="*/ 59952 h 599179"/>
              <a:gd name="connsiteX3-421" fmla="*/ 275967 w 295275"/>
              <a:gd name="connsiteY3-422" fmla="*/ 66705 h 599179"/>
              <a:gd name="connsiteX4-423" fmla="*/ 152376 w 295275"/>
              <a:gd name="connsiteY4-424" fmla="*/ 303904 h 599179"/>
              <a:gd name="connsiteX5-425" fmla="*/ 295275 w 295275"/>
              <a:gd name="connsiteY5-426" fmla="*/ 303904 h 599179"/>
              <a:gd name="connsiteX6-427" fmla="*/ 295275 w 295275"/>
              <a:gd name="connsiteY6-428" fmla="*/ 599179 h 599179"/>
              <a:gd name="connsiteX7-429" fmla="*/ 0 w 295275"/>
              <a:gd name="connsiteY7-430" fmla="*/ 599179 h 599179"/>
              <a:gd name="connsiteX8-431" fmla="*/ 0 w 295275"/>
              <a:gd name="connsiteY8-432" fmla="*/ 334942 h 599179"/>
              <a:gd name="connsiteX9-433" fmla="*/ 207995 w 295275"/>
              <a:gd name="connsiteY9-434" fmla="*/ 0 h 599179"/>
              <a:gd name="connsiteX0-435" fmla="*/ 207995 w 295275"/>
              <a:gd name="connsiteY0-436" fmla="*/ 0 h 599179"/>
              <a:gd name="connsiteX1-437" fmla="*/ 218480 w 295275"/>
              <a:gd name="connsiteY1-438" fmla="*/ 17025 h 599179"/>
              <a:gd name="connsiteX2-439" fmla="*/ 263922 w 295275"/>
              <a:gd name="connsiteY2-440" fmla="*/ 59952 h 599179"/>
              <a:gd name="connsiteX3-441" fmla="*/ 275967 w 295275"/>
              <a:gd name="connsiteY3-442" fmla="*/ 66705 h 599179"/>
              <a:gd name="connsiteX4-443" fmla="*/ 152376 w 295275"/>
              <a:gd name="connsiteY4-444" fmla="*/ 303904 h 599179"/>
              <a:gd name="connsiteX5-445" fmla="*/ 295275 w 295275"/>
              <a:gd name="connsiteY5-446" fmla="*/ 303904 h 599179"/>
              <a:gd name="connsiteX6-447" fmla="*/ 295275 w 295275"/>
              <a:gd name="connsiteY6-448" fmla="*/ 599179 h 599179"/>
              <a:gd name="connsiteX7-449" fmla="*/ 0 w 295275"/>
              <a:gd name="connsiteY7-450" fmla="*/ 599179 h 599179"/>
              <a:gd name="connsiteX8-451" fmla="*/ 0 w 295275"/>
              <a:gd name="connsiteY8-452" fmla="*/ 334942 h 599179"/>
              <a:gd name="connsiteX9-453" fmla="*/ 207995 w 295275"/>
              <a:gd name="connsiteY9-454" fmla="*/ 0 h 599179"/>
              <a:gd name="connsiteX0-455" fmla="*/ 207995 w 295275"/>
              <a:gd name="connsiteY0-456" fmla="*/ 0 h 599179"/>
              <a:gd name="connsiteX1-457" fmla="*/ 218480 w 295275"/>
              <a:gd name="connsiteY1-458" fmla="*/ 17025 h 599179"/>
              <a:gd name="connsiteX2-459" fmla="*/ 263922 w 295275"/>
              <a:gd name="connsiteY2-460" fmla="*/ 59952 h 599179"/>
              <a:gd name="connsiteX3-461" fmla="*/ 275967 w 295275"/>
              <a:gd name="connsiteY3-462" fmla="*/ 66705 h 599179"/>
              <a:gd name="connsiteX4-463" fmla="*/ 152376 w 295275"/>
              <a:gd name="connsiteY4-464" fmla="*/ 303904 h 599179"/>
              <a:gd name="connsiteX5-465" fmla="*/ 295275 w 295275"/>
              <a:gd name="connsiteY5-466" fmla="*/ 303904 h 599179"/>
              <a:gd name="connsiteX6-467" fmla="*/ 295275 w 295275"/>
              <a:gd name="connsiteY6-468" fmla="*/ 599179 h 599179"/>
              <a:gd name="connsiteX7-469" fmla="*/ 0 w 295275"/>
              <a:gd name="connsiteY7-470" fmla="*/ 599179 h 599179"/>
              <a:gd name="connsiteX8-471" fmla="*/ 0 w 295275"/>
              <a:gd name="connsiteY8-472" fmla="*/ 334942 h 599179"/>
              <a:gd name="connsiteX9-473" fmla="*/ 207995 w 295275"/>
              <a:gd name="connsiteY9-474" fmla="*/ 0 h 599179"/>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Lst>
            <a:rect l="l" t="t" r="r" b="b"/>
            <a:pathLst>
              <a:path w="295275" h="599179">
                <a:moveTo>
                  <a:pt x="207995" y="0"/>
                </a:moveTo>
                <a:lnTo>
                  <a:pt x="218480" y="17025"/>
                </a:lnTo>
                <a:cubicBezTo>
                  <a:pt x="231034" y="32364"/>
                  <a:pt x="246314" y="46986"/>
                  <a:pt x="263922" y="59952"/>
                </a:cubicBezTo>
                <a:lnTo>
                  <a:pt x="275967" y="66705"/>
                </a:lnTo>
                <a:cubicBezTo>
                  <a:pt x="274744" y="66607"/>
                  <a:pt x="166924" y="148026"/>
                  <a:pt x="152376" y="303904"/>
                </a:cubicBezTo>
                <a:lnTo>
                  <a:pt x="295275" y="303904"/>
                </a:lnTo>
                <a:lnTo>
                  <a:pt x="295275" y="599179"/>
                </a:lnTo>
                <a:lnTo>
                  <a:pt x="0" y="599179"/>
                </a:lnTo>
                <a:lnTo>
                  <a:pt x="0" y="334942"/>
                </a:lnTo>
                <a:cubicBezTo>
                  <a:pt x="10368" y="113589"/>
                  <a:pt x="207637" y="2353"/>
                  <a:pt x="207995" y="0"/>
                </a:cubicBezTo>
                <a:close/>
              </a:path>
            </a:pathLst>
          </a:custGeom>
          <a:noFill/>
          <a:ln w="38100" cap="rnd">
            <a:solidFill>
              <a:schemeClr val="tx1">
                <a:lumMod val="75000"/>
                <a:lumOff val="2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3" name="任意多边形: 形状 12"/>
          <p:cNvSpPr>
            <a:spLocks noChangeAspect="1"/>
          </p:cNvSpPr>
          <p:nvPr>
            <p:custDataLst>
              <p:tags r:id="rId73"/>
            </p:custDataLst>
          </p:nvPr>
        </p:nvSpPr>
        <p:spPr>
          <a:xfrm rot="10800000">
            <a:off x="10896600" y="676275"/>
            <a:ext cx="281940" cy="572135"/>
          </a:xfrm>
          <a:custGeom>
            <a:avLst/>
            <a:gdLst>
              <a:gd name="connsiteX0" fmla="*/ 207995 w 295275"/>
              <a:gd name="connsiteY0" fmla="*/ 0 h 599179"/>
              <a:gd name="connsiteX1" fmla="*/ 218480 w 295275"/>
              <a:gd name="connsiteY1" fmla="*/ 17025 h 599179"/>
              <a:gd name="connsiteX2" fmla="*/ 263922 w 295275"/>
              <a:gd name="connsiteY2" fmla="*/ 59952 h 599179"/>
              <a:gd name="connsiteX3" fmla="*/ 275967 w 295275"/>
              <a:gd name="connsiteY3" fmla="*/ 66705 h 599179"/>
              <a:gd name="connsiteX4" fmla="*/ 258864 w 295275"/>
              <a:gd name="connsiteY4" fmla="*/ 77309 h 599179"/>
              <a:gd name="connsiteX5" fmla="*/ 164932 w 295275"/>
              <a:gd name="connsiteY5" fmla="*/ 229252 h 599179"/>
              <a:gd name="connsiteX6" fmla="*/ 145322 w 295275"/>
              <a:gd name="connsiteY6" fmla="*/ 303904 h 599179"/>
              <a:gd name="connsiteX7" fmla="*/ 295275 w 295275"/>
              <a:gd name="connsiteY7" fmla="*/ 303904 h 599179"/>
              <a:gd name="connsiteX8" fmla="*/ 295275 w 295275"/>
              <a:gd name="connsiteY8" fmla="*/ 599179 h 599179"/>
              <a:gd name="connsiteX9" fmla="*/ 0 w 295275"/>
              <a:gd name="connsiteY9" fmla="*/ 599179 h 599179"/>
              <a:gd name="connsiteX10" fmla="*/ 0 w 295275"/>
              <a:gd name="connsiteY10" fmla="*/ 303904 h 599179"/>
              <a:gd name="connsiteX11" fmla="*/ 5952 w 295275"/>
              <a:gd name="connsiteY11" fmla="*/ 269304 h 599179"/>
              <a:gd name="connsiteX12" fmla="*/ 204540 w 295275"/>
              <a:gd name="connsiteY12" fmla="*/ 547 h 599179"/>
              <a:gd name="connsiteX0-1" fmla="*/ 207995 w 295275"/>
              <a:gd name="connsiteY0-2" fmla="*/ 0 h 599179"/>
              <a:gd name="connsiteX1-3" fmla="*/ 218480 w 295275"/>
              <a:gd name="connsiteY1-4" fmla="*/ 17025 h 599179"/>
              <a:gd name="connsiteX2-5" fmla="*/ 263922 w 295275"/>
              <a:gd name="connsiteY2-6" fmla="*/ 59952 h 599179"/>
              <a:gd name="connsiteX3-7" fmla="*/ 275967 w 295275"/>
              <a:gd name="connsiteY3-8" fmla="*/ 66705 h 599179"/>
              <a:gd name="connsiteX4-9" fmla="*/ 258864 w 295275"/>
              <a:gd name="connsiteY4-10" fmla="*/ 77309 h 599179"/>
              <a:gd name="connsiteX5-11" fmla="*/ 164932 w 295275"/>
              <a:gd name="connsiteY5-12" fmla="*/ 229252 h 599179"/>
              <a:gd name="connsiteX6-13" fmla="*/ 152376 w 295275"/>
              <a:gd name="connsiteY6-14" fmla="*/ 303904 h 599179"/>
              <a:gd name="connsiteX7-15" fmla="*/ 295275 w 295275"/>
              <a:gd name="connsiteY7-16" fmla="*/ 303904 h 599179"/>
              <a:gd name="connsiteX8-17" fmla="*/ 295275 w 295275"/>
              <a:gd name="connsiteY8-18" fmla="*/ 599179 h 599179"/>
              <a:gd name="connsiteX9-19" fmla="*/ 0 w 295275"/>
              <a:gd name="connsiteY9-20" fmla="*/ 599179 h 599179"/>
              <a:gd name="connsiteX10-21" fmla="*/ 0 w 295275"/>
              <a:gd name="connsiteY10-22" fmla="*/ 303904 h 599179"/>
              <a:gd name="connsiteX11-23" fmla="*/ 5952 w 295275"/>
              <a:gd name="connsiteY11-24" fmla="*/ 269304 h 599179"/>
              <a:gd name="connsiteX12-25" fmla="*/ 204540 w 295275"/>
              <a:gd name="connsiteY12-26" fmla="*/ 547 h 599179"/>
              <a:gd name="connsiteX13" fmla="*/ 207995 w 295275"/>
              <a:gd name="connsiteY13" fmla="*/ 0 h 599179"/>
              <a:gd name="connsiteX0-27" fmla="*/ 207995 w 295275"/>
              <a:gd name="connsiteY0-28" fmla="*/ 0 h 599179"/>
              <a:gd name="connsiteX1-29" fmla="*/ 218480 w 295275"/>
              <a:gd name="connsiteY1-30" fmla="*/ 17025 h 599179"/>
              <a:gd name="connsiteX2-31" fmla="*/ 263922 w 295275"/>
              <a:gd name="connsiteY2-32" fmla="*/ 59952 h 599179"/>
              <a:gd name="connsiteX3-33" fmla="*/ 275967 w 295275"/>
              <a:gd name="connsiteY3-34" fmla="*/ 66705 h 599179"/>
              <a:gd name="connsiteX4-35" fmla="*/ 258864 w 295275"/>
              <a:gd name="connsiteY4-36" fmla="*/ 77309 h 599179"/>
              <a:gd name="connsiteX5-37" fmla="*/ 164932 w 295275"/>
              <a:gd name="connsiteY5-38" fmla="*/ 229252 h 599179"/>
              <a:gd name="connsiteX6-39" fmla="*/ 152376 w 295275"/>
              <a:gd name="connsiteY6-40" fmla="*/ 303904 h 599179"/>
              <a:gd name="connsiteX7-41" fmla="*/ 295275 w 295275"/>
              <a:gd name="connsiteY7-42" fmla="*/ 303904 h 599179"/>
              <a:gd name="connsiteX8-43" fmla="*/ 295275 w 295275"/>
              <a:gd name="connsiteY8-44" fmla="*/ 599179 h 599179"/>
              <a:gd name="connsiteX9-45" fmla="*/ 0 w 295275"/>
              <a:gd name="connsiteY9-46" fmla="*/ 599179 h 599179"/>
              <a:gd name="connsiteX10-47" fmla="*/ 0 w 295275"/>
              <a:gd name="connsiteY10-48" fmla="*/ 303904 h 599179"/>
              <a:gd name="connsiteX11-49" fmla="*/ 5952 w 295275"/>
              <a:gd name="connsiteY11-50" fmla="*/ 269304 h 599179"/>
              <a:gd name="connsiteX12-51" fmla="*/ 204540 w 295275"/>
              <a:gd name="connsiteY12-52" fmla="*/ 547 h 599179"/>
              <a:gd name="connsiteX13-53" fmla="*/ 207995 w 295275"/>
              <a:gd name="connsiteY13-54" fmla="*/ 0 h 599179"/>
              <a:gd name="connsiteX0-55" fmla="*/ 207995 w 295275"/>
              <a:gd name="connsiteY0-56" fmla="*/ 0 h 599179"/>
              <a:gd name="connsiteX1-57" fmla="*/ 218480 w 295275"/>
              <a:gd name="connsiteY1-58" fmla="*/ 17025 h 599179"/>
              <a:gd name="connsiteX2-59" fmla="*/ 263922 w 295275"/>
              <a:gd name="connsiteY2-60" fmla="*/ 59952 h 599179"/>
              <a:gd name="connsiteX3-61" fmla="*/ 275967 w 295275"/>
              <a:gd name="connsiteY3-62" fmla="*/ 66705 h 599179"/>
              <a:gd name="connsiteX4-63" fmla="*/ 258864 w 295275"/>
              <a:gd name="connsiteY4-64" fmla="*/ 77309 h 599179"/>
              <a:gd name="connsiteX5-65" fmla="*/ 164932 w 295275"/>
              <a:gd name="connsiteY5-66" fmla="*/ 229252 h 599179"/>
              <a:gd name="connsiteX6-67" fmla="*/ 152376 w 295275"/>
              <a:gd name="connsiteY6-68" fmla="*/ 303904 h 599179"/>
              <a:gd name="connsiteX7-69" fmla="*/ 295275 w 295275"/>
              <a:gd name="connsiteY7-70" fmla="*/ 303904 h 599179"/>
              <a:gd name="connsiteX8-71" fmla="*/ 295275 w 295275"/>
              <a:gd name="connsiteY8-72" fmla="*/ 599179 h 599179"/>
              <a:gd name="connsiteX9-73" fmla="*/ 0 w 295275"/>
              <a:gd name="connsiteY9-74" fmla="*/ 599179 h 599179"/>
              <a:gd name="connsiteX10-75" fmla="*/ 0 w 295275"/>
              <a:gd name="connsiteY10-76" fmla="*/ 303904 h 599179"/>
              <a:gd name="connsiteX11-77" fmla="*/ 5952 w 295275"/>
              <a:gd name="connsiteY11-78" fmla="*/ 269304 h 599179"/>
              <a:gd name="connsiteX12-79" fmla="*/ 204540 w 295275"/>
              <a:gd name="connsiteY12-80" fmla="*/ 547 h 599179"/>
              <a:gd name="connsiteX13-81" fmla="*/ 207995 w 295275"/>
              <a:gd name="connsiteY13-82" fmla="*/ 0 h 599179"/>
              <a:gd name="connsiteX0-83" fmla="*/ 207995 w 295275"/>
              <a:gd name="connsiteY0-84" fmla="*/ 0 h 599179"/>
              <a:gd name="connsiteX1-85" fmla="*/ 218480 w 295275"/>
              <a:gd name="connsiteY1-86" fmla="*/ 17025 h 599179"/>
              <a:gd name="connsiteX2-87" fmla="*/ 263922 w 295275"/>
              <a:gd name="connsiteY2-88" fmla="*/ 59952 h 599179"/>
              <a:gd name="connsiteX3-89" fmla="*/ 275967 w 295275"/>
              <a:gd name="connsiteY3-90" fmla="*/ 66705 h 599179"/>
              <a:gd name="connsiteX4-91" fmla="*/ 258864 w 295275"/>
              <a:gd name="connsiteY4-92" fmla="*/ 77309 h 599179"/>
              <a:gd name="connsiteX5-93" fmla="*/ 152376 w 295275"/>
              <a:gd name="connsiteY5-94" fmla="*/ 303904 h 599179"/>
              <a:gd name="connsiteX6-95" fmla="*/ 295275 w 295275"/>
              <a:gd name="connsiteY6-96" fmla="*/ 303904 h 599179"/>
              <a:gd name="connsiteX7-97" fmla="*/ 295275 w 295275"/>
              <a:gd name="connsiteY7-98" fmla="*/ 599179 h 599179"/>
              <a:gd name="connsiteX8-99" fmla="*/ 0 w 295275"/>
              <a:gd name="connsiteY8-100" fmla="*/ 599179 h 599179"/>
              <a:gd name="connsiteX9-101" fmla="*/ 0 w 295275"/>
              <a:gd name="connsiteY9-102" fmla="*/ 303904 h 599179"/>
              <a:gd name="connsiteX10-103" fmla="*/ 5952 w 295275"/>
              <a:gd name="connsiteY10-104" fmla="*/ 269304 h 599179"/>
              <a:gd name="connsiteX11-105" fmla="*/ 204540 w 295275"/>
              <a:gd name="connsiteY11-106" fmla="*/ 547 h 599179"/>
              <a:gd name="connsiteX12-107" fmla="*/ 207995 w 295275"/>
              <a:gd name="connsiteY12-108" fmla="*/ 0 h 599179"/>
              <a:gd name="connsiteX0-109" fmla="*/ 207995 w 295275"/>
              <a:gd name="connsiteY0-110" fmla="*/ 0 h 599179"/>
              <a:gd name="connsiteX1-111" fmla="*/ 218480 w 295275"/>
              <a:gd name="connsiteY1-112" fmla="*/ 17025 h 599179"/>
              <a:gd name="connsiteX2-113" fmla="*/ 263922 w 295275"/>
              <a:gd name="connsiteY2-114" fmla="*/ 59952 h 599179"/>
              <a:gd name="connsiteX3-115" fmla="*/ 275967 w 295275"/>
              <a:gd name="connsiteY3-116" fmla="*/ 66705 h 599179"/>
              <a:gd name="connsiteX4-117" fmla="*/ 258864 w 295275"/>
              <a:gd name="connsiteY4-118" fmla="*/ 77309 h 599179"/>
              <a:gd name="connsiteX5-119" fmla="*/ 152376 w 295275"/>
              <a:gd name="connsiteY5-120" fmla="*/ 303904 h 599179"/>
              <a:gd name="connsiteX6-121" fmla="*/ 295275 w 295275"/>
              <a:gd name="connsiteY6-122" fmla="*/ 303904 h 599179"/>
              <a:gd name="connsiteX7-123" fmla="*/ 295275 w 295275"/>
              <a:gd name="connsiteY7-124" fmla="*/ 599179 h 599179"/>
              <a:gd name="connsiteX8-125" fmla="*/ 0 w 295275"/>
              <a:gd name="connsiteY8-126" fmla="*/ 599179 h 599179"/>
              <a:gd name="connsiteX9-127" fmla="*/ 0 w 295275"/>
              <a:gd name="connsiteY9-128" fmla="*/ 303904 h 599179"/>
              <a:gd name="connsiteX10-129" fmla="*/ 5952 w 295275"/>
              <a:gd name="connsiteY10-130" fmla="*/ 269304 h 599179"/>
              <a:gd name="connsiteX11-131" fmla="*/ 204540 w 295275"/>
              <a:gd name="connsiteY11-132" fmla="*/ 547 h 599179"/>
              <a:gd name="connsiteX12-133" fmla="*/ 207995 w 295275"/>
              <a:gd name="connsiteY12-134" fmla="*/ 0 h 599179"/>
              <a:gd name="connsiteX0-135" fmla="*/ 207995 w 295275"/>
              <a:gd name="connsiteY0-136" fmla="*/ 0 h 599179"/>
              <a:gd name="connsiteX1-137" fmla="*/ 218480 w 295275"/>
              <a:gd name="connsiteY1-138" fmla="*/ 17025 h 599179"/>
              <a:gd name="connsiteX2-139" fmla="*/ 263922 w 295275"/>
              <a:gd name="connsiteY2-140" fmla="*/ 59952 h 599179"/>
              <a:gd name="connsiteX3-141" fmla="*/ 275967 w 295275"/>
              <a:gd name="connsiteY3-142" fmla="*/ 66705 h 599179"/>
              <a:gd name="connsiteX4-143" fmla="*/ 152376 w 295275"/>
              <a:gd name="connsiteY4-144" fmla="*/ 303904 h 599179"/>
              <a:gd name="connsiteX5-145" fmla="*/ 295275 w 295275"/>
              <a:gd name="connsiteY5-146" fmla="*/ 303904 h 599179"/>
              <a:gd name="connsiteX6-147" fmla="*/ 295275 w 295275"/>
              <a:gd name="connsiteY6-148" fmla="*/ 599179 h 599179"/>
              <a:gd name="connsiteX7-149" fmla="*/ 0 w 295275"/>
              <a:gd name="connsiteY7-150" fmla="*/ 599179 h 599179"/>
              <a:gd name="connsiteX8-151" fmla="*/ 0 w 295275"/>
              <a:gd name="connsiteY8-152" fmla="*/ 303904 h 599179"/>
              <a:gd name="connsiteX9-153" fmla="*/ 5952 w 295275"/>
              <a:gd name="connsiteY9-154" fmla="*/ 269304 h 599179"/>
              <a:gd name="connsiteX10-155" fmla="*/ 204540 w 295275"/>
              <a:gd name="connsiteY10-156" fmla="*/ 547 h 599179"/>
              <a:gd name="connsiteX11-157" fmla="*/ 207995 w 295275"/>
              <a:gd name="connsiteY11-158" fmla="*/ 0 h 599179"/>
              <a:gd name="connsiteX0-159" fmla="*/ 207995 w 295275"/>
              <a:gd name="connsiteY0-160" fmla="*/ 0 h 599179"/>
              <a:gd name="connsiteX1-161" fmla="*/ 218480 w 295275"/>
              <a:gd name="connsiteY1-162" fmla="*/ 17025 h 599179"/>
              <a:gd name="connsiteX2-163" fmla="*/ 263922 w 295275"/>
              <a:gd name="connsiteY2-164" fmla="*/ 59952 h 599179"/>
              <a:gd name="connsiteX3-165" fmla="*/ 275967 w 295275"/>
              <a:gd name="connsiteY3-166" fmla="*/ 66705 h 599179"/>
              <a:gd name="connsiteX4-167" fmla="*/ 152376 w 295275"/>
              <a:gd name="connsiteY4-168" fmla="*/ 303904 h 599179"/>
              <a:gd name="connsiteX5-169" fmla="*/ 295275 w 295275"/>
              <a:gd name="connsiteY5-170" fmla="*/ 303904 h 599179"/>
              <a:gd name="connsiteX6-171" fmla="*/ 295275 w 295275"/>
              <a:gd name="connsiteY6-172" fmla="*/ 599179 h 599179"/>
              <a:gd name="connsiteX7-173" fmla="*/ 0 w 295275"/>
              <a:gd name="connsiteY7-174" fmla="*/ 599179 h 599179"/>
              <a:gd name="connsiteX8-175" fmla="*/ 0 w 295275"/>
              <a:gd name="connsiteY8-176" fmla="*/ 303904 h 599179"/>
              <a:gd name="connsiteX9-177" fmla="*/ 5952 w 295275"/>
              <a:gd name="connsiteY9-178" fmla="*/ 269304 h 599179"/>
              <a:gd name="connsiteX10-179" fmla="*/ 204540 w 295275"/>
              <a:gd name="connsiteY10-180" fmla="*/ 547 h 599179"/>
              <a:gd name="connsiteX11-181" fmla="*/ 207995 w 295275"/>
              <a:gd name="connsiteY11-182" fmla="*/ 0 h 599179"/>
              <a:gd name="connsiteX0-183" fmla="*/ 207995 w 295275"/>
              <a:gd name="connsiteY0-184" fmla="*/ 0 h 599179"/>
              <a:gd name="connsiteX1-185" fmla="*/ 218480 w 295275"/>
              <a:gd name="connsiteY1-186" fmla="*/ 17025 h 599179"/>
              <a:gd name="connsiteX2-187" fmla="*/ 263922 w 295275"/>
              <a:gd name="connsiteY2-188" fmla="*/ 59952 h 599179"/>
              <a:gd name="connsiteX3-189" fmla="*/ 275967 w 295275"/>
              <a:gd name="connsiteY3-190" fmla="*/ 66705 h 599179"/>
              <a:gd name="connsiteX4-191" fmla="*/ 152376 w 295275"/>
              <a:gd name="connsiteY4-192" fmla="*/ 303904 h 599179"/>
              <a:gd name="connsiteX5-193" fmla="*/ 295275 w 295275"/>
              <a:gd name="connsiteY5-194" fmla="*/ 303904 h 599179"/>
              <a:gd name="connsiteX6-195" fmla="*/ 295275 w 295275"/>
              <a:gd name="connsiteY6-196" fmla="*/ 599179 h 599179"/>
              <a:gd name="connsiteX7-197" fmla="*/ 0 w 295275"/>
              <a:gd name="connsiteY7-198" fmla="*/ 599179 h 599179"/>
              <a:gd name="connsiteX8-199" fmla="*/ 0 w 295275"/>
              <a:gd name="connsiteY8-200" fmla="*/ 303904 h 599179"/>
              <a:gd name="connsiteX9-201" fmla="*/ 5952 w 295275"/>
              <a:gd name="connsiteY9-202" fmla="*/ 269304 h 599179"/>
              <a:gd name="connsiteX10-203" fmla="*/ 204540 w 295275"/>
              <a:gd name="connsiteY10-204" fmla="*/ 547 h 599179"/>
              <a:gd name="connsiteX11-205" fmla="*/ 207995 w 295275"/>
              <a:gd name="connsiteY11-206" fmla="*/ 0 h 599179"/>
              <a:gd name="connsiteX0-207" fmla="*/ 207995 w 295275"/>
              <a:gd name="connsiteY0-208" fmla="*/ 0 h 599179"/>
              <a:gd name="connsiteX1-209" fmla="*/ 218480 w 295275"/>
              <a:gd name="connsiteY1-210" fmla="*/ 17025 h 599179"/>
              <a:gd name="connsiteX2-211" fmla="*/ 263922 w 295275"/>
              <a:gd name="connsiteY2-212" fmla="*/ 59952 h 599179"/>
              <a:gd name="connsiteX3-213" fmla="*/ 275967 w 295275"/>
              <a:gd name="connsiteY3-214" fmla="*/ 66705 h 599179"/>
              <a:gd name="connsiteX4-215" fmla="*/ 152376 w 295275"/>
              <a:gd name="connsiteY4-216" fmla="*/ 303904 h 599179"/>
              <a:gd name="connsiteX5-217" fmla="*/ 295275 w 295275"/>
              <a:gd name="connsiteY5-218" fmla="*/ 303904 h 599179"/>
              <a:gd name="connsiteX6-219" fmla="*/ 295275 w 295275"/>
              <a:gd name="connsiteY6-220" fmla="*/ 599179 h 599179"/>
              <a:gd name="connsiteX7-221" fmla="*/ 0 w 295275"/>
              <a:gd name="connsiteY7-222" fmla="*/ 599179 h 599179"/>
              <a:gd name="connsiteX8-223" fmla="*/ 0 w 295275"/>
              <a:gd name="connsiteY8-224" fmla="*/ 303904 h 599179"/>
              <a:gd name="connsiteX9-225" fmla="*/ 5952 w 295275"/>
              <a:gd name="connsiteY9-226" fmla="*/ 269304 h 599179"/>
              <a:gd name="connsiteX10-227" fmla="*/ 204540 w 295275"/>
              <a:gd name="connsiteY10-228" fmla="*/ 547 h 599179"/>
              <a:gd name="connsiteX11-229" fmla="*/ 207995 w 295275"/>
              <a:gd name="connsiteY11-230" fmla="*/ 0 h 599179"/>
              <a:gd name="connsiteX0-231" fmla="*/ 207995 w 295275"/>
              <a:gd name="connsiteY0-232" fmla="*/ 0 h 599179"/>
              <a:gd name="connsiteX1-233" fmla="*/ 218480 w 295275"/>
              <a:gd name="connsiteY1-234" fmla="*/ 17025 h 599179"/>
              <a:gd name="connsiteX2-235" fmla="*/ 263922 w 295275"/>
              <a:gd name="connsiteY2-236" fmla="*/ 59952 h 599179"/>
              <a:gd name="connsiteX3-237" fmla="*/ 275967 w 295275"/>
              <a:gd name="connsiteY3-238" fmla="*/ 66705 h 599179"/>
              <a:gd name="connsiteX4-239" fmla="*/ 152376 w 295275"/>
              <a:gd name="connsiteY4-240" fmla="*/ 303904 h 599179"/>
              <a:gd name="connsiteX5-241" fmla="*/ 295275 w 295275"/>
              <a:gd name="connsiteY5-242" fmla="*/ 303904 h 599179"/>
              <a:gd name="connsiteX6-243" fmla="*/ 295275 w 295275"/>
              <a:gd name="connsiteY6-244" fmla="*/ 599179 h 599179"/>
              <a:gd name="connsiteX7-245" fmla="*/ 0 w 295275"/>
              <a:gd name="connsiteY7-246" fmla="*/ 599179 h 599179"/>
              <a:gd name="connsiteX8-247" fmla="*/ 0 w 295275"/>
              <a:gd name="connsiteY8-248" fmla="*/ 303904 h 599179"/>
              <a:gd name="connsiteX9-249" fmla="*/ 204540 w 295275"/>
              <a:gd name="connsiteY9-250" fmla="*/ 547 h 599179"/>
              <a:gd name="connsiteX10-251" fmla="*/ 207995 w 295275"/>
              <a:gd name="connsiteY10-252" fmla="*/ 0 h 599179"/>
              <a:gd name="connsiteX0-253" fmla="*/ 207995 w 295275"/>
              <a:gd name="connsiteY0-254" fmla="*/ 0 h 599179"/>
              <a:gd name="connsiteX1-255" fmla="*/ 218480 w 295275"/>
              <a:gd name="connsiteY1-256" fmla="*/ 17025 h 599179"/>
              <a:gd name="connsiteX2-257" fmla="*/ 263922 w 295275"/>
              <a:gd name="connsiteY2-258" fmla="*/ 59952 h 599179"/>
              <a:gd name="connsiteX3-259" fmla="*/ 275967 w 295275"/>
              <a:gd name="connsiteY3-260" fmla="*/ 66705 h 599179"/>
              <a:gd name="connsiteX4-261" fmla="*/ 152376 w 295275"/>
              <a:gd name="connsiteY4-262" fmla="*/ 303904 h 599179"/>
              <a:gd name="connsiteX5-263" fmla="*/ 295275 w 295275"/>
              <a:gd name="connsiteY5-264" fmla="*/ 303904 h 599179"/>
              <a:gd name="connsiteX6-265" fmla="*/ 295275 w 295275"/>
              <a:gd name="connsiteY6-266" fmla="*/ 599179 h 599179"/>
              <a:gd name="connsiteX7-267" fmla="*/ 0 w 295275"/>
              <a:gd name="connsiteY7-268" fmla="*/ 599179 h 599179"/>
              <a:gd name="connsiteX8-269" fmla="*/ 0 w 295275"/>
              <a:gd name="connsiteY8-270" fmla="*/ 303904 h 599179"/>
              <a:gd name="connsiteX9-271" fmla="*/ 204540 w 295275"/>
              <a:gd name="connsiteY9-272" fmla="*/ 547 h 599179"/>
              <a:gd name="connsiteX10-273" fmla="*/ 207995 w 295275"/>
              <a:gd name="connsiteY10-274" fmla="*/ 0 h 599179"/>
              <a:gd name="connsiteX0-275" fmla="*/ 207995 w 295275"/>
              <a:gd name="connsiteY0-276" fmla="*/ 0 h 599179"/>
              <a:gd name="connsiteX1-277" fmla="*/ 218480 w 295275"/>
              <a:gd name="connsiteY1-278" fmla="*/ 17025 h 599179"/>
              <a:gd name="connsiteX2-279" fmla="*/ 263922 w 295275"/>
              <a:gd name="connsiteY2-280" fmla="*/ 59952 h 599179"/>
              <a:gd name="connsiteX3-281" fmla="*/ 275967 w 295275"/>
              <a:gd name="connsiteY3-282" fmla="*/ 66705 h 599179"/>
              <a:gd name="connsiteX4-283" fmla="*/ 152376 w 295275"/>
              <a:gd name="connsiteY4-284" fmla="*/ 303904 h 599179"/>
              <a:gd name="connsiteX5-285" fmla="*/ 295275 w 295275"/>
              <a:gd name="connsiteY5-286" fmla="*/ 303904 h 599179"/>
              <a:gd name="connsiteX6-287" fmla="*/ 295275 w 295275"/>
              <a:gd name="connsiteY6-288" fmla="*/ 599179 h 599179"/>
              <a:gd name="connsiteX7-289" fmla="*/ 0 w 295275"/>
              <a:gd name="connsiteY7-290" fmla="*/ 599179 h 599179"/>
              <a:gd name="connsiteX8-291" fmla="*/ 0 w 295275"/>
              <a:gd name="connsiteY8-292" fmla="*/ 303904 h 599179"/>
              <a:gd name="connsiteX9-293" fmla="*/ 207995 w 295275"/>
              <a:gd name="connsiteY9-294" fmla="*/ 0 h 599179"/>
              <a:gd name="connsiteX0-295" fmla="*/ 207995 w 295275"/>
              <a:gd name="connsiteY0-296" fmla="*/ 0 h 599179"/>
              <a:gd name="connsiteX1-297" fmla="*/ 218480 w 295275"/>
              <a:gd name="connsiteY1-298" fmla="*/ 17025 h 599179"/>
              <a:gd name="connsiteX2-299" fmla="*/ 263922 w 295275"/>
              <a:gd name="connsiteY2-300" fmla="*/ 59952 h 599179"/>
              <a:gd name="connsiteX3-301" fmla="*/ 275967 w 295275"/>
              <a:gd name="connsiteY3-302" fmla="*/ 66705 h 599179"/>
              <a:gd name="connsiteX4-303" fmla="*/ 152376 w 295275"/>
              <a:gd name="connsiteY4-304" fmla="*/ 303904 h 599179"/>
              <a:gd name="connsiteX5-305" fmla="*/ 295275 w 295275"/>
              <a:gd name="connsiteY5-306" fmla="*/ 303904 h 599179"/>
              <a:gd name="connsiteX6-307" fmla="*/ 295275 w 295275"/>
              <a:gd name="connsiteY6-308" fmla="*/ 599179 h 599179"/>
              <a:gd name="connsiteX7-309" fmla="*/ 0 w 295275"/>
              <a:gd name="connsiteY7-310" fmla="*/ 599179 h 599179"/>
              <a:gd name="connsiteX8-311" fmla="*/ 0 w 295275"/>
              <a:gd name="connsiteY8-312" fmla="*/ 303904 h 599179"/>
              <a:gd name="connsiteX9-313" fmla="*/ 207995 w 295275"/>
              <a:gd name="connsiteY9-314" fmla="*/ 0 h 599179"/>
              <a:gd name="connsiteX0-315" fmla="*/ 207995 w 295275"/>
              <a:gd name="connsiteY0-316" fmla="*/ 0 h 599179"/>
              <a:gd name="connsiteX1-317" fmla="*/ 218480 w 295275"/>
              <a:gd name="connsiteY1-318" fmla="*/ 17025 h 599179"/>
              <a:gd name="connsiteX2-319" fmla="*/ 263922 w 295275"/>
              <a:gd name="connsiteY2-320" fmla="*/ 59952 h 599179"/>
              <a:gd name="connsiteX3-321" fmla="*/ 275967 w 295275"/>
              <a:gd name="connsiteY3-322" fmla="*/ 66705 h 599179"/>
              <a:gd name="connsiteX4-323" fmla="*/ 152376 w 295275"/>
              <a:gd name="connsiteY4-324" fmla="*/ 303904 h 599179"/>
              <a:gd name="connsiteX5-325" fmla="*/ 295275 w 295275"/>
              <a:gd name="connsiteY5-326" fmla="*/ 303904 h 599179"/>
              <a:gd name="connsiteX6-327" fmla="*/ 295275 w 295275"/>
              <a:gd name="connsiteY6-328" fmla="*/ 599179 h 599179"/>
              <a:gd name="connsiteX7-329" fmla="*/ 0 w 295275"/>
              <a:gd name="connsiteY7-330" fmla="*/ 599179 h 599179"/>
              <a:gd name="connsiteX8-331" fmla="*/ 0 w 295275"/>
              <a:gd name="connsiteY8-332" fmla="*/ 303904 h 599179"/>
              <a:gd name="connsiteX9-333" fmla="*/ 207995 w 295275"/>
              <a:gd name="connsiteY9-334" fmla="*/ 0 h 599179"/>
              <a:gd name="connsiteX0-335" fmla="*/ 207995 w 295275"/>
              <a:gd name="connsiteY0-336" fmla="*/ 0 h 599179"/>
              <a:gd name="connsiteX1-337" fmla="*/ 218480 w 295275"/>
              <a:gd name="connsiteY1-338" fmla="*/ 17025 h 599179"/>
              <a:gd name="connsiteX2-339" fmla="*/ 263922 w 295275"/>
              <a:gd name="connsiteY2-340" fmla="*/ 59952 h 599179"/>
              <a:gd name="connsiteX3-341" fmla="*/ 275967 w 295275"/>
              <a:gd name="connsiteY3-342" fmla="*/ 66705 h 599179"/>
              <a:gd name="connsiteX4-343" fmla="*/ 152376 w 295275"/>
              <a:gd name="connsiteY4-344" fmla="*/ 303904 h 599179"/>
              <a:gd name="connsiteX5-345" fmla="*/ 295275 w 295275"/>
              <a:gd name="connsiteY5-346" fmla="*/ 303904 h 599179"/>
              <a:gd name="connsiteX6-347" fmla="*/ 295275 w 295275"/>
              <a:gd name="connsiteY6-348" fmla="*/ 599179 h 599179"/>
              <a:gd name="connsiteX7-349" fmla="*/ 0 w 295275"/>
              <a:gd name="connsiteY7-350" fmla="*/ 599179 h 599179"/>
              <a:gd name="connsiteX8-351" fmla="*/ 0 w 295275"/>
              <a:gd name="connsiteY8-352" fmla="*/ 303904 h 599179"/>
              <a:gd name="connsiteX9-353" fmla="*/ 207995 w 295275"/>
              <a:gd name="connsiteY9-354" fmla="*/ 0 h 599179"/>
              <a:gd name="connsiteX0-355" fmla="*/ 207995 w 295275"/>
              <a:gd name="connsiteY0-356" fmla="*/ 0 h 599179"/>
              <a:gd name="connsiteX1-357" fmla="*/ 218480 w 295275"/>
              <a:gd name="connsiteY1-358" fmla="*/ 17025 h 599179"/>
              <a:gd name="connsiteX2-359" fmla="*/ 263922 w 295275"/>
              <a:gd name="connsiteY2-360" fmla="*/ 59952 h 599179"/>
              <a:gd name="connsiteX3-361" fmla="*/ 275967 w 295275"/>
              <a:gd name="connsiteY3-362" fmla="*/ 66705 h 599179"/>
              <a:gd name="connsiteX4-363" fmla="*/ 152376 w 295275"/>
              <a:gd name="connsiteY4-364" fmla="*/ 303904 h 599179"/>
              <a:gd name="connsiteX5-365" fmla="*/ 295275 w 295275"/>
              <a:gd name="connsiteY5-366" fmla="*/ 303904 h 599179"/>
              <a:gd name="connsiteX6-367" fmla="*/ 295275 w 295275"/>
              <a:gd name="connsiteY6-368" fmla="*/ 599179 h 599179"/>
              <a:gd name="connsiteX7-369" fmla="*/ 0 w 295275"/>
              <a:gd name="connsiteY7-370" fmla="*/ 599179 h 599179"/>
              <a:gd name="connsiteX8-371" fmla="*/ 0 w 295275"/>
              <a:gd name="connsiteY8-372" fmla="*/ 303904 h 599179"/>
              <a:gd name="connsiteX9-373" fmla="*/ 207995 w 295275"/>
              <a:gd name="connsiteY9-374" fmla="*/ 0 h 599179"/>
              <a:gd name="connsiteX0-375" fmla="*/ 207995 w 295275"/>
              <a:gd name="connsiteY0-376" fmla="*/ 0 h 599179"/>
              <a:gd name="connsiteX1-377" fmla="*/ 218480 w 295275"/>
              <a:gd name="connsiteY1-378" fmla="*/ 17025 h 599179"/>
              <a:gd name="connsiteX2-379" fmla="*/ 263922 w 295275"/>
              <a:gd name="connsiteY2-380" fmla="*/ 59952 h 599179"/>
              <a:gd name="connsiteX3-381" fmla="*/ 275967 w 295275"/>
              <a:gd name="connsiteY3-382" fmla="*/ 66705 h 599179"/>
              <a:gd name="connsiteX4-383" fmla="*/ 152376 w 295275"/>
              <a:gd name="connsiteY4-384" fmla="*/ 303904 h 599179"/>
              <a:gd name="connsiteX5-385" fmla="*/ 295275 w 295275"/>
              <a:gd name="connsiteY5-386" fmla="*/ 303904 h 599179"/>
              <a:gd name="connsiteX6-387" fmla="*/ 295275 w 295275"/>
              <a:gd name="connsiteY6-388" fmla="*/ 599179 h 599179"/>
              <a:gd name="connsiteX7-389" fmla="*/ 0 w 295275"/>
              <a:gd name="connsiteY7-390" fmla="*/ 599179 h 599179"/>
              <a:gd name="connsiteX8-391" fmla="*/ 0 w 295275"/>
              <a:gd name="connsiteY8-392" fmla="*/ 303904 h 599179"/>
              <a:gd name="connsiteX9-393" fmla="*/ 207995 w 295275"/>
              <a:gd name="connsiteY9-394" fmla="*/ 0 h 599179"/>
              <a:gd name="connsiteX0-395" fmla="*/ 207995 w 295275"/>
              <a:gd name="connsiteY0-396" fmla="*/ 0 h 599179"/>
              <a:gd name="connsiteX1-397" fmla="*/ 218480 w 295275"/>
              <a:gd name="connsiteY1-398" fmla="*/ 17025 h 599179"/>
              <a:gd name="connsiteX2-399" fmla="*/ 263922 w 295275"/>
              <a:gd name="connsiteY2-400" fmla="*/ 59952 h 599179"/>
              <a:gd name="connsiteX3-401" fmla="*/ 275967 w 295275"/>
              <a:gd name="connsiteY3-402" fmla="*/ 66705 h 599179"/>
              <a:gd name="connsiteX4-403" fmla="*/ 152376 w 295275"/>
              <a:gd name="connsiteY4-404" fmla="*/ 303904 h 599179"/>
              <a:gd name="connsiteX5-405" fmla="*/ 295275 w 295275"/>
              <a:gd name="connsiteY5-406" fmla="*/ 303904 h 599179"/>
              <a:gd name="connsiteX6-407" fmla="*/ 295275 w 295275"/>
              <a:gd name="connsiteY6-408" fmla="*/ 599179 h 599179"/>
              <a:gd name="connsiteX7-409" fmla="*/ 0 w 295275"/>
              <a:gd name="connsiteY7-410" fmla="*/ 599179 h 599179"/>
              <a:gd name="connsiteX8-411" fmla="*/ 0 w 295275"/>
              <a:gd name="connsiteY8-412" fmla="*/ 303904 h 599179"/>
              <a:gd name="connsiteX9-413" fmla="*/ 207995 w 295275"/>
              <a:gd name="connsiteY9-414" fmla="*/ 0 h 599179"/>
              <a:gd name="connsiteX0-415" fmla="*/ 207995 w 295275"/>
              <a:gd name="connsiteY0-416" fmla="*/ 0 h 599179"/>
              <a:gd name="connsiteX1-417" fmla="*/ 218480 w 295275"/>
              <a:gd name="connsiteY1-418" fmla="*/ 17025 h 599179"/>
              <a:gd name="connsiteX2-419" fmla="*/ 263922 w 295275"/>
              <a:gd name="connsiteY2-420" fmla="*/ 59952 h 599179"/>
              <a:gd name="connsiteX3-421" fmla="*/ 275967 w 295275"/>
              <a:gd name="connsiteY3-422" fmla="*/ 66705 h 599179"/>
              <a:gd name="connsiteX4-423" fmla="*/ 152376 w 295275"/>
              <a:gd name="connsiteY4-424" fmla="*/ 303904 h 599179"/>
              <a:gd name="connsiteX5-425" fmla="*/ 295275 w 295275"/>
              <a:gd name="connsiteY5-426" fmla="*/ 303904 h 599179"/>
              <a:gd name="connsiteX6-427" fmla="*/ 295275 w 295275"/>
              <a:gd name="connsiteY6-428" fmla="*/ 599179 h 599179"/>
              <a:gd name="connsiteX7-429" fmla="*/ 0 w 295275"/>
              <a:gd name="connsiteY7-430" fmla="*/ 599179 h 599179"/>
              <a:gd name="connsiteX8-431" fmla="*/ 0 w 295275"/>
              <a:gd name="connsiteY8-432" fmla="*/ 334942 h 599179"/>
              <a:gd name="connsiteX9-433" fmla="*/ 207995 w 295275"/>
              <a:gd name="connsiteY9-434" fmla="*/ 0 h 599179"/>
              <a:gd name="connsiteX0-435" fmla="*/ 207995 w 295275"/>
              <a:gd name="connsiteY0-436" fmla="*/ 0 h 599179"/>
              <a:gd name="connsiteX1-437" fmla="*/ 218480 w 295275"/>
              <a:gd name="connsiteY1-438" fmla="*/ 17025 h 599179"/>
              <a:gd name="connsiteX2-439" fmla="*/ 263922 w 295275"/>
              <a:gd name="connsiteY2-440" fmla="*/ 59952 h 599179"/>
              <a:gd name="connsiteX3-441" fmla="*/ 275967 w 295275"/>
              <a:gd name="connsiteY3-442" fmla="*/ 66705 h 599179"/>
              <a:gd name="connsiteX4-443" fmla="*/ 152376 w 295275"/>
              <a:gd name="connsiteY4-444" fmla="*/ 303904 h 599179"/>
              <a:gd name="connsiteX5-445" fmla="*/ 295275 w 295275"/>
              <a:gd name="connsiteY5-446" fmla="*/ 303904 h 599179"/>
              <a:gd name="connsiteX6-447" fmla="*/ 295275 w 295275"/>
              <a:gd name="connsiteY6-448" fmla="*/ 599179 h 599179"/>
              <a:gd name="connsiteX7-449" fmla="*/ 0 w 295275"/>
              <a:gd name="connsiteY7-450" fmla="*/ 599179 h 599179"/>
              <a:gd name="connsiteX8-451" fmla="*/ 0 w 295275"/>
              <a:gd name="connsiteY8-452" fmla="*/ 334942 h 599179"/>
              <a:gd name="connsiteX9-453" fmla="*/ 207995 w 295275"/>
              <a:gd name="connsiteY9-454" fmla="*/ 0 h 599179"/>
              <a:gd name="connsiteX0-455" fmla="*/ 207995 w 295275"/>
              <a:gd name="connsiteY0-456" fmla="*/ 0 h 599179"/>
              <a:gd name="connsiteX1-457" fmla="*/ 218480 w 295275"/>
              <a:gd name="connsiteY1-458" fmla="*/ 17025 h 599179"/>
              <a:gd name="connsiteX2-459" fmla="*/ 263922 w 295275"/>
              <a:gd name="connsiteY2-460" fmla="*/ 59952 h 599179"/>
              <a:gd name="connsiteX3-461" fmla="*/ 275967 w 295275"/>
              <a:gd name="connsiteY3-462" fmla="*/ 66705 h 599179"/>
              <a:gd name="connsiteX4-463" fmla="*/ 152376 w 295275"/>
              <a:gd name="connsiteY4-464" fmla="*/ 303904 h 599179"/>
              <a:gd name="connsiteX5-465" fmla="*/ 295275 w 295275"/>
              <a:gd name="connsiteY5-466" fmla="*/ 303904 h 599179"/>
              <a:gd name="connsiteX6-467" fmla="*/ 295275 w 295275"/>
              <a:gd name="connsiteY6-468" fmla="*/ 599179 h 599179"/>
              <a:gd name="connsiteX7-469" fmla="*/ 0 w 295275"/>
              <a:gd name="connsiteY7-470" fmla="*/ 599179 h 599179"/>
              <a:gd name="connsiteX8-471" fmla="*/ 0 w 295275"/>
              <a:gd name="connsiteY8-472" fmla="*/ 334942 h 599179"/>
              <a:gd name="connsiteX9-473" fmla="*/ 207995 w 295275"/>
              <a:gd name="connsiteY9-474" fmla="*/ 0 h 599179"/>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Lst>
            <a:rect l="l" t="t" r="r" b="b"/>
            <a:pathLst>
              <a:path w="295275" h="599179">
                <a:moveTo>
                  <a:pt x="207995" y="0"/>
                </a:moveTo>
                <a:lnTo>
                  <a:pt x="218480" y="17025"/>
                </a:lnTo>
                <a:cubicBezTo>
                  <a:pt x="231034" y="32364"/>
                  <a:pt x="246314" y="46986"/>
                  <a:pt x="263922" y="59952"/>
                </a:cubicBezTo>
                <a:lnTo>
                  <a:pt x="275967" y="66705"/>
                </a:lnTo>
                <a:cubicBezTo>
                  <a:pt x="274744" y="66607"/>
                  <a:pt x="166924" y="148026"/>
                  <a:pt x="152376" y="303904"/>
                </a:cubicBezTo>
                <a:lnTo>
                  <a:pt x="295275" y="303904"/>
                </a:lnTo>
                <a:lnTo>
                  <a:pt x="295275" y="599179"/>
                </a:lnTo>
                <a:lnTo>
                  <a:pt x="0" y="599179"/>
                </a:lnTo>
                <a:lnTo>
                  <a:pt x="0" y="334942"/>
                </a:lnTo>
                <a:cubicBezTo>
                  <a:pt x="10368" y="113589"/>
                  <a:pt x="207637" y="2353"/>
                  <a:pt x="207995" y="0"/>
                </a:cubicBezTo>
                <a:close/>
              </a:path>
            </a:pathLst>
          </a:custGeom>
          <a:noFill/>
          <a:ln w="38100" cap="rnd">
            <a:solidFill>
              <a:schemeClr val="tx1">
                <a:lumMod val="75000"/>
                <a:lumOff val="2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4" name="TextBox 21"/>
          <p:cNvSpPr txBox="1"/>
          <p:nvPr/>
        </p:nvSpPr>
        <p:spPr>
          <a:xfrm>
            <a:off x="6884035" y="3912870"/>
            <a:ext cx="4386580" cy="1568450"/>
          </a:xfrm>
          <a:prstGeom prst="rect">
            <a:avLst/>
          </a:prstGeom>
          <a:noFill/>
        </p:spPr>
        <p:txBody>
          <a:bodyPr wrap="square" rtlCol="0">
            <a:spAutoFit/>
          </a:bodyPr>
          <a:p>
            <a:pPr indent="0" fontAlgn="ctr">
              <a:spcBef>
                <a:spcPts val="1000"/>
              </a:spcBef>
              <a:spcAft>
                <a:spcPts val="0"/>
              </a:spcAft>
              <a:buClr>
                <a:schemeClr val="accent2"/>
              </a:buClr>
              <a:buSzPct val="100000"/>
              <a:buFont typeface="WPS-Bullets" pitchFamily="2" charset="0"/>
              <a:buNone/>
            </a:pPr>
            <a:r>
              <a:rPr lang="en-US" altLang="zh-CN" sz="1600" dirty="0">
                <a:solidFill>
                  <a:schemeClr val="tx1">
                    <a:lumMod val="75000"/>
                    <a:lumOff val="25000"/>
                  </a:schemeClr>
                </a:solidFill>
                <a:latin typeface="Arial" panose="020B0604020202020204" pitchFamily="34" charset="0"/>
                <a:ea typeface="微软雅黑" panose="020B0503020204020204" charset="-122"/>
                <a:sym typeface="+mn-ea"/>
              </a:rPr>
              <a:t>上述代码中将视图容器分为10份，font-size用十分之一的宽度来表示，最后在header标签中执行这段代码，就可以动态定义font-size的大小，从而1rem在不同的视觉容器中表示不同的大小，用rem固定单位可以实现不同容器内布局的自适应。</a:t>
            </a:r>
            <a:endParaRPr lang="en-US" altLang="zh-CN" sz="1600" dirty="0">
              <a:solidFill>
                <a:prstClr val="black">
                  <a:lumMod val="65000"/>
                  <a:lumOff val="35000"/>
                </a:prstClr>
              </a:solidFill>
              <a:latin typeface="微软雅黑 Light" panose="020B0502040204020203" pitchFamily="34" charset="-122"/>
              <a:ea typeface="微软雅黑 Light" panose="020B0502040204020203" pitchFamily="34" charset="-122"/>
              <a:cs typeface="Open Sans" panose="020B0606030504020204" pitchFamily="34" charset="0"/>
            </a:endParaRPr>
          </a:p>
        </p:txBody>
      </p:sp>
    </p:spTree>
    <p:custDataLst>
      <p:tags r:id="rId74"/>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5" name="矩形 14"/>
          <p:cNvSpPr/>
          <p:nvPr>
            <p:custDataLst>
              <p:tags r:id="rId1"/>
            </p:custDataLst>
          </p:nvPr>
        </p:nvSpPr>
        <p:spPr>
          <a:xfrm>
            <a:off x="1524000" y="857250"/>
            <a:ext cx="9144000" cy="5143500"/>
          </a:xfrm>
          <a:prstGeom prst="rect">
            <a:avLst/>
          </a:prstGeom>
          <a:pattFill prst="smCheck">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r>
              <a:rPr kumimoji="1" lang="en-US" altLang="zh-CN" sz="1200" b="1" strike="noStrike" noProof="1" dirty="0">
                <a:solidFill>
                  <a:schemeClr val="bg1"/>
                </a:solidFill>
                <a:latin typeface="微软雅黑" panose="020B0503020204020204" charset="-122"/>
                <a:ea typeface="微软雅黑" panose="020B0503020204020204" charset="-122"/>
              </a:rPr>
              <a:t>·</a:t>
            </a:r>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5" name="矩形 4"/>
          <p:cNvSpPr/>
          <p:nvPr>
            <p:custDataLst>
              <p:tags r:id="rId2"/>
            </p:custDataLst>
          </p:nvPr>
        </p:nvSpPr>
        <p:spPr>
          <a:xfrm>
            <a:off x="2025650" y="1484313"/>
            <a:ext cx="7435850" cy="4175125"/>
          </a:xfrm>
          <a:prstGeom prst="rect">
            <a:avLst/>
          </a:prstGeom>
          <a:solidFill>
            <a:schemeClr val="bg1">
              <a:lumMod val="85000"/>
              <a:alpha val="50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6" name="矩形 5"/>
          <p:cNvSpPr/>
          <p:nvPr>
            <p:custDataLst>
              <p:tags r:id="rId3"/>
            </p:custDataLst>
          </p:nvPr>
        </p:nvSpPr>
        <p:spPr>
          <a:xfrm>
            <a:off x="2025650" y="1144588"/>
            <a:ext cx="228600" cy="228600"/>
          </a:xfrm>
          <a:prstGeom prst="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微软雅黑" panose="020B0503020204020204" charset="-122"/>
              <a:ea typeface="微软雅黑" panose="020B0503020204020204" charset="-122"/>
            </a:endParaRPr>
          </a:p>
        </p:txBody>
      </p:sp>
      <p:sp>
        <p:nvSpPr>
          <p:cNvPr id="7" name="矩形 6"/>
          <p:cNvSpPr/>
          <p:nvPr>
            <p:custDataLst>
              <p:tags r:id="rId4"/>
            </p:custDataLst>
          </p:nvPr>
        </p:nvSpPr>
        <p:spPr>
          <a:xfrm>
            <a:off x="2478088" y="1149350"/>
            <a:ext cx="7440613" cy="4175125"/>
          </a:xfrm>
          <a:prstGeom prst="rect">
            <a:avLst/>
          </a:prstGeom>
          <a:no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10" name="文本框 9"/>
          <p:cNvSpPr txBox="1"/>
          <p:nvPr>
            <p:custDataLst>
              <p:tags r:id="rId5"/>
            </p:custDataLst>
          </p:nvPr>
        </p:nvSpPr>
        <p:spPr>
          <a:xfrm>
            <a:off x="2863850" y="1585913"/>
            <a:ext cx="5324475" cy="468313"/>
          </a:xfrm>
          <a:prstGeom prst="rect">
            <a:avLst/>
          </a:prstGeom>
          <a:noFill/>
        </p:spPr>
        <p:txBody>
          <a:bodyPr wrap="square" lIns="76200" tIns="28575" rIns="47625" bIns="28575" rtlCol="0">
            <a:noAutofit/>
          </a:bodyPr>
          <a:lstStyle/>
          <a:p>
            <a:r>
              <a:rPr sz="2700" b="1" spc="300" noProof="1" dirty="0">
                <a:solidFill>
                  <a:schemeClr val="tx1">
                    <a:lumMod val="75000"/>
                    <a:lumOff val="25000"/>
                  </a:schemeClr>
                </a:solidFill>
                <a:latin typeface="微软雅黑" panose="020B0503020204020204" charset="-122"/>
                <a:ea typeface="微软雅黑" panose="020B0503020204020204" charset="-122"/>
                <a:cs typeface="+mn-cs"/>
              </a:rPr>
              <a:t>HTML 标签</a:t>
            </a:r>
            <a:endParaRPr sz="2700" b="1" spc="300" noProof="1" dirty="0">
              <a:solidFill>
                <a:schemeClr val="tx1">
                  <a:lumMod val="75000"/>
                  <a:lumOff val="25000"/>
                </a:schemeClr>
              </a:solidFill>
              <a:latin typeface="微软雅黑" panose="020B0503020204020204" charset="-122"/>
              <a:ea typeface="微软雅黑" panose="020B0503020204020204" charset="-122"/>
              <a:cs typeface="+mn-cs"/>
            </a:endParaRPr>
          </a:p>
        </p:txBody>
      </p:sp>
      <p:sp>
        <p:nvSpPr>
          <p:cNvPr id="9" name="矩形 8"/>
          <p:cNvSpPr/>
          <p:nvPr>
            <p:custDataLst>
              <p:tags r:id="rId6"/>
            </p:custDataLst>
          </p:nvPr>
        </p:nvSpPr>
        <p:spPr>
          <a:xfrm>
            <a:off x="10082213" y="3416300"/>
            <a:ext cx="146050" cy="1908175"/>
          </a:xfrm>
          <a:prstGeom prst="rect">
            <a:avLst/>
          </a:prstGeom>
          <a:solidFill>
            <a:schemeClr val="accent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微软雅黑" panose="020B0503020204020204" charset="-122"/>
              <a:ea typeface="微软雅黑" panose="020B0503020204020204" charset="-122"/>
            </a:endParaRPr>
          </a:p>
        </p:txBody>
      </p:sp>
      <p:sp>
        <p:nvSpPr>
          <p:cNvPr id="17" name="任意多边形: 形状 16"/>
          <p:cNvSpPr/>
          <p:nvPr>
            <p:custDataLst>
              <p:tags r:id="rId7"/>
            </p:custDataLst>
          </p:nvPr>
        </p:nvSpPr>
        <p:spPr>
          <a:xfrm rot="10800000">
            <a:off x="8872538" y="1882775"/>
            <a:ext cx="255588" cy="311150"/>
          </a:xfrm>
          <a:custGeom>
            <a:avLst/>
            <a:gdLst>
              <a:gd name="connsiteX0" fmla="*/ 174788 w 340237"/>
              <a:gd name="connsiteY0" fmla="*/ 0 h 415819"/>
              <a:gd name="connsiteX1" fmla="*/ 340237 w 340237"/>
              <a:gd name="connsiteY1" fmla="*/ 0 h 415819"/>
              <a:gd name="connsiteX2" fmla="*/ 241322 w 340237"/>
              <a:gd name="connsiteY2" fmla="*/ 415819 h 415819"/>
              <a:gd name="connsiteX3" fmla="*/ 0 w 340237"/>
              <a:gd name="connsiteY3" fmla="*/ 415819 h 415819"/>
            </a:gdLst>
            <a:ahLst/>
            <a:cxnLst>
              <a:cxn ang="0">
                <a:pos x="connsiteX0" y="connsiteY0"/>
              </a:cxn>
              <a:cxn ang="0">
                <a:pos x="connsiteX1" y="connsiteY1"/>
              </a:cxn>
              <a:cxn ang="0">
                <a:pos x="connsiteX2" y="connsiteY2"/>
              </a:cxn>
              <a:cxn ang="0">
                <a:pos x="connsiteX3" y="connsiteY3"/>
              </a:cxn>
            </a:cxnLst>
            <a:rect l="l" t="t" r="r" b="b"/>
            <a:pathLst>
              <a:path w="340237" h="415819">
                <a:moveTo>
                  <a:pt x="174788" y="0"/>
                </a:moveTo>
                <a:lnTo>
                  <a:pt x="340237" y="0"/>
                </a:lnTo>
                <a:lnTo>
                  <a:pt x="241322" y="415819"/>
                </a:lnTo>
                <a:lnTo>
                  <a:pt x="0" y="415819"/>
                </a:lnTo>
                <a:close/>
              </a:path>
            </a:pathLst>
          </a:cu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endParaRPr lang="zh-CN" altLang="en-US" sz="1350" strike="noStrike" noProof="1">
              <a:ea typeface="微软雅黑" panose="020B0503020204020204" charset="-122"/>
            </a:endParaRPr>
          </a:p>
        </p:txBody>
      </p:sp>
      <p:sp>
        <p:nvSpPr>
          <p:cNvPr id="18" name="任意多边形: 形状 17"/>
          <p:cNvSpPr/>
          <p:nvPr>
            <p:custDataLst>
              <p:tags r:id="rId8"/>
            </p:custDataLst>
          </p:nvPr>
        </p:nvSpPr>
        <p:spPr>
          <a:xfrm rot="10800000">
            <a:off x="8586788" y="1882775"/>
            <a:ext cx="255588" cy="311150"/>
          </a:xfrm>
          <a:custGeom>
            <a:avLst/>
            <a:gdLst>
              <a:gd name="connsiteX0" fmla="*/ 174788 w 340237"/>
              <a:gd name="connsiteY0" fmla="*/ 0 h 415819"/>
              <a:gd name="connsiteX1" fmla="*/ 340237 w 340237"/>
              <a:gd name="connsiteY1" fmla="*/ 0 h 415819"/>
              <a:gd name="connsiteX2" fmla="*/ 241322 w 340237"/>
              <a:gd name="connsiteY2" fmla="*/ 415819 h 415819"/>
              <a:gd name="connsiteX3" fmla="*/ 0 w 340237"/>
              <a:gd name="connsiteY3" fmla="*/ 415819 h 415819"/>
            </a:gdLst>
            <a:ahLst/>
            <a:cxnLst>
              <a:cxn ang="0">
                <a:pos x="connsiteX0" y="connsiteY0"/>
              </a:cxn>
              <a:cxn ang="0">
                <a:pos x="connsiteX1" y="connsiteY1"/>
              </a:cxn>
              <a:cxn ang="0">
                <a:pos x="connsiteX2" y="connsiteY2"/>
              </a:cxn>
              <a:cxn ang="0">
                <a:pos x="connsiteX3" y="connsiteY3"/>
              </a:cxn>
            </a:cxnLst>
            <a:rect l="l" t="t" r="r" b="b"/>
            <a:pathLst>
              <a:path w="340237" h="415819">
                <a:moveTo>
                  <a:pt x="174788" y="0"/>
                </a:moveTo>
                <a:lnTo>
                  <a:pt x="340237" y="0"/>
                </a:lnTo>
                <a:lnTo>
                  <a:pt x="241322" y="415819"/>
                </a:lnTo>
                <a:lnTo>
                  <a:pt x="0" y="415819"/>
                </a:lnTo>
                <a:close/>
              </a:path>
            </a:pathLst>
          </a:cu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endParaRPr lang="zh-CN" altLang="en-US" sz="1350" strike="noStrike" noProof="1">
              <a:ea typeface="微软雅黑" panose="020B0503020204020204" charset="-122"/>
            </a:endParaRPr>
          </a:p>
        </p:txBody>
      </p:sp>
      <p:sp>
        <p:nvSpPr>
          <p:cNvPr id="2" name="TextBox 21"/>
          <p:cNvSpPr txBox="1"/>
          <p:nvPr/>
        </p:nvSpPr>
        <p:spPr>
          <a:xfrm>
            <a:off x="2991485" y="1909445"/>
            <a:ext cx="6209030" cy="2306955"/>
          </a:xfrm>
          <a:prstGeom prst="rect">
            <a:avLst/>
          </a:prstGeom>
          <a:noFill/>
        </p:spPr>
        <p:txBody>
          <a:bodyPr wrap="square" rtlCol="0">
            <a:spAutoFit/>
          </a:bodyPr>
          <a:p>
            <a:pPr lvl="0">
              <a:lnSpc>
                <a:spcPct val="150000"/>
              </a:lnSpc>
              <a:defRPr/>
            </a:pPr>
            <a:r>
              <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rPr>
              <a:t>HTML 标记标签通常被称为 HTML 标签 (HTML tag)。</a:t>
            </a:r>
            <a:endPar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endParaRPr>
          </a:p>
          <a:p>
            <a:pPr lvl="0">
              <a:lnSpc>
                <a:spcPct val="150000"/>
              </a:lnSpc>
              <a:defRPr/>
            </a:pPr>
            <a:endPar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endParaRPr>
          </a:p>
          <a:p>
            <a:pPr lvl="0">
              <a:lnSpc>
                <a:spcPct val="150000"/>
              </a:lnSpc>
              <a:defRPr/>
            </a:pPr>
            <a:r>
              <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rPr>
              <a:t>HTML 标签是由尖括号包围的关键词，比如 &lt;html&gt;</a:t>
            </a:r>
            <a:endPar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endParaRPr>
          </a:p>
          <a:p>
            <a:pPr lvl="0">
              <a:lnSpc>
                <a:spcPct val="150000"/>
              </a:lnSpc>
              <a:defRPr/>
            </a:pPr>
            <a:r>
              <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rPr>
              <a:t>HTML 标签通常是成对出现的，比如 &lt;b&gt; 和 &lt;/b&gt;</a:t>
            </a:r>
            <a:endPar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endParaRPr>
          </a:p>
          <a:p>
            <a:pPr lvl="0">
              <a:lnSpc>
                <a:spcPct val="150000"/>
              </a:lnSpc>
              <a:defRPr/>
            </a:pPr>
            <a:r>
              <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rPr>
              <a:t>标签对中的第一个标签是开始标签，第二个标签是结束标签</a:t>
            </a:r>
            <a:endPar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endParaRPr>
          </a:p>
          <a:p>
            <a:pPr lvl="0">
              <a:lnSpc>
                <a:spcPct val="150000"/>
              </a:lnSpc>
              <a:defRPr/>
            </a:pPr>
            <a:r>
              <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rPr>
              <a:t>开始和结束标签也被称为开放标签和闭合标签</a:t>
            </a:r>
            <a:endPar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endParaRPr>
          </a:p>
        </p:txBody>
      </p:sp>
    </p:spTree>
    <p:custDataLst>
      <p:tags r:id="rId9"/>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 name="矩形 5"/>
          <p:cNvSpPr/>
          <p:nvPr>
            <p:custDataLst>
              <p:tags r:id="rId1"/>
            </p:custDataLst>
          </p:nvPr>
        </p:nvSpPr>
        <p:spPr>
          <a:xfrm>
            <a:off x="5219700" y="1595438"/>
            <a:ext cx="4424363" cy="3667125"/>
          </a:xfrm>
          <a:prstGeom prst="rect">
            <a:avLst/>
          </a:prstGeom>
          <a:noFill/>
          <a:ln>
            <a:solidFill>
              <a:srgbClr val="FFFFFF">
                <a:lumMod val="85000"/>
              </a:srgbClr>
            </a:solidFill>
          </a:ln>
        </p:spPr>
        <p:style>
          <a:lnRef idx="2">
            <a:srgbClr val="1E6BC5">
              <a:shade val="50000"/>
            </a:srgbClr>
          </a:lnRef>
          <a:fillRef idx="1">
            <a:srgbClr val="1E6BC5"/>
          </a:fillRef>
          <a:effectRef idx="0">
            <a:srgbClr val="1E6BC5"/>
          </a:effectRef>
          <a:fontRef idx="minor">
            <a:srgbClr val="FFFFFF"/>
          </a:fontRef>
        </p:style>
        <p:txBody>
          <a:bodyPr rtlCol="0" anchor="ctr"/>
          <a:p>
            <a:pPr algn="ctr" fontAlgn="base"/>
            <a:endParaRPr lang="zh-CN" altLang="en-US" sz="1350" strike="noStrike" noProof="1"/>
          </a:p>
        </p:txBody>
      </p:sp>
      <p:sp>
        <p:nvSpPr>
          <p:cNvPr id="8" name="矩形 7"/>
          <p:cNvSpPr/>
          <p:nvPr>
            <p:custDataLst>
              <p:tags r:id="rId2"/>
            </p:custDataLst>
          </p:nvPr>
        </p:nvSpPr>
        <p:spPr>
          <a:xfrm>
            <a:off x="1955800" y="1371600"/>
            <a:ext cx="4114800" cy="4114800"/>
          </a:xfrm>
          <a:prstGeom prst="rect">
            <a:avLst/>
          </a:prstGeom>
          <a:pattFill prst="dkUpDiag">
            <a:fgClr>
              <a:srgbClr val="FFFFFF">
                <a:lumMod val="85000"/>
              </a:srgbClr>
            </a:fgClr>
            <a:bgClr>
              <a:srgbClr val="FFFFFF">
                <a:lumMod val="75000"/>
              </a:srgbClr>
            </a:bgClr>
          </a:pattFill>
          <a:ln>
            <a:noFill/>
          </a:ln>
        </p:spPr>
        <p:style>
          <a:lnRef idx="2">
            <a:srgbClr val="1E6BC5">
              <a:shade val="50000"/>
            </a:srgbClr>
          </a:lnRef>
          <a:fillRef idx="1">
            <a:srgbClr val="1E6BC5"/>
          </a:fillRef>
          <a:effectRef idx="0">
            <a:srgbClr val="1E6BC5"/>
          </a:effectRef>
          <a:fontRef idx="minor">
            <a:srgbClr val="FFFFFF"/>
          </a:fontRef>
        </p:style>
        <p:txBody>
          <a:bodyPr rtlCol="0" anchor="ctr"/>
          <a:p>
            <a:pPr algn="ctr" fontAlgn="base"/>
            <a:endParaRPr lang="zh-CN" altLang="en-US" sz="1350" strike="noStrike" noProof="1"/>
          </a:p>
        </p:txBody>
      </p:sp>
      <p:sp>
        <p:nvSpPr>
          <p:cNvPr id="10" name="矩形 9"/>
          <p:cNvSpPr/>
          <p:nvPr>
            <p:custDataLst>
              <p:tags r:id="rId3"/>
            </p:custDataLst>
          </p:nvPr>
        </p:nvSpPr>
        <p:spPr>
          <a:xfrm>
            <a:off x="3149600" y="1736725"/>
            <a:ext cx="6296025" cy="3384550"/>
          </a:xfrm>
          <a:prstGeom prst="rect">
            <a:avLst/>
          </a:prstGeom>
          <a:solidFill>
            <a:srgbClr val="FFFFFF">
              <a:lumMod val="95000"/>
              <a:alpha val="94000"/>
            </a:srgbClr>
          </a:solidFill>
          <a:ln>
            <a:noFill/>
          </a:ln>
        </p:spPr>
        <p:style>
          <a:lnRef idx="2">
            <a:srgbClr val="1E6BC5">
              <a:shade val="50000"/>
            </a:srgbClr>
          </a:lnRef>
          <a:fillRef idx="1">
            <a:srgbClr val="1E6BC5"/>
          </a:fillRef>
          <a:effectRef idx="0">
            <a:srgbClr val="1E6BC5"/>
          </a:effectRef>
          <a:fontRef idx="minor">
            <a:srgbClr val="FFFFFF"/>
          </a:fontRef>
        </p:style>
        <p:txBody>
          <a:bodyPr rtlCol="0" anchor="ctr"/>
          <a:p>
            <a:pPr algn="ctr" fontAlgn="base"/>
            <a:endParaRPr lang="zh-CN" altLang="en-US" sz="1350" strike="noStrike" noProof="1"/>
          </a:p>
        </p:txBody>
      </p:sp>
      <p:sp>
        <p:nvSpPr>
          <p:cNvPr id="12" name="矩形 11"/>
          <p:cNvSpPr/>
          <p:nvPr>
            <p:custDataLst>
              <p:tags r:id="rId4"/>
            </p:custDataLst>
          </p:nvPr>
        </p:nvSpPr>
        <p:spPr>
          <a:xfrm>
            <a:off x="9545638" y="1501775"/>
            <a:ext cx="196850" cy="196850"/>
          </a:xfrm>
          <a:prstGeom prst="rect">
            <a:avLst/>
          </a:prstGeom>
          <a:solidFill>
            <a:srgbClr val="E7E6E6">
              <a:lumMod val="75000"/>
            </a:srgbClr>
          </a:solidFill>
          <a:ln>
            <a:noFill/>
          </a:ln>
        </p:spPr>
        <p:style>
          <a:lnRef idx="2">
            <a:srgbClr val="1E6BC5">
              <a:shade val="50000"/>
            </a:srgbClr>
          </a:lnRef>
          <a:fillRef idx="1">
            <a:srgbClr val="1E6BC5"/>
          </a:fillRef>
          <a:effectRef idx="0">
            <a:srgbClr val="1E6BC5"/>
          </a:effectRef>
          <a:fontRef idx="minor">
            <a:srgbClr val="FFFFFF"/>
          </a:fontRef>
        </p:style>
        <p:txBody>
          <a:bodyPr rtlCol="0" anchor="ctr"/>
          <a:p>
            <a:pPr algn="ctr" fontAlgn="base"/>
            <a:endParaRPr lang="zh-CN" altLang="en-US" sz="1350" strike="noStrike" noProof="1"/>
          </a:p>
        </p:txBody>
      </p:sp>
      <p:sp>
        <p:nvSpPr>
          <p:cNvPr id="13" name="文本框 12"/>
          <p:cNvSpPr txBox="1"/>
          <p:nvPr>
            <p:custDataLst>
              <p:tags r:id="rId5"/>
            </p:custDataLst>
          </p:nvPr>
        </p:nvSpPr>
        <p:spPr>
          <a:xfrm>
            <a:off x="3737610" y="2667000"/>
            <a:ext cx="5583555" cy="2402840"/>
          </a:xfrm>
          <a:prstGeom prst="rect">
            <a:avLst/>
          </a:prstGeom>
          <a:noFill/>
        </p:spPr>
        <p:txBody>
          <a:bodyPr wrap="square" lIns="76200" tIns="0" rIns="61912" bIns="0" rtlCol="0">
            <a:noAutofit/>
          </a:bodyPr>
          <a:lstStyle>
            <a:defPPr>
              <a:defRPr lang="zh-CN"/>
            </a:defPPr>
            <a:lvl1pPr fontAlgn="auto">
              <a:lnSpc>
                <a:spcPct val="130000"/>
              </a:lnSpc>
              <a:spcAft>
                <a:spcPts val="1000"/>
              </a:spcAft>
              <a:defRPr sz="1600" spc="150"/>
            </a:lvl1pPr>
          </a:lstStyle>
          <a:p>
            <a:pPr marL="360045" indent="-360045" algn="l" fontAlgn="ctr">
              <a:lnSpc>
                <a:spcPct val="130000"/>
              </a:lnSpc>
              <a:spcBef>
                <a:spcPts val="1000"/>
              </a:spcBef>
              <a:spcAft>
                <a:spcPts val="0"/>
              </a:spcAft>
              <a:buSzPct val="100000"/>
              <a:buFont typeface="WPS-Bullets" pitchFamily="2" charset="0"/>
              <a:buChar char=""/>
            </a:pPr>
            <a:r>
              <a:rPr lang="zh-CN" altLang="en-US" sz="1200" b="1" strike="noStrike" noProof="1" dirty="0">
                <a:solidFill>
                  <a:srgbClr val="000000">
                    <a:lumMod val="75000"/>
                    <a:lumOff val="25000"/>
                  </a:srgbClr>
                </a:solidFill>
                <a:uFillTx/>
                <a:latin typeface="Arial" panose="020B0604020202020204" pitchFamily="34" charset="0"/>
                <a:ea typeface="微软雅黑" panose="020B0503020204020204" charset="-122"/>
                <a:cs typeface="+mn-cs"/>
              </a:rPr>
              <a:t>通过rem单位，可以实现响应式的布局，特别是引入相应的postcss相关插件，免去了设计稿中的px到rem的计算。rem单位在国外的一些网站也有使用，这里所说的rem来实现布局的缺点，或者说是小缺陷是：</a:t>
            </a:r>
            <a:endParaRPr lang="zh-CN" altLang="en-US" sz="1200" b="1" strike="noStrike" noProof="1" dirty="0">
              <a:solidFill>
                <a:srgbClr val="000000">
                  <a:lumMod val="75000"/>
                  <a:lumOff val="25000"/>
                </a:srgbClr>
              </a:solidFill>
              <a:uFillTx/>
              <a:latin typeface="Arial" panose="020B0604020202020204" pitchFamily="34" charset="0"/>
              <a:ea typeface="微软雅黑" panose="020B0503020204020204" charset="-122"/>
              <a:cs typeface="+mn-cs"/>
            </a:endParaRPr>
          </a:p>
          <a:p>
            <a:pPr marL="360045" indent="-360045" algn="l" fontAlgn="ctr">
              <a:lnSpc>
                <a:spcPct val="130000"/>
              </a:lnSpc>
              <a:spcBef>
                <a:spcPts val="1000"/>
              </a:spcBef>
              <a:spcAft>
                <a:spcPts val="0"/>
              </a:spcAft>
              <a:buSzPct val="100000"/>
              <a:buFont typeface="WPS-Bullets" pitchFamily="2" charset="0"/>
              <a:buChar char=""/>
            </a:pPr>
            <a:r>
              <a:rPr lang="zh-CN" altLang="en-US" sz="1200" b="1" strike="noStrike" noProof="1" dirty="0">
                <a:solidFill>
                  <a:srgbClr val="000000">
                    <a:lumMod val="75000"/>
                    <a:lumOff val="25000"/>
                  </a:srgbClr>
                </a:solidFill>
                <a:uFillTx/>
                <a:latin typeface="Arial" panose="020B0604020202020204" pitchFamily="34" charset="0"/>
                <a:ea typeface="微软雅黑" panose="020B0503020204020204" charset="-122"/>
                <a:cs typeface="+mn-cs"/>
              </a:rPr>
              <a:t>在响应式布局中，必须通过js来动态控制根元素font-size的大小。</a:t>
            </a:r>
            <a:endParaRPr lang="zh-CN" altLang="en-US" sz="1200" b="1" strike="noStrike" noProof="1" dirty="0">
              <a:solidFill>
                <a:srgbClr val="000000">
                  <a:lumMod val="75000"/>
                  <a:lumOff val="25000"/>
                </a:srgbClr>
              </a:solidFill>
              <a:uFillTx/>
              <a:latin typeface="Arial" panose="020B0604020202020204" pitchFamily="34" charset="0"/>
              <a:ea typeface="微软雅黑" panose="020B0503020204020204" charset="-122"/>
              <a:cs typeface="+mn-cs"/>
            </a:endParaRPr>
          </a:p>
          <a:p>
            <a:pPr marL="360045" indent="-360045" algn="l" fontAlgn="ctr">
              <a:lnSpc>
                <a:spcPct val="130000"/>
              </a:lnSpc>
              <a:spcBef>
                <a:spcPts val="1000"/>
              </a:spcBef>
              <a:spcAft>
                <a:spcPts val="0"/>
              </a:spcAft>
              <a:buSzPct val="100000"/>
              <a:buFont typeface="WPS-Bullets" pitchFamily="2" charset="0"/>
              <a:buChar char=""/>
            </a:pPr>
            <a:r>
              <a:rPr lang="zh-CN" altLang="en-US" sz="1200" b="1" strike="noStrike" noProof="1" dirty="0">
                <a:solidFill>
                  <a:srgbClr val="000000">
                    <a:lumMod val="75000"/>
                    <a:lumOff val="25000"/>
                  </a:srgbClr>
                </a:solidFill>
                <a:uFillTx/>
                <a:latin typeface="Arial" panose="020B0604020202020204" pitchFamily="34" charset="0"/>
                <a:ea typeface="微软雅黑" panose="020B0503020204020204" charset="-122"/>
                <a:cs typeface="+mn-cs"/>
              </a:rPr>
              <a:t>也就是说css样式和js代码有一定的耦合性。且必须将改变font-size的代码放在css样式之前。</a:t>
            </a:r>
            <a:endParaRPr lang="zh-CN" altLang="en-US" sz="1200" b="1" strike="noStrike" noProof="1" dirty="0">
              <a:solidFill>
                <a:srgbClr val="000000">
                  <a:lumMod val="75000"/>
                  <a:lumOff val="25000"/>
                </a:srgbClr>
              </a:solidFill>
              <a:uFillTx/>
              <a:latin typeface="Arial" panose="020B0604020202020204" pitchFamily="34" charset="0"/>
              <a:ea typeface="微软雅黑" panose="020B0503020204020204" charset="-122"/>
              <a:cs typeface="+mn-cs"/>
            </a:endParaRPr>
          </a:p>
        </p:txBody>
      </p:sp>
      <p:sp>
        <p:nvSpPr>
          <p:cNvPr id="14" name="文本框 13"/>
          <p:cNvSpPr txBox="1"/>
          <p:nvPr>
            <p:custDataLst>
              <p:tags r:id="rId6"/>
            </p:custDataLst>
          </p:nvPr>
        </p:nvSpPr>
        <p:spPr>
          <a:xfrm>
            <a:off x="3797300" y="2193925"/>
            <a:ext cx="5324475" cy="473075"/>
          </a:xfrm>
          <a:prstGeom prst="rect">
            <a:avLst/>
          </a:prstGeom>
          <a:noFill/>
        </p:spPr>
        <p:txBody>
          <a:bodyPr wrap="none" lIns="76200" tIns="28575" rIns="47625" bIns="28575" rtlCol="0">
            <a:noAutofit/>
          </a:bodyPr>
          <a:lstStyle/>
          <a:p>
            <a:pPr algn="l">
              <a:spcBef>
                <a:spcPts val="0"/>
              </a:spcBef>
              <a:spcAft>
                <a:spcPts val="0"/>
              </a:spcAft>
            </a:pPr>
            <a:r>
              <a:rPr lang="zh-CN" altLang="en-US" sz="2700" b="1" spc="300" noProof="1" dirty="0">
                <a:solidFill>
                  <a:srgbClr val="000000">
                    <a:lumMod val="75000"/>
                    <a:lumOff val="25000"/>
                  </a:srgbClr>
                </a:solidFill>
                <a:latin typeface="Arial" panose="020B0604020202020204" pitchFamily="34" charset="0"/>
                <a:ea typeface="微软雅黑" panose="020B0503020204020204" charset="-122"/>
              </a:rPr>
              <a:t>rem 布局的缺点</a:t>
            </a:r>
            <a:endParaRPr lang="zh-CN" altLang="en-US" sz="2700" b="1" spc="300" noProof="1" dirty="0">
              <a:solidFill>
                <a:srgbClr val="000000">
                  <a:lumMod val="75000"/>
                  <a:lumOff val="25000"/>
                </a:srgbClr>
              </a:solidFill>
              <a:latin typeface="Arial" panose="020B0604020202020204" pitchFamily="34" charset="0"/>
              <a:ea typeface="微软雅黑" panose="020B0503020204020204" charset="-122"/>
            </a:endParaRPr>
          </a:p>
        </p:txBody>
      </p:sp>
    </p:spTree>
    <p:custDataLst>
      <p:tags r:id="rId7"/>
    </p:custData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5" name="矩形 14"/>
          <p:cNvSpPr/>
          <p:nvPr>
            <p:custDataLst>
              <p:tags r:id="rId1"/>
            </p:custDataLst>
          </p:nvPr>
        </p:nvSpPr>
        <p:spPr>
          <a:xfrm>
            <a:off x="1524000" y="857250"/>
            <a:ext cx="9144000" cy="5143500"/>
          </a:xfrm>
          <a:prstGeom prst="rect">
            <a:avLst/>
          </a:prstGeom>
          <a:pattFill prst="smCheck">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r>
              <a:rPr kumimoji="1" lang="en-US" altLang="zh-CN" sz="1200" b="1" strike="noStrike" noProof="1" dirty="0">
                <a:solidFill>
                  <a:schemeClr val="bg1"/>
                </a:solidFill>
                <a:latin typeface="微软雅黑" panose="020B0503020204020204" charset="-122"/>
                <a:ea typeface="微软雅黑" panose="020B0503020204020204" charset="-122"/>
              </a:rPr>
              <a:t>·</a:t>
            </a:r>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5" name="矩形 4"/>
          <p:cNvSpPr/>
          <p:nvPr>
            <p:custDataLst>
              <p:tags r:id="rId2"/>
            </p:custDataLst>
          </p:nvPr>
        </p:nvSpPr>
        <p:spPr>
          <a:xfrm>
            <a:off x="2025650" y="1484313"/>
            <a:ext cx="7435850" cy="4175125"/>
          </a:xfrm>
          <a:prstGeom prst="rect">
            <a:avLst/>
          </a:prstGeom>
          <a:solidFill>
            <a:schemeClr val="bg1">
              <a:lumMod val="85000"/>
              <a:alpha val="50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6" name="矩形 5"/>
          <p:cNvSpPr/>
          <p:nvPr>
            <p:custDataLst>
              <p:tags r:id="rId3"/>
            </p:custDataLst>
          </p:nvPr>
        </p:nvSpPr>
        <p:spPr>
          <a:xfrm>
            <a:off x="2025650" y="1144588"/>
            <a:ext cx="228600" cy="228600"/>
          </a:xfrm>
          <a:prstGeom prst="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微软雅黑" panose="020B0503020204020204" charset="-122"/>
              <a:ea typeface="微软雅黑" panose="020B0503020204020204" charset="-122"/>
            </a:endParaRPr>
          </a:p>
        </p:txBody>
      </p:sp>
      <p:sp>
        <p:nvSpPr>
          <p:cNvPr id="7" name="矩形 6"/>
          <p:cNvSpPr/>
          <p:nvPr>
            <p:custDataLst>
              <p:tags r:id="rId4"/>
            </p:custDataLst>
          </p:nvPr>
        </p:nvSpPr>
        <p:spPr>
          <a:xfrm>
            <a:off x="2253615" y="1031240"/>
            <a:ext cx="8324850" cy="5282565"/>
          </a:xfrm>
          <a:prstGeom prst="rect">
            <a:avLst/>
          </a:prstGeom>
          <a:no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10" name="文本框 9"/>
          <p:cNvSpPr txBox="1"/>
          <p:nvPr>
            <p:custDataLst>
              <p:tags r:id="rId5"/>
            </p:custDataLst>
          </p:nvPr>
        </p:nvSpPr>
        <p:spPr>
          <a:xfrm>
            <a:off x="2797175" y="1567815"/>
            <a:ext cx="6939915" cy="468630"/>
          </a:xfrm>
          <a:prstGeom prst="rect">
            <a:avLst/>
          </a:prstGeom>
          <a:noFill/>
        </p:spPr>
        <p:txBody>
          <a:bodyPr wrap="square" lIns="76200" tIns="28575" rIns="47625" bIns="28575" rtlCol="0">
            <a:noAutofit/>
          </a:bodyPr>
          <a:lstStyle/>
          <a:p>
            <a:r>
              <a:rPr lang="zh-CN" altLang="en-US" sz="2700" b="1" spc="300" noProof="1" dirty="0">
                <a:solidFill>
                  <a:schemeClr val="tx1">
                    <a:lumMod val="75000"/>
                    <a:lumOff val="25000"/>
                  </a:schemeClr>
                </a:solidFill>
                <a:latin typeface="微软雅黑" panose="020B0503020204020204" charset="-122"/>
                <a:ea typeface="微软雅黑" panose="020B0503020204020204" charset="-122"/>
                <a:cs typeface="+mn-cs"/>
              </a:rPr>
              <a:t>方法四：</a:t>
            </a:r>
            <a:r>
              <a:rPr lang="en-US" sz="2700" b="1" spc="300" noProof="1" dirty="0">
                <a:solidFill>
                  <a:schemeClr val="tx1">
                    <a:lumMod val="75000"/>
                    <a:lumOff val="25000"/>
                  </a:schemeClr>
                </a:solidFill>
                <a:latin typeface="微软雅黑" panose="020B0503020204020204" charset="-122"/>
                <a:ea typeface="微软雅黑" panose="020B0503020204020204" charset="-122"/>
                <a:cs typeface="+mn-cs"/>
              </a:rPr>
              <a:t>通过vw/vh来实现自适应</a:t>
            </a:r>
            <a:endParaRPr lang="en-US" sz="2700" b="1" spc="300" noProof="1" dirty="0">
              <a:solidFill>
                <a:schemeClr val="tx1">
                  <a:lumMod val="75000"/>
                  <a:lumOff val="25000"/>
                </a:schemeClr>
              </a:solidFill>
              <a:latin typeface="微软雅黑" panose="020B0503020204020204" charset="-122"/>
              <a:ea typeface="微软雅黑" panose="020B0503020204020204" charset="-122"/>
              <a:cs typeface="+mn-cs"/>
            </a:endParaRPr>
          </a:p>
        </p:txBody>
      </p:sp>
      <p:sp>
        <p:nvSpPr>
          <p:cNvPr id="9" name="矩形 8"/>
          <p:cNvSpPr/>
          <p:nvPr>
            <p:custDataLst>
              <p:tags r:id="rId6"/>
            </p:custDataLst>
          </p:nvPr>
        </p:nvSpPr>
        <p:spPr>
          <a:xfrm>
            <a:off x="10082213" y="3416300"/>
            <a:ext cx="146050" cy="1908175"/>
          </a:xfrm>
          <a:prstGeom prst="rect">
            <a:avLst/>
          </a:prstGeom>
          <a:solidFill>
            <a:schemeClr val="accent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微软雅黑" panose="020B0503020204020204" charset="-122"/>
              <a:ea typeface="微软雅黑" panose="020B0503020204020204" charset="-122"/>
            </a:endParaRPr>
          </a:p>
        </p:txBody>
      </p:sp>
      <p:sp>
        <p:nvSpPr>
          <p:cNvPr id="17" name="任意多边形: 形状 16"/>
          <p:cNvSpPr/>
          <p:nvPr>
            <p:custDataLst>
              <p:tags r:id="rId7"/>
            </p:custDataLst>
          </p:nvPr>
        </p:nvSpPr>
        <p:spPr>
          <a:xfrm rot="10800000">
            <a:off x="8872538" y="1882775"/>
            <a:ext cx="255588" cy="311150"/>
          </a:xfrm>
          <a:custGeom>
            <a:avLst/>
            <a:gdLst>
              <a:gd name="connsiteX0" fmla="*/ 174788 w 340237"/>
              <a:gd name="connsiteY0" fmla="*/ 0 h 415819"/>
              <a:gd name="connsiteX1" fmla="*/ 340237 w 340237"/>
              <a:gd name="connsiteY1" fmla="*/ 0 h 415819"/>
              <a:gd name="connsiteX2" fmla="*/ 241322 w 340237"/>
              <a:gd name="connsiteY2" fmla="*/ 415819 h 415819"/>
              <a:gd name="connsiteX3" fmla="*/ 0 w 340237"/>
              <a:gd name="connsiteY3" fmla="*/ 415819 h 415819"/>
            </a:gdLst>
            <a:ahLst/>
            <a:cxnLst>
              <a:cxn ang="0">
                <a:pos x="connsiteX0" y="connsiteY0"/>
              </a:cxn>
              <a:cxn ang="0">
                <a:pos x="connsiteX1" y="connsiteY1"/>
              </a:cxn>
              <a:cxn ang="0">
                <a:pos x="connsiteX2" y="connsiteY2"/>
              </a:cxn>
              <a:cxn ang="0">
                <a:pos x="connsiteX3" y="connsiteY3"/>
              </a:cxn>
            </a:cxnLst>
            <a:rect l="l" t="t" r="r" b="b"/>
            <a:pathLst>
              <a:path w="340237" h="415819">
                <a:moveTo>
                  <a:pt x="174788" y="0"/>
                </a:moveTo>
                <a:lnTo>
                  <a:pt x="340237" y="0"/>
                </a:lnTo>
                <a:lnTo>
                  <a:pt x="241322" y="415819"/>
                </a:lnTo>
                <a:lnTo>
                  <a:pt x="0" y="415819"/>
                </a:lnTo>
                <a:close/>
              </a:path>
            </a:pathLst>
          </a:cu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endParaRPr lang="zh-CN" altLang="en-US" sz="1350" strike="noStrike" noProof="1">
              <a:ea typeface="微软雅黑" panose="020B0503020204020204" charset="-122"/>
            </a:endParaRPr>
          </a:p>
        </p:txBody>
      </p:sp>
      <p:sp>
        <p:nvSpPr>
          <p:cNvPr id="18" name="任意多边形: 形状 17"/>
          <p:cNvSpPr/>
          <p:nvPr>
            <p:custDataLst>
              <p:tags r:id="rId8"/>
            </p:custDataLst>
          </p:nvPr>
        </p:nvSpPr>
        <p:spPr>
          <a:xfrm rot="10800000">
            <a:off x="8586788" y="1882775"/>
            <a:ext cx="255588" cy="311150"/>
          </a:xfrm>
          <a:custGeom>
            <a:avLst/>
            <a:gdLst>
              <a:gd name="connsiteX0" fmla="*/ 174788 w 340237"/>
              <a:gd name="connsiteY0" fmla="*/ 0 h 415819"/>
              <a:gd name="connsiteX1" fmla="*/ 340237 w 340237"/>
              <a:gd name="connsiteY1" fmla="*/ 0 h 415819"/>
              <a:gd name="connsiteX2" fmla="*/ 241322 w 340237"/>
              <a:gd name="connsiteY2" fmla="*/ 415819 h 415819"/>
              <a:gd name="connsiteX3" fmla="*/ 0 w 340237"/>
              <a:gd name="connsiteY3" fmla="*/ 415819 h 415819"/>
            </a:gdLst>
            <a:ahLst/>
            <a:cxnLst>
              <a:cxn ang="0">
                <a:pos x="connsiteX0" y="connsiteY0"/>
              </a:cxn>
              <a:cxn ang="0">
                <a:pos x="connsiteX1" y="connsiteY1"/>
              </a:cxn>
              <a:cxn ang="0">
                <a:pos x="connsiteX2" y="connsiteY2"/>
              </a:cxn>
              <a:cxn ang="0">
                <a:pos x="connsiteX3" y="connsiteY3"/>
              </a:cxn>
            </a:cxnLst>
            <a:rect l="l" t="t" r="r" b="b"/>
            <a:pathLst>
              <a:path w="340237" h="415819">
                <a:moveTo>
                  <a:pt x="174788" y="0"/>
                </a:moveTo>
                <a:lnTo>
                  <a:pt x="340237" y="0"/>
                </a:lnTo>
                <a:lnTo>
                  <a:pt x="241322" y="415819"/>
                </a:lnTo>
                <a:lnTo>
                  <a:pt x="0" y="415819"/>
                </a:lnTo>
                <a:close/>
              </a:path>
            </a:pathLst>
          </a:cu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endParaRPr lang="zh-CN" altLang="en-US" sz="1350" strike="noStrike" noProof="1">
              <a:ea typeface="微软雅黑" panose="020B0503020204020204" charset="-122"/>
            </a:endParaRPr>
          </a:p>
        </p:txBody>
      </p:sp>
      <p:sp>
        <p:nvSpPr>
          <p:cNvPr id="2" name="文本框 1"/>
          <p:cNvSpPr txBox="1"/>
          <p:nvPr>
            <p:custDataLst>
              <p:tags r:id="rId9"/>
            </p:custDataLst>
          </p:nvPr>
        </p:nvSpPr>
        <p:spPr>
          <a:xfrm>
            <a:off x="2673985" y="2209800"/>
            <a:ext cx="7832725" cy="2812415"/>
          </a:xfrm>
          <a:prstGeom prst="rect">
            <a:avLst/>
          </a:prstGeom>
          <a:noFill/>
        </p:spPr>
        <p:txBody>
          <a:bodyPr wrap="square" lIns="76200" tIns="0" rIns="61912" bIns="0" rtlCol="0">
            <a:noAutofit/>
          </a:bodyPr>
          <a:lstStyle>
            <a:defPPr>
              <a:defRPr lang="zh-CN"/>
            </a:defPPr>
            <a:lvl1pPr fontAlgn="auto">
              <a:lnSpc>
                <a:spcPct val="130000"/>
              </a:lnSpc>
              <a:spcAft>
                <a:spcPts val="1000"/>
              </a:spcAft>
              <a:defRPr sz="1600" spc="150"/>
            </a:lvl1pPr>
          </a:lstStyle>
          <a:p>
            <a:pPr indent="0" fontAlgn="ctr">
              <a:spcBef>
                <a:spcPts val="1000"/>
              </a:spcBef>
              <a:spcAft>
                <a:spcPts val="0"/>
              </a:spcAft>
              <a:buClr>
                <a:schemeClr val="tx2">
                  <a:lumMod val="75000"/>
                </a:schemeClr>
              </a:buClr>
              <a:buSzPct val="130000"/>
              <a:buFont typeface="WPS-Bullets" pitchFamily="2" charset="0"/>
              <a:buNone/>
            </a:pPr>
            <a:r>
              <a:rPr lang="en-US" altLang="zh-CN" strike="noStrike" spc="150" noProof="1" dirty="0">
                <a:ln/>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  什么是vw/vh ?</a:t>
            </a:r>
            <a:endParaRPr lang="en-US" altLang="zh-CN" strike="noStrike" spc="150" noProof="1" dirty="0">
              <a:ln/>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trike="noStrike" spc="150" noProof="1" dirty="0">
                <a:ln/>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css3中引入了一个新的单位vw/vh，与视图窗口有关，vw表示相对于视图窗口的宽度，vh表示相对于视图窗口高度，除了vw和vh外，还有vmin和vmax两个相关的单位。各个单位具体的含义如下：</a:t>
            </a:r>
            <a:endParaRPr lang="en-US" altLang="zh-CN" strike="noStrike" spc="150" noProof="1" dirty="0">
              <a:ln/>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trike="noStrike" spc="150" noProof="1" dirty="0">
                <a:ln/>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单位	含义</a:t>
            </a:r>
            <a:endParaRPr lang="en-US" altLang="zh-CN" strike="noStrike" spc="150" noProof="1" dirty="0">
              <a:ln/>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trike="noStrike" spc="150" noProof="1" dirty="0">
                <a:ln/>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vw	相对于视窗的宽度，视窗宽度是100vw</a:t>
            </a:r>
            <a:endParaRPr lang="en-US" altLang="zh-CN" strike="noStrike" spc="150" noProof="1" dirty="0">
              <a:ln/>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trike="noStrike" spc="150" noProof="1" dirty="0">
                <a:ln/>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vh	相对于视窗的高度，视窗高度是100vh</a:t>
            </a:r>
            <a:endParaRPr lang="en-US" altLang="zh-CN" strike="noStrike" spc="150" noProof="1" dirty="0">
              <a:ln/>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trike="noStrike" spc="150" noProof="1" dirty="0">
                <a:ln/>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vmin	vw和vh中的较小值</a:t>
            </a:r>
            <a:endParaRPr lang="en-US" altLang="zh-CN" strike="noStrike" spc="150" noProof="1" dirty="0">
              <a:ln/>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trike="noStrike" spc="150" noProof="1" dirty="0">
                <a:ln/>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vmax	vw和vh中的较大值</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p:txBody>
      </p:sp>
    </p:spTree>
    <p:custDataLst>
      <p:tags r:id="rId10"/>
    </p:custData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5" name="矩形 14"/>
          <p:cNvSpPr/>
          <p:nvPr>
            <p:custDataLst>
              <p:tags r:id="rId1"/>
            </p:custDataLst>
          </p:nvPr>
        </p:nvSpPr>
        <p:spPr>
          <a:xfrm>
            <a:off x="1524000" y="857250"/>
            <a:ext cx="9144000" cy="5143500"/>
          </a:xfrm>
          <a:prstGeom prst="rect">
            <a:avLst/>
          </a:prstGeom>
          <a:pattFill prst="smCheck">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r>
              <a:rPr kumimoji="1" lang="en-US" altLang="zh-CN" sz="1200" b="1" strike="noStrike" noProof="1" dirty="0">
                <a:solidFill>
                  <a:schemeClr val="bg1"/>
                </a:solidFill>
                <a:latin typeface="微软雅黑" panose="020B0503020204020204" charset="-122"/>
                <a:ea typeface="微软雅黑" panose="020B0503020204020204" charset="-122"/>
              </a:rPr>
              <a:t>·</a:t>
            </a:r>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5" name="矩形 4"/>
          <p:cNvSpPr/>
          <p:nvPr>
            <p:custDataLst>
              <p:tags r:id="rId2"/>
            </p:custDataLst>
          </p:nvPr>
        </p:nvSpPr>
        <p:spPr>
          <a:xfrm>
            <a:off x="2025650" y="1484313"/>
            <a:ext cx="7435850" cy="4175125"/>
          </a:xfrm>
          <a:prstGeom prst="rect">
            <a:avLst/>
          </a:prstGeom>
          <a:solidFill>
            <a:schemeClr val="bg1">
              <a:lumMod val="85000"/>
              <a:alpha val="50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6" name="矩形 5"/>
          <p:cNvSpPr/>
          <p:nvPr>
            <p:custDataLst>
              <p:tags r:id="rId3"/>
            </p:custDataLst>
          </p:nvPr>
        </p:nvSpPr>
        <p:spPr>
          <a:xfrm>
            <a:off x="2025650" y="1144588"/>
            <a:ext cx="228600" cy="228600"/>
          </a:xfrm>
          <a:prstGeom prst="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微软雅黑" panose="020B0503020204020204" charset="-122"/>
              <a:ea typeface="微软雅黑" panose="020B0503020204020204" charset="-122"/>
            </a:endParaRPr>
          </a:p>
        </p:txBody>
      </p:sp>
      <p:sp>
        <p:nvSpPr>
          <p:cNvPr id="7" name="矩形 6"/>
          <p:cNvSpPr/>
          <p:nvPr>
            <p:custDataLst>
              <p:tags r:id="rId4"/>
            </p:custDataLst>
          </p:nvPr>
        </p:nvSpPr>
        <p:spPr>
          <a:xfrm>
            <a:off x="2478088" y="1149350"/>
            <a:ext cx="7440613" cy="4175125"/>
          </a:xfrm>
          <a:prstGeom prst="rect">
            <a:avLst/>
          </a:prstGeom>
          <a:no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10" name="文本框 9"/>
          <p:cNvSpPr txBox="1"/>
          <p:nvPr>
            <p:custDataLst>
              <p:tags r:id="rId5"/>
            </p:custDataLst>
          </p:nvPr>
        </p:nvSpPr>
        <p:spPr>
          <a:xfrm>
            <a:off x="2797175" y="1567815"/>
            <a:ext cx="6939915" cy="468630"/>
          </a:xfrm>
          <a:prstGeom prst="rect">
            <a:avLst/>
          </a:prstGeom>
          <a:noFill/>
        </p:spPr>
        <p:txBody>
          <a:bodyPr wrap="square" lIns="76200" tIns="28575" rIns="47625" bIns="28575" rtlCol="0">
            <a:noAutofit/>
          </a:bodyPr>
          <a:lstStyle/>
          <a:p>
            <a:r>
              <a:rPr lang="zh-CN" altLang="en-US" sz="2700" b="1" spc="300" noProof="1" dirty="0">
                <a:solidFill>
                  <a:schemeClr val="tx1">
                    <a:lumMod val="75000"/>
                    <a:lumOff val="25000"/>
                  </a:schemeClr>
                </a:solidFill>
                <a:latin typeface="微软雅黑" panose="020B0503020204020204" charset="-122"/>
                <a:ea typeface="微软雅黑" panose="020B0503020204020204" charset="-122"/>
                <a:cs typeface="+mn-cs"/>
              </a:rPr>
              <a:t>对比vw和%</a:t>
            </a:r>
            <a:endParaRPr lang="zh-CN" altLang="en-US" sz="2700" b="1" spc="300" noProof="1" dirty="0">
              <a:solidFill>
                <a:schemeClr val="tx1">
                  <a:lumMod val="75000"/>
                  <a:lumOff val="25000"/>
                </a:schemeClr>
              </a:solidFill>
              <a:latin typeface="微软雅黑" panose="020B0503020204020204" charset="-122"/>
              <a:ea typeface="微软雅黑" panose="020B0503020204020204" charset="-122"/>
              <a:cs typeface="+mn-cs"/>
            </a:endParaRPr>
          </a:p>
        </p:txBody>
      </p:sp>
      <p:sp>
        <p:nvSpPr>
          <p:cNvPr id="9" name="矩形 8"/>
          <p:cNvSpPr/>
          <p:nvPr>
            <p:custDataLst>
              <p:tags r:id="rId6"/>
            </p:custDataLst>
          </p:nvPr>
        </p:nvSpPr>
        <p:spPr>
          <a:xfrm>
            <a:off x="10082213" y="3416300"/>
            <a:ext cx="146050" cy="1908175"/>
          </a:xfrm>
          <a:prstGeom prst="rect">
            <a:avLst/>
          </a:prstGeom>
          <a:solidFill>
            <a:schemeClr val="accent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微软雅黑" panose="020B0503020204020204" charset="-122"/>
              <a:ea typeface="微软雅黑" panose="020B0503020204020204" charset="-122"/>
            </a:endParaRPr>
          </a:p>
        </p:txBody>
      </p:sp>
      <p:sp>
        <p:nvSpPr>
          <p:cNvPr id="17" name="任意多边形: 形状 16"/>
          <p:cNvSpPr/>
          <p:nvPr>
            <p:custDataLst>
              <p:tags r:id="rId7"/>
            </p:custDataLst>
          </p:nvPr>
        </p:nvSpPr>
        <p:spPr>
          <a:xfrm rot="10800000">
            <a:off x="8872538" y="1882775"/>
            <a:ext cx="255588" cy="311150"/>
          </a:xfrm>
          <a:custGeom>
            <a:avLst/>
            <a:gdLst>
              <a:gd name="connsiteX0" fmla="*/ 174788 w 340237"/>
              <a:gd name="connsiteY0" fmla="*/ 0 h 415819"/>
              <a:gd name="connsiteX1" fmla="*/ 340237 w 340237"/>
              <a:gd name="connsiteY1" fmla="*/ 0 h 415819"/>
              <a:gd name="connsiteX2" fmla="*/ 241322 w 340237"/>
              <a:gd name="connsiteY2" fmla="*/ 415819 h 415819"/>
              <a:gd name="connsiteX3" fmla="*/ 0 w 340237"/>
              <a:gd name="connsiteY3" fmla="*/ 415819 h 415819"/>
            </a:gdLst>
            <a:ahLst/>
            <a:cxnLst>
              <a:cxn ang="0">
                <a:pos x="connsiteX0" y="connsiteY0"/>
              </a:cxn>
              <a:cxn ang="0">
                <a:pos x="connsiteX1" y="connsiteY1"/>
              </a:cxn>
              <a:cxn ang="0">
                <a:pos x="connsiteX2" y="connsiteY2"/>
              </a:cxn>
              <a:cxn ang="0">
                <a:pos x="connsiteX3" y="connsiteY3"/>
              </a:cxn>
            </a:cxnLst>
            <a:rect l="l" t="t" r="r" b="b"/>
            <a:pathLst>
              <a:path w="340237" h="415819">
                <a:moveTo>
                  <a:pt x="174788" y="0"/>
                </a:moveTo>
                <a:lnTo>
                  <a:pt x="340237" y="0"/>
                </a:lnTo>
                <a:lnTo>
                  <a:pt x="241322" y="415819"/>
                </a:lnTo>
                <a:lnTo>
                  <a:pt x="0" y="415819"/>
                </a:lnTo>
                <a:close/>
              </a:path>
            </a:pathLst>
          </a:cu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endParaRPr lang="zh-CN" altLang="en-US" sz="1350" strike="noStrike" noProof="1">
              <a:ea typeface="微软雅黑" panose="020B0503020204020204" charset="-122"/>
            </a:endParaRPr>
          </a:p>
        </p:txBody>
      </p:sp>
      <p:sp>
        <p:nvSpPr>
          <p:cNvPr id="18" name="任意多边形: 形状 17"/>
          <p:cNvSpPr/>
          <p:nvPr>
            <p:custDataLst>
              <p:tags r:id="rId8"/>
            </p:custDataLst>
          </p:nvPr>
        </p:nvSpPr>
        <p:spPr>
          <a:xfrm rot="10800000">
            <a:off x="8586788" y="1882775"/>
            <a:ext cx="255588" cy="311150"/>
          </a:xfrm>
          <a:custGeom>
            <a:avLst/>
            <a:gdLst>
              <a:gd name="connsiteX0" fmla="*/ 174788 w 340237"/>
              <a:gd name="connsiteY0" fmla="*/ 0 h 415819"/>
              <a:gd name="connsiteX1" fmla="*/ 340237 w 340237"/>
              <a:gd name="connsiteY1" fmla="*/ 0 h 415819"/>
              <a:gd name="connsiteX2" fmla="*/ 241322 w 340237"/>
              <a:gd name="connsiteY2" fmla="*/ 415819 h 415819"/>
              <a:gd name="connsiteX3" fmla="*/ 0 w 340237"/>
              <a:gd name="connsiteY3" fmla="*/ 415819 h 415819"/>
            </a:gdLst>
            <a:ahLst/>
            <a:cxnLst>
              <a:cxn ang="0">
                <a:pos x="connsiteX0" y="connsiteY0"/>
              </a:cxn>
              <a:cxn ang="0">
                <a:pos x="connsiteX1" y="connsiteY1"/>
              </a:cxn>
              <a:cxn ang="0">
                <a:pos x="connsiteX2" y="connsiteY2"/>
              </a:cxn>
              <a:cxn ang="0">
                <a:pos x="connsiteX3" y="connsiteY3"/>
              </a:cxn>
            </a:cxnLst>
            <a:rect l="l" t="t" r="r" b="b"/>
            <a:pathLst>
              <a:path w="340237" h="415819">
                <a:moveTo>
                  <a:pt x="174788" y="0"/>
                </a:moveTo>
                <a:lnTo>
                  <a:pt x="340237" y="0"/>
                </a:lnTo>
                <a:lnTo>
                  <a:pt x="241322" y="415819"/>
                </a:lnTo>
                <a:lnTo>
                  <a:pt x="0" y="415819"/>
                </a:lnTo>
                <a:close/>
              </a:path>
            </a:pathLst>
          </a:cu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endParaRPr lang="zh-CN" altLang="en-US" sz="1350" strike="noStrike" noProof="1">
              <a:ea typeface="微软雅黑" panose="020B0503020204020204" charset="-122"/>
            </a:endParaRPr>
          </a:p>
        </p:txBody>
      </p:sp>
      <p:sp>
        <p:nvSpPr>
          <p:cNvPr id="2" name="文本框 1"/>
          <p:cNvSpPr txBox="1"/>
          <p:nvPr>
            <p:custDataLst>
              <p:tags r:id="rId9"/>
            </p:custDataLst>
          </p:nvPr>
        </p:nvSpPr>
        <p:spPr>
          <a:xfrm>
            <a:off x="3053715" y="2209800"/>
            <a:ext cx="6407785" cy="2812415"/>
          </a:xfrm>
          <a:prstGeom prst="rect">
            <a:avLst/>
          </a:prstGeom>
          <a:noFill/>
        </p:spPr>
        <p:txBody>
          <a:bodyPr wrap="square" lIns="76200" tIns="0" rIns="61912" bIns="0" rtlCol="0">
            <a:noAutofit/>
          </a:bodyPr>
          <a:lstStyle>
            <a:defPPr>
              <a:defRPr lang="zh-CN"/>
            </a:defPPr>
            <a:lvl1pPr fontAlgn="auto">
              <a:lnSpc>
                <a:spcPct val="130000"/>
              </a:lnSpc>
              <a:spcAft>
                <a:spcPts val="1000"/>
              </a:spcAft>
              <a:defRPr sz="1600" spc="150"/>
            </a:lvl1pPr>
          </a:lstStyle>
          <a:p>
            <a:pPr indent="0" fontAlgn="ctr">
              <a:spcBef>
                <a:spcPts val="1000"/>
              </a:spcBef>
              <a:spcAft>
                <a:spcPts val="0"/>
              </a:spcAft>
              <a:buClr>
                <a:schemeClr val="tx2">
                  <a:lumMod val="75000"/>
                </a:schemeClr>
              </a:buClr>
              <a:buSzPct val="130000"/>
              <a:buFont typeface="WPS-Bullets" pitchFamily="2" charset="0"/>
              <a:buNone/>
            </a:pPr>
            <a:r>
              <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这里我们发现视窗宽高都是100vw／100vh，那么vw或者vh，下简称vw，很类似百分比单位。vw和%的区别为：</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单位	含义</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	大部分相对于祖先元素，也有相对于自身的情况比如（border-radius、translate等)</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vw/vh	相对于视窗的尺寸</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从对比中我们可以发现，vw单位与百分比类似，单确有区别，前面我们介绍了百分比单位的换算困难，这里的vw更像"理想的百分比单位"。任意层级元素，在使用vw单位的情况下，1vw都等于视图宽度的百分之一。</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p:txBody>
      </p:sp>
    </p:spTree>
    <p:custDataLst>
      <p:tags r:id="rId10"/>
    </p:custData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5" name="矩形 14"/>
          <p:cNvSpPr/>
          <p:nvPr>
            <p:custDataLst>
              <p:tags r:id="rId1"/>
            </p:custDataLst>
          </p:nvPr>
        </p:nvSpPr>
        <p:spPr>
          <a:xfrm>
            <a:off x="1524000" y="857250"/>
            <a:ext cx="9144000" cy="5143500"/>
          </a:xfrm>
          <a:prstGeom prst="rect">
            <a:avLst/>
          </a:prstGeom>
          <a:pattFill prst="smCheck">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r>
              <a:rPr kumimoji="1" lang="en-US" altLang="zh-CN" sz="1200" b="1" strike="noStrike" noProof="1" dirty="0">
                <a:solidFill>
                  <a:schemeClr val="bg1"/>
                </a:solidFill>
                <a:latin typeface="微软雅黑" panose="020B0503020204020204" charset="-122"/>
                <a:ea typeface="微软雅黑" panose="020B0503020204020204" charset="-122"/>
              </a:rPr>
              <a:t>·</a:t>
            </a:r>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5" name="矩形 4"/>
          <p:cNvSpPr/>
          <p:nvPr>
            <p:custDataLst>
              <p:tags r:id="rId2"/>
            </p:custDataLst>
          </p:nvPr>
        </p:nvSpPr>
        <p:spPr>
          <a:xfrm>
            <a:off x="2025650" y="1484313"/>
            <a:ext cx="7435850" cy="4175125"/>
          </a:xfrm>
          <a:prstGeom prst="rect">
            <a:avLst/>
          </a:prstGeom>
          <a:solidFill>
            <a:schemeClr val="bg1">
              <a:lumMod val="85000"/>
              <a:alpha val="50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6" name="矩形 5"/>
          <p:cNvSpPr/>
          <p:nvPr>
            <p:custDataLst>
              <p:tags r:id="rId3"/>
            </p:custDataLst>
          </p:nvPr>
        </p:nvSpPr>
        <p:spPr>
          <a:xfrm>
            <a:off x="2025650" y="1144588"/>
            <a:ext cx="228600" cy="228600"/>
          </a:xfrm>
          <a:prstGeom prst="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微软雅黑" panose="020B0503020204020204" charset="-122"/>
              <a:ea typeface="微软雅黑" panose="020B0503020204020204" charset="-122"/>
            </a:endParaRPr>
          </a:p>
        </p:txBody>
      </p:sp>
      <p:sp>
        <p:nvSpPr>
          <p:cNvPr id="7" name="矩形 6"/>
          <p:cNvSpPr/>
          <p:nvPr>
            <p:custDataLst>
              <p:tags r:id="rId4"/>
            </p:custDataLst>
          </p:nvPr>
        </p:nvSpPr>
        <p:spPr>
          <a:xfrm>
            <a:off x="2478088" y="1149350"/>
            <a:ext cx="7440613" cy="4175125"/>
          </a:xfrm>
          <a:prstGeom prst="rect">
            <a:avLst/>
          </a:prstGeom>
          <a:no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10" name="文本框 9"/>
          <p:cNvSpPr txBox="1"/>
          <p:nvPr>
            <p:custDataLst>
              <p:tags r:id="rId5"/>
            </p:custDataLst>
          </p:nvPr>
        </p:nvSpPr>
        <p:spPr>
          <a:xfrm>
            <a:off x="2797175" y="1567815"/>
            <a:ext cx="6939915" cy="468630"/>
          </a:xfrm>
          <a:prstGeom prst="rect">
            <a:avLst/>
          </a:prstGeom>
          <a:noFill/>
        </p:spPr>
        <p:txBody>
          <a:bodyPr wrap="square" lIns="76200" tIns="28575" rIns="47625" bIns="28575" rtlCol="0">
            <a:noAutofit/>
          </a:bodyPr>
          <a:lstStyle/>
          <a:p>
            <a:r>
              <a:rPr lang="en-US" altLang="zh-CN" sz="2700" spc="150" dirty="0">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sym typeface="+mn-ea"/>
              </a:rPr>
              <a:t>vw单位换算</a:t>
            </a:r>
            <a:endParaRPr lang="zh-CN" altLang="en-US" sz="2700" b="1" spc="300" noProof="1" dirty="0">
              <a:solidFill>
                <a:schemeClr val="tx1">
                  <a:lumMod val="75000"/>
                  <a:lumOff val="25000"/>
                </a:schemeClr>
              </a:solidFill>
              <a:latin typeface="微软雅黑" panose="020B0503020204020204" charset="-122"/>
              <a:ea typeface="微软雅黑" panose="020B0503020204020204" charset="-122"/>
              <a:cs typeface="+mn-cs"/>
            </a:endParaRPr>
          </a:p>
        </p:txBody>
      </p:sp>
      <p:sp>
        <p:nvSpPr>
          <p:cNvPr id="9" name="矩形 8"/>
          <p:cNvSpPr/>
          <p:nvPr>
            <p:custDataLst>
              <p:tags r:id="rId6"/>
            </p:custDataLst>
          </p:nvPr>
        </p:nvSpPr>
        <p:spPr>
          <a:xfrm>
            <a:off x="10082213" y="3416300"/>
            <a:ext cx="146050" cy="1908175"/>
          </a:xfrm>
          <a:prstGeom prst="rect">
            <a:avLst/>
          </a:prstGeom>
          <a:solidFill>
            <a:schemeClr val="accent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微软雅黑" panose="020B0503020204020204" charset="-122"/>
              <a:ea typeface="微软雅黑" panose="020B0503020204020204" charset="-122"/>
            </a:endParaRPr>
          </a:p>
        </p:txBody>
      </p:sp>
      <p:sp>
        <p:nvSpPr>
          <p:cNvPr id="17" name="任意多边形: 形状 16"/>
          <p:cNvSpPr/>
          <p:nvPr>
            <p:custDataLst>
              <p:tags r:id="rId7"/>
            </p:custDataLst>
          </p:nvPr>
        </p:nvSpPr>
        <p:spPr>
          <a:xfrm rot="10800000">
            <a:off x="8872538" y="1882775"/>
            <a:ext cx="255588" cy="311150"/>
          </a:xfrm>
          <a:custGeom>
            <a:avLst/>
            <a:gdLst>
              <a:gd name="connsiteX0" fmla="*/ 174788 w 340237"/>
              <a:gd name="connsiteY0" fmla="*/ 0 h 415819"/>
              <a:gd name="connsiteX1" fmla="*/ 340237 w 340237"/>
              <a:gd name="connsiteY1" fmla="*/ 0 h 415819"/>
              <a:gd name="connsiteX2" fmla="*/ 241322 w 340237"/>
              <a:gd name="connsiteY2" fmla="*/ 415819 h 415819"/>
              <a:gd name="connsiteX3" fmla="*/ 0 w 340237"/>
              <a:gd name="connsiteY3" fmla="*/ 415819 h 415819"/>
            </a:gdLst>
            <a:ahLst/>
            <a:cxnLst>
              <a:cxn ang="0">
                <a:pos x="connsiteX0" y="connsiteY0"/>
              </a:cxn>
              <a:cxn ang="0">
                <a:pos x="connsiteX1" y="connsiteY1"/>
              </a:cxn>
              <a:cxn ang="0">
                <a:pos x="connsiteX2" y="connsiteY2"/>
              </a:cxn>
              <a:cxn ang="0">
                <a:pos x="connsiteX3" y="connsiteY3"/>
              </a:cxn>
            </a:cxnLst>
            <a:rect l="l" t="t" r="r" b="b"/>
            <a:pathLst>
              <a:path w="340237" h="415819">
                <a:moveTo>
                  <a:pt x="174788" y="0"/>
                </a:moveTo>
                <a:lnTo>
                  <a:pt x="340237" y="0"/>
                </a:lnTo>
                <a:lnTo>
                  <a:pt x="241322" y="415819"/>
                </a:lnTo>
                <a:lnTo>
                  <a:pt x="0" y="415819"/>
                </a:lnTo>
                <a:close/>
              </a:path>
            </a:pathLst>
          </a:cu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endParaRPr lang="zh-CN" altLang="en-US" sz="1350" strike="noStrike" noProof="1">
              <a:ea typeface="微软雅黑" panose="020B0503020204020204" charset="-122"/>
            </a:endParaRPr>
          </a:p>
        </p:txBody>
      </p:sp>
      <p:sp>
        <p:nvSpPr>
          <p:cNvPr id="18" name="任意多边形: 形状 17"/>
          <p:cNvSpPr/>
          <p:nvPr>
            <p:custDataLst>
              <p:tags r:id="rId8"/>
            </p:custDataLst>
          </p:nvPr>
        </p:nvSpPr>
        <p:spPr>
          <a:xfrm rot="10800000">
            <a:off x="8586788" y="1882775"/>
            <a:ext cx="255588" cy="311150"/>
          </a:xfrm>
          <a:custGeom>
            <a:avLst/>
            <a:gdLst>
              <a:gd name="connsiteX0" fmla="*/ 174788 w 340237"/>
              <a:gd name="connsiteY0" fmla="*/ 0 h 415819"/>
              <a:gd name="connsiteX1" fmla="*/ 340237 w 340237"/>
              <a:gd name="connsiteY1" fmla="*/ 0 h 415819"/>
              <a:gd name="connsiteX2" fmla="*/ 241322 w 340237"/>
              <a:gd name="connsiteY2" fmla="*/ 415819 h 415819"/>
              <a:gd name="connsiteX3" fmla="*/ 0 w 340237"/>
              <a:gd name="connsiteY3" fmla="*/ 415819 h 415819"/>
            </a:gdLst>
            <a:ahLst/>
            <a:cxnLst>
              <a:cxn ang="0">
                <a:pos x="connsiteX0" y="connsiteY0"/>
              </a:cxn>
              <a:cxn ang="0">
                <a:pos x="connsiteX1" y="connsiteY1"/>
              </a:cxn>
              <a:cxn ang="0">
                <a:pos x="connsiteX2" y="connsiteY2"/>
              </a:cxn>
              <a:cxn ang="0">
                <a:pos x="connsiteX3" y="connsiteY3"/>
              </a:cxn>
            </a:cxnLst>
            <a:rect l="l" t="t" r="r" b="b"/>
            <a:pathLst>
              <a:path w="340237" h="415819">
                <a:moveTo>
                  <a:pt x="174788" y="0"/>
                </a:moveTo>
                <a:lnTo>
                  <a:pt x="340237" y="0"/>
                </a:lnTo>
                <a:lnTo>
                  <a:pt x="241322" y="415819"/>
                </a:lnTo>
                <a:lnTo>
                  <a:pt x="0" y="415819"/>
                </a:lnTo>
                <a:close/>
              </a:path>
            </a:pathLst>
          </a:cu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endParaRPr lang="zh-CN" altLang="en-US" sz="1350" strike="noStrike" noProof="1">
              <a:ea typeface="微软雅黑" panose="020B0503020204020204" charset="-122"/>
            </a:endParaRPr>
          </a:p>
        </p:txBody>
      </p:sp>
      <p:sp>
        <p:nvSpPr>
          <p:cNvPr id="2" name="文本框 1"/>
          <p:cNvSpPr txBox="1"/>
          <p:nvPr>
            <p:custDataLst>
              <p:tags r:id="rId9"/>
            </p:custDataLst>
          </p:nvPr>
        </p:nvSpPr>
        <p:spPr>
          <a:xfrm>
            <a:off x="3053715" y="2193925"/>
            <a:ext cx="6407785" cy="2812415"/>
          </a:xfrm>
          <a:prstGeom prst="rect">
            <a:avLst/>
          </a:prstGeom>
          <a:noFill/>
        </p:spPr>
        <p:txBody>
          <a:bodyPr wrap="square" lIns="76200" tIns="0" rIns="61912" bIns="0" rtlCol="0">
            <a:noAutofit/>
          </a:bodyPr>
          <a:lstStyle>
            <a:defPPr>
              <a:defRPr lang="zh-CN"/>
            </a:defPPr>
            <a:lvl1pPr fontAlgn="auto">
              <a:lnSpc>
                <a:spcPct val="130000"/>
              </a:lnSpc>
              <a:spcAft>
                <a:spcPts val="1000"/>
              </a:spcAft>
              <a:defRPr sz="1600" spc="150"/>
            </a:lvl1pPr>
          </a:lstStyle>
          <a:p>
            <a:pPr indent="0" fontAlgn="ctr">
              <a:spcBef>
                <a:spcPts val="1000"/>
              </a:spcBef>
              <a:spcAft>
                <a:spcPts val="0"/>
              </a:spcAft>
              <a:buClr>
                <a:schemeClr val="tx2">
                  <a:lumMod val="75000"/>
                </a:schemeClr>
              </a:buClr>
              <a:buSzPct val="130000"/>
              <a:buFont typeface="WPS-Bullets" pitchFamily="2" charset="0"/>
              <a:buNone/>
            </a:pPr>
            <a:r>
              <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vw单位换算</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同样的，如果要将px换算成vw单位，很简单，只要确定视图的窗口大小（布局视口），如果我们将布局视口设置成分辨率大小，比如对于iphone6/7 375*667的分辨率，那么px可以通过如下方式换算成vw：</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1px = （1/375）*100 vw</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vw/vh单位的兼容性</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可以在https://caniuse.com/ 查看各个版本的浏览器对vw单位的支持性。</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p:txBody>
      </p:sp>
    </p:spTree>
    <p:custDataLst>
      <p:tags r:id="rId10"/>
    </p:custData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5" name="矩形 14"/>
          <p:cNvSpPr/>
          <p:nvPr>
            <p:custDataLst>
              <p:tags r:id="rId1"/>
            </p:custDataLst>
          </p:nvPr>
        </p:nvSpPr>
        <p:spPr>
          <a:xfrm>
            <a:off x="1524000" y="857250"/>
            <a:ext cx="9144000" cy="5143500"/>
          </a:xfrm>
          <a:prstGeom prst="rect">
            <a:avLst/>
          </a:prstGeom>
          <a:pattFill prst="smCheck">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r>
              <a:rPr kumimoji="1" lang="en-US" altLang="zh-CN" sz="1200" b="1" strike="noStrike" noProof="1" dirty="0">
                <a:solidFill>
                  <a:schemeClr val="bg1"/>
                </a:solidFill>
                <a:latin typeface="微软雅黑" panose="020B0503020204020204" charset="-122"/>
                <a:ea typeface="微软雅黑" panose="020B0503020204020204" charset="-122"/>
              </a:rPr>
              <a:t>·</a:t>
            </a:r>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5" name="矩形 4"/>
          <p:cNvSpPr/>
          <p:nvPr>
            <p:custDataLst>
              <p:tags r:id="rId2"/>
            </p:custDataLst>
          </p:nvPr>
        </p:nvSpPr>
        <p:spPr>
          <a:xfrm>
            <a:off x="2431415" y="1621473"/>
            <a:ext cx="7435850" cy="4175125"/>
          </a:xfrm>
          <a:prstGeom prst="rect">
            <a:avLst/>
          </a:prstGeom>
          <a:solidFill>
            <a:schemeClr val="bg1">
              <a:lumMod val="85000"/>
              <a:alpha val="50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6" name="矩形 5"/>
          <p:cNvSpPr/>
          <p:nvPr>
            <p:custDataLst>
              <p:tags r:id="rId3"/>
            </p:custDataLst>
          </p:nvPr>
        </p:nvSpPr>
        <p:spPr>
          <a:xfrm>
            <a:off x="2025650" y="1144588"/>
            <a:ext cx="228600" cy="228600"/>
          </a:xfrm>
          <a:prstGeom prst="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微软雅黑" panose="020B0503020204020204" charset="-122"/>
              <a:ea typeface="微软雅黑" panose="020B0503020204020204" charset="-122"/>
            </a:endParaRPr>
          </a:p>
        </p:txBody>
      </p:sp>
      <p:sp>
        <p:nvSpPr>
          <p:cNvPr id="7" name="矩形 6"/>
          <p:cNvSpPr/>
          <p:nvPr>
            <p:custDataLst>
              <p:tags r:id="rId4"/>
            </p:custDataLst>
          </p:nvPr>
        </p:nvSpPr>
        <p:spPr>
          <a:xfrm>
            <a:off x="2253615" y="1031240"/>
            <a:ext cx="8324850" cy="5282565"/>
          </a:xfrm>
          <a:prstGeom prst="rect">
            <a:avLst/>
          </a:prstGeom>
          <a:no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10" name="文本框 9"/>
          <p:cNvSpPr txBox="1"/>
          <p:nvPr>
            <p:custDataLst>
              <p:tags r:id="rId5"/>
            </p:custDataLst>
          </p:nvPr>
        </p:nvSpPr>
        <p:spPr>
          <a:xfrm>
            <a:off x="2679700" y="1144905"/>
            <a:ext cx="6939915" cy="468630"/>
          </a:xfrm>
          <a:prstGeom prst="rect">
            <a:avLst/>
          </a:prstGeom>
          <a:noFill/>
        </p:spPr>
        <p:txBody>
          <a:bodyPr wrap="square" lIns="76200" tIns="28575" rIns="47625" bIns="28575" rtlCol="0">
            <a:noAutofit/>
          </a:bodyPr>
          <a:lstStyle/>
          <a:p>
            <a:r>
              <a:rPr lang="en-US" altLang="zh-CN" sz="2700" spc="150" dirty="0">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sym typeface="+mn-ea"/>
              </a:rPr>
              <a:t>vw单位换算02</a:t>
            </a:r>
            <a:endParaRPr lang="en-US" sz="2700" b="1" spc="300" noProof="1" dirty="0">
              <a:solidFill>
                <a:schemeClr val="tx1">
                  <a:lumMod val="75000"/>
                  <a:lumOff val="25000"/>
                </a:schemeClr>
              </a:solidFill>
              <a:latin typeface="微软雅黑" panose="020B0503020204020204" charset="-122"/>
              <a:ea typeface="微软雅黑" panose="020B0503020204020204" charset="-122"/>
              <a:cs typeface="+mn-cs"/>
            </a:endParaRPr>
          </a:p>
        </p:txBody>
      </p:sp>
      <p:sp>
        <p:nvSpPr>
          <p:cNvPr id="9" name="矩形 8"/>
          <p:cNvSpPr/>
          <p:nvPr>
            <p:custDataLst>
              <p:tags r:id="rId6"/>
            </p:custDataLst>
          </p:nvPr>
        </p:nvSpPr>
        <p:spPr>
          <a:xfrm>
            <a:off x="10082213" y="3416300"/>
            <a:ext cx="146050" cy="1908175"/>
          </a:xfrm>
          <a:prstGeom prst="rect">
            <a:avLst/>
          </a:prstGeom>
          <a:solidFill>
            <a:schemeClr val="accent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微软雅黑" panose="020B0503020204020204" charset="-122"/>
              <a:ea typeface="微软雅黑" panose="020B0503020204020204" charset="-122"/>
            </a:endParaRPr>
          </a:p>
        </p:txBody>
      </p:sp>
      <p:sp>
        <p:nvSpPr>
          <p:cNvPr id="17" name="任意多边形: 形状 16"/>
          <p:cNvSpPr/>
          <p:nvPr>
            <p:custDataLst>
              <p:tags r:id="rId7"/>
            </p:custDataLst>
          </p:nvPr>
        </p:nvSpPr>
        <p:spPr>
          <a:xfrm rot="10800000">
            <a:off x="8872538" y="1882775"/>
            <a:ext cx="255588" cy="311150"/>
          </a:xfrm>
          <a:custGeom>
            <a:avLst/>
            <a:gdLst>
              <a:gd name="connsiteX0" fmla="*/ 174788 w 340237"/>
              <a:gd name="connsiteY0" fmla="*/ 0 h 415819"/>
              <a:gd name="connsiteX1" fmla="*/ 340237 w 340237"/>
              <a:gd name="connsiteY1" fmla="*/ 0 h 415819"/>
              <a:gd name="connsiteX2" fmla="*/ 241322 w 340237"/>
              <a:gd name="connsiteY2" fmla="*/ 415819 h 415819"/>
              <a:gd name="connsiteX3" fmla="*/ 0 w 340237"/>
              <a:gd name="connsiteY3" fmla="*/ 415819 h 415819"/>
            </a:gdLst>
            <a:ahLst/>
            <a:cxnLst>
              <a:cxn ang="0">
                <a:pos x="connsiteX0" y="connsiteY0"/>
              </a:cxn>
              <a:cxn ang="0">
                <a:pos x="connsiteX1" y="connsiteY1"/>
              </a:cxn>
              <a:cxn ang="0">
                <a:pos x="connsiteX2" y="connsiteY2"/>
              </a:cxn>
              <a:cxn ang="0">
                <a:pos x="connsiteX3" y="connsiteY3"/>
              </a:cxn>
            </a:cxnLst>
            <a:rect l="l" t="t" r="r" b="b"/>
            <a:pathLst>
              <a:path w="340237" h="415819">
                <a:moveTo>
                  <a:pt x="174788" y="0"/>
                </a:moveTo>
                <a:lnTo>
                  <a:pt x="340237" y="0"/>
                </a:lnTo>
                <a:lnTo>
                  <a:pt x="241322" y="415819"/>
                </a:lnTo>
                <a:lnTo>
                  <a:pt x="0" y="415819"/>
                </a:lnTo>
                <a:close/>
              </a:path>
            </a:pathLst>
          </a:cu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endParaRPr lang="zh-CN" altLang="en-US" sz="1350" strike="noStrike" noProof="1">
              <a:ea typeface="微软雅黑" panose="020B0503020204020204" charset="-122"/>
            </a:endParaRPr>
          </a:p>
        </p:txBody>
      </p:sp>
      <p:sp>
        <p:nvSpPr>
          <p:cNvPr id="18" name="任意多边形: 形状 17"/>
          <p:cNvSpPr/>
          <p:nvPr>
            <p:custDataLst>
              <p:tags r:id="rId8"/>
            </p:custDataLst>
          </p:nvPr>
        </p:nvSpPr>
        <p:spPr>
          <a:xfrm rot="10800000">
            <a:off x="8586788" y="1882775"/>
            <a:ext cx="255588" cy="311150"/>
          </a:xfrm>
          <a:custGeom>
            <a:avLst/>
            <a:gdLst>
              <a:gd name="connsiteX0" fmla="*/ 174788 w 340237"/>
              <a:gd name="connsiteY0" fmla="*/ 0 h 415819"/>
              <a:gd name="connsiteX1" fmla="*/ 340237 w 340237"/>
              <a:gd name="connsiteY1" fmla="*/ 0 h 415819"/>
              <a:gd name="connsiteX2" fmla="*/ 241322 w 340237"/>
              <a:gd name="connsiteY2" fmla="*/ 415819 h 415819"/>
              <a:gd name="connsiteX3" fmla="*/ 0 w 340237"/>
              <a:gd name="connsiteY3" fmla="*/ 415819 h 415819"/>
            </a:gdLst>
            <a:ahLst/>
            <a:cxnLst>
              <a:cxn ang="0">
                <a:pos x="connsiteX0" y="connsiteY0"/>
              </a:cxn>
              <a:cxn ang="0">
                <a:pos x="connsiteX1" y="connsiteY1"/>
              </a:cxn>
              <a:cxn ang="0">
                <a:pos x="connsiteX2" y="connsiteY2"/>
              </a:cxn>
              <a:cxn ang="0">
                <a:pos x="connsiteX3" y="connsiteY3"/>
              </a:cxn>
            </a:cxnLst>
            <a:rect l="l" t="t" r="r" b="b"/>
            <a:pathLst>
              <a:path w="340237" h="415819">
                <a:moveTo>
                  <a:pt x="174788" y="0"/>
                </a:moveTo>
                <a:lnTo>
                  <a:pt x="340237" y="0"/>
                </a:lnTo>
                <a:lnTo>
                  <a:pt x="241322" y="415819"/>
                </a:lnTo>
                <a:lnTo>
                  <a:pt x="0" y="415819"/>
                </a:lnTo>
                <a:close/>
              </a:path>
            </a:pathLst>
          </a:cu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endParaRPr lang="zh-CN" altLang="en-US" sz="1350" strike="noStrike" noProof="1">
              <a:ea typeface="微软雅黑" panose="020B0503020204020204" charset="-122"/>
            </a:endParaRPr>
          </a:p>
        </p:txBody>
      </p:sp>
      <p:sp>
        <p:nvSpPr>
          <p:cNvPr id="2" name="文本框 1"/>
          <p:cNvSpPr txBox="1"/>
          <p:nvPr>
            <p:custDataLst>
              <p:tags r:id="rId9"/>
            </p:custDataLst>
          </p:nvPr>
        </p:nvSpPr>
        <p:spPr>
          <a:xfrm>
            <a:off x="2555875" y="1753235"/>
            <a:ext cx="7832725" cy="4740275"/>
          </a:xfrm>
          <a:prstGeom prst="rect">
            <a:avLst/>
          </a:prstGeom>
          <a:noFill/>
        </p:spPr>
        <p:txBody>
          <a:bodyPr wrap="square" lIns="76200" tIns="0" rIns="61912" bIns="0" rtlCol="0">
            <a:noAutofit/>
          </a:bodyPr>
          <a:lstStyle>
            <a:defPPr>
              <a:defRPr lang="zh-CN"/>
            </a:defPPr>
            <a:lvl1pPr fontAlgn="auto">
              <a:lnSpc>
                <a:spcPct val="130000"/>
              </a:lnSpc>
              <a:spcAft>
                <a:spcPts val="1000"/>
              </a:spcAft>
              <a:defRPr sz="1600" spc="150"/>
            </a:lvl1pPr>
          </a:lstStyle>
          <a:p>
            <a:pPr indent="0" fontAlgn="ctr">
              <a:spcBef>
                <a:spcPts val="1000"/>
              </a:spcBef>
              <a:spcAft>
                <a:spcPts val="0"/>
              </a:spcAft>
              <a:buClr>
                <a:schemeClr val="tx2">
                  <a:lumMod val="75000"/>
                </a:schemeClr>
              </a:buClr>
              <a:buSzPct val="130000"/>
              <a:buFont typeface="WPS-Bullets" pitchFamily="2" charset="0"/>
              <a:buNone/>
            </a:pPr>
            <a:r>
              <a:rPr lang="en-US" altLang="zh-CN" sz="1200" dirty="0">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sym typeface="+mn-ea"/>
              </a:rPr>
              <a:t>此外，也可以通过postcss的相应插件，预处理css做一个自动的转换，postcss-px-to-viewport可以自动将px转化成vw。</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z="1200" dirty="0">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sym typeface="+mn-ea"/>
              </a:rPr>
              <a:t>postcss-px-to-viewport的默认参数为：</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z="1200" dirty="0">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sym typeface="+mn-ea"/>
              </a:rPr>
              <a:t>var defaults = {</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z="1200" dirty="0">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sym typeface="+mn-ea"/>
              </a:rPr>
              <a:t>  viewportWidth: 320,</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z="1200" dirty="0">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sym typeface="+mn-ea"/>
              </a:rPr>
              <a:t>  viewportHeight: 568, </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z="1200" dirty="0">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sym typeface="+mn-ea"/>
              </a:rPr>
              <a:t>  unitPrecision: 5,</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z="1200" dirty="0">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sym typeface="+mn-ea"/>
              </a:rPr>
              <a:t>  viewportUnit: 'vw',</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z="1200" dirty="0">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sym typeface="+mn-ea"/>
              </a:rPr>
              <a:t>  selectorBlackList: [],</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z="1200" dirty="0">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sym typeface="+mn-ea"/>
              </a:rPr>
              <a:t>  minPixelValue: 1,</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z="1200" dirty="0">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sym typeface="+mn-ea"/>
              </a:rPr>
              <a:t>  mediaQuery: false</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z="1200" dirty="0">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sym typeface="+mn-ea"/>
              </a:rPr>
              <a:t>};</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r>
              <a:rPr lang="en-US" altLang="zh-CN" sz="1200" dirty="0">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sym typeface="+mn-ea"/>
              </a:rPr>
              <a:t>通过指定视窗的宽度和高度，以及换算精度，就能将px转化成vw</a:t>
            </a: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p:txBody>
      </p:sp>
    </p:spTree>
    <p:custDataLst>
      <p:tags r:id="rId10"/>
    </p:custData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1"/>
          <p:cNvSpPr txBox="1"/>
          <p:nvPr/>
        </p:nvSpPr>
        <p:spPr>
          <a:xfrm>
            <a:off x="817880" y="509905"/>
            <a:ext cx="8610600" cy="67818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dirty="0">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sym typeface="+mn-ea"/>
              </a:rPr>
              <a:t>什么是 jQuery ？</a:t>
            </a:r>
            <a:endParaRPr lang="en-US" dirty="0">
              <a:latin typeface="微软雅黑 Light" panose="020B0502040204020203" pitchFamily="34" charset="-122"/>
              <a:ea typeface="微软雅黑 Light" panose="020B0502040204020203" pitchFamily="34" charset="-122"/>
            </a:endParaRPr>
          </a:p>
        </p:txBody>
      </p:sp>
      <p:sp>
        <p:nvSpPr>
          <p:cNvPr id="2" name="TextBox 20"/>
          <p:cNvSpPr txBox="1"/>
          <p:nvPr/>
        </p:nvSpPr>
        <p:spPr>
          <a:xfrm>
            <a:off x="546735" y="1188085"/>
            <a:ext cx="10846435" cy="3322955"/>
          </a:xfrm>
          <a:prstGeom prst="rect">
            <a:avLst/>
          </a:prstGeom>
          <a:noFill/>
        </p:spPr>
        <p:txBody>
          <a:bodyPr wrap="square" rtlCol="0">
            <a:spAutoFit/>
          </a:bodyPr>
          <a:p>
            <a:pPr lvl="0">
              <a:lnSpc>
                <a:spcPct val="150000"/>
              </a:lnSpc>
              <a:defRPr/>
            </a:pP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jQuery是一个JavaScript函数库。</a:t>
            </a: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jQuery是一个轻量级的"写的少，做的多"的JavaScript库。</a:t>
            </a: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jQuery库包含以下功能：</a:t>
            </a: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HTML 元素选取   HTML 元素操作  CSS 操作    HTML 事件函数      JavaScript 特效和动画</a:t>
            </a: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HTML DOM 遍历和修改      AJAX      Utilities</a:t>
            </a: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提示： 除此之外，Jquery还提供了大量的插件。</a:t>
            </a:r>
            <a:endParaRPr lang="en-US" altLang="zh-CN" sz="1200" dirty="0">
              <a:solidFill>
                <a:schemeClr val="accent4"/>
              </a:solidFill>
              <a:latin typeface="微软雅黑 Light" panose="020B0502040204020203" pitchFamily="34" charset="-122"/>
              <a:ea typeface="微软雅黑 Light" panose="020B0502040204020203" pitchFamily="34" charset="-122"/>
              <a:cs typeface="Open Sans" panose="020B0606030504020204" pitchFamily="34" charset="0"/>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2000" fill="hold">
                                          <p:stCondLst>
                                            <p:cond delay="0"/>
                                          </p:stCondLst>
                                        </p:cTn>
                                        <p:tgtEl>
                                          <p:spTgt spid="36"/>
                                        </p:tgtEl>
                                        <p:attrNameLst>
                                          <p:attrName>style.visibility</p:attrName>
                                        </p:attrNameLst>
                                      </p:cBhvr>
                                      <p:to>
                                        <p:strVal val="visible"/>
                                      </p:to>
                                    </p:set>
                                    <p:animEffect transition="in" filter="fade">
                                      <p:cBhvr>
                                        <p:cTn id="7" dur="2000"/>
                                        <p:tgtEl>
                                          <p:spTgt spid="36"/>
                                        </p:tgtEl>
                                      </p:cBhvr>
                                    </p:animEffect>
                                  </p:childTnLst>
                                </p:cTn>
                              </p:par>
                              <p:par>
                                <p:cTn id="8" presetID="42"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750"/>
                                        <p:tgtEl>
                                          <p:spTgt spid="2"/>
                                        </p:tgtEl>
                                      </p:cBhvr>
                                    </p:animEffect>
                                    <p:anim calcmode="lin" valueType="num">
                                      <p:cBhvr>
                                        <p:cTn id="11" dur="750" fill="hold"/>
                                        <p:tgtEl>
                                          <p:spTgt spid="2"/>
                                        </p:tgtEl>
                                        <p:attrNameLst>
                                          <p:attrName>ppt_x</p:attrName>
                                        </p:attrNameLst>
                                      </p:cBhvr>
                                      <p:tavLst>
                                        <p:tav tm="0">
                                          <p:val>
                                            <p:strVal val="#ppt_x"/>
                                          </p:val>
                                        </p:tav>
                                        <p:tav tm="100000">
                                          <p:val>
                                            <p:strVal val="#ppt_x"/>
                                          </p:val>
                                        </p:tav>
                                      </p:tavLst>
                                    </p:anim>
                                    <p:anim calcmode="lin" valueType="num">
                                      <p:cBhvr>
                                        <p:cTn id="12" dur="75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2"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1"/>
          <p:cNvSpPr txBox="1"/>
          <p:nvPr/>
        </p:nvSpPr>
        <p:spPr>
          <a:xfrm>
            <a:off x="796925" y="509905"/>
            <a:ext cx="8610600" cy="67818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dirty="0">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sym typeface="+mn-ea"/>
              </a:rPr>
              <a:t>jQuery 语法</a:t>
            </a:r>
            <a:endParaRPr lang="en-US" dirty="0">
              <a:latin typeface="微软雅黑 Light" panose="020B0502040204020203" pitchFamily="34" charset="-122"/>
              <a:ea typeface="微软雅黑 Light" panose="020B0502040204020203" pitchFamily="34" charset="-122"/>
            </a:endParaRPr>
          </a:p>
        </p:txBody>
      </p:sp>
      <p:sp>
        <p:nvSpPr>
          <p:cNvPr id="2" name="TextBox 20"/>
          <p:cNvSpPr txBox="1"/>
          <p:nvPr/>
        </p:nvSpPr>
        <p:spPr>
          <a:xfrm>
            <a:off x="546735" y="1188085"/>
            <a:ext cx="10846435" cy="4246245"/>
          </a:xfrm>
          <a:prstGeom prst="rect">
            <a:avLst/>
          </a:prstGeom>
          <a:noFill/>
        </p:spPr>
        <p:txBody>
          <a:bodyPr wrap="square" rtlCol="0">
            <a:spAutoFit/>
          </a:bodyPr>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jQuery 语法是通过选取 HTML 元素，并对选取的元素执行某些操作。</a:t>
            </a: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基础语法： $(selector).action()</a:t>
            </a: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美元符号定义 jQuery</a:t>
            </a: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选择符（selector）"查询"和"查找" HTML 元素</a:t>
            </a: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jQuery 的 action() 执行对元素的操作</a:t>
            </a: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实例:$(this).hide() - 隐藏当前元素</a:t>
            </a: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p").hide() - 隐藏所有 &lt;p&gt; 元素</a:t>
            </a: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p.test").hide() - 隐藏所有 class="test" 的 &lt;p&gt; 元素</a:t>
            </a: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test").hide() - 隐藏所有 id="test" 的元素。</a:t>
            </a:r>
            <a:endParaRPr lang="en-US" altLang="zh-CN" sz="1200" dirty="0">
              <a:solidFill>
                <a:schemeClr val="accent4"/>
              </a:solidFill>
              <a:latin typeface="微软雅黑 Light" panose="020B0502040204020203" pitchFamily="34" charset="-122"/>
              <a:ea typeface="微软雅黑 Light" panose="020B0502040204020203" pitchFamily="34" charset="-122"/>
              <a:cs typeface="Open Sans" panose="020B0606030504020204" pitchFamily="34" charset="0"/>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2000" fill="hold">
                                          <p:stCondLst>
                                            <p:cond delay="0"/>
                                          </p:stCondLst>
                                        </p:cTn>
                                        <p:tgtEl>
                                          <p:spTgt spid="36"/>
                                        </p:tgtEl>
                                        <p:attrNameLst>
                                          <p:attrName>style.visibility</p:attrName>
                                        </p:attrNameLst>
                                      </p:cBhvr>
                                      <p:to>
                                        <p:strVal val="visible"/>
                                      </p:to>
                                    </p:set>
                                    <p:animEffect transition="in" filter="fade">
                                      <p:cBhvr>
                                        <p:cTn id="7" dur="2000"/>
                                        <p:tgtEl>
                                          <p:spTgt spid="36"/>
                                        </p:tgtEl>
                                      </p:cBhvr>
                                    </p:animEffect>
                                  </p:childTnLst>
                                </p:cTn>
                              </p:par>
                              <p:par>
                                <p:cTn id="8" presetID="42"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750"/>
                                        <p:tgtEl>
                                          <p:spTgt spid="2"/>
                                        </p:tgtEl>
                                      </p:cBhvr>
                                    </p:animEffect>
                                    <p:anim calcmode="lin" valueType="num">
                                      <p:cBhvr>
                                        <p:cTn id="11" dur="750" fill="hold"/>
                                        <p:tgtEl>
                                          <p:spTgt spid="2"/>
                                        </p:tgtEl>
                                        <p:attrNameLst>
                                          <p:attrName>ppt_x</p:attrName>
                                        </p:attrNameLst>
                                      </p:cBhvr>
                                      <p:tavLst>
                                        <p:tav tm="0">
                                          <p:val>
                                            <p:strVal val="#ppt_x"/>
                                          </p:val>
                                        </p:tav>
                                        <p:tav tm="100000">
                                          <p:val>
                                            <p:strVal val="#ppt_x"/>
                                          </p:val>
                                        </p:tav>
                                      </p:tavLst>
                                    </p:anim>
                                    <p:anim calcmode="lin" valueType="num">
                                      <p:cBhvr>
                                        <p:cTn id="12" dur="75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2"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1"/>
          <p:cNvSpPr txBox="1"/>
          <p:nvPr/>
        </p:nvSpPr>
        <p:spPr>
          <a:xfrm>
            <a:off x="796925" y="509905"/>
            <a:ext cx="8610600" cy="67818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dirty="0">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sym typeface="+mn-ea"/>
              </a:rPr>
              <a:t>文档就绪事件</a:t>
            </a:r>
            <a:endParaRPr lang="zh-CN" altLang="en-US" dirty="0">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sym typeface="+mn-ea"/>
            </a:endParaRPr>
          </a:p>
        </p:txBody>
      </p:sp>
      <p:sp>
        <p:nvSpPr>
          <p:cNvPr id="2" name="TextBox 20"/>
          <p:cNvSpPr txBox="1"/>
          <p:nvPr/>
        </p:nvSpPr>
        <p:spPr>
          <a:xfrm>
            <a:off x="546735" y="1188085"/>
            <a:ext cx="10846435" cy="5169535"/>
          </a:xfrm>
          <a:prstGeom prst="rect">
            <a:avLst/>
          </a:prstGeom>
          <a:noFill/>
        </p:spPr>
        <p:txBody>
          <a:bodyPr wrap="square" rtlCol="0">
            <a:spAutoFit/>
          </a:bodyPr>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document).ready(function(){</a:t>
            </a: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 </a:t>
            </a: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   // 开始写 jQuery 代码...</a:t>
            </a: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 </a:t>
            </a: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a:t>
            </a: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这是为了防止文档在完全加载（就绪）之前运行 jQuery 代码，即在 DOM 加载完成后才可以对 DOM 进行操作。如果在文档没有完全加载之前就运行函数，操作可能失败。下面是两个具体的例子：试图隐藏一个不存在的元素获得未完全加载的图像的大小提示：简洁写法（与以上写法效果相同）:$(function(){   // 开始写 jQuery 代码...</a:t>
            </a: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a:t>
            </a: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以上两种方式你可以选择你喜欢的方式实现文档就绪后执行 jQuery 方法。</a:t>
            </a: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2000" fill="hold">
                                          <p:stCondLst>
                                            <p:cond delay="0"/>
                                          </p:stCondLst>
                                        </p:cTn>
                                        <p:tgtEl>
                                          <p:spTgt spid="36"/>
                                        </p:tgtEl>
                                        <p:attrNameLst>
                                          <p:attrName>style.visibility</p:attrName>
                                        </p:attrNameLst>
                                      </p:cBhvr>
                                      <p:to>
                                        <p:strVal val="visible"/>
                                      </p:to>
                                    </p:set>
                                    <p:animEffect transition="in" filter="fade">
                                      <p:cBhvr>
                                        <p:cTn id="7" dur="2000"/>
                                        <p:tgtEl>
                                          <p:spTgt spid="36"/>
                                        </p:tgtEl>
                                      </p:cBhvr>
                                    </p:animEffect>
                                  </p:childTnLst>
                                </p:cTn>
                              </p:par>
                              <p:par>
                                <p:cTn id="8" presetID="42"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750"/>
                                        <p:tgtEl>
                                          <p:spTgt spid="2"/>
                                        </p:tgtEl>
                                      </p:cBhvr>
                                    </p:animEffect>
                                    <p:anim calcmode="lin" valueType="num">
                                      <p:cBhvr>
                                        <p:cTn id="11" dur="750" fill="hold"/>
                                        <p:tgtEl>
                                          <p:spTgt spid="2"/>
                                        </p:tgtEl>
                                        <p:attrNameLst>
                                          <p:attrName>ppt_x</p:attrName>
                                        </p:attrNameLst>
                                      </p:cBhvr>
                                      <p:tavLst>
                                        <p:tav tm="0">
                                          <p:val>
                                            <p:strVal val="#ppt_x"/>
                                          </p:val>
                                        </p:tav>
                                        <p:tav tm="100000">
                                          <p:val>
                                            <p:strVal val="#ppt_x"/>
                                          </p:val>
                                        </p:tav>
                                      </p:tavLst>
                                    </p:anim>
                                    <p:anim calcmode="lin" valueType="num">
                                      <p:cBhvr>
                                        <p:cTn id="12" dur="75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2"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1"/>
          <p:cNvSpPr txBox="1"/>
          <p:nvPr/>
        </p:nvSpPr>
        <p:spPr>
          <a:xfrm>
            <a:off x="817880" y="509905"/>
            <a:ext cx="8610600" cy="67818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dirty="0">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sym typeface="+mn-ea"/>
              </a:rPr>
              <a:t>Bootstrap框架</a:t>
            </a:r>
            <a:endParaRPr lang="en-US" dirty="0">
              <a:latin typeface="微软雅黑 Light" panose="020B0502040204020203" pitchFamily="34" charset="-122"/>
              <a:ea typeface="微软雅黑 Light" panose="020B0502040204020203" pitchFamily="34" charset="-122"/>
            </a:endParaRPr>
          </a:p>
        </p:txBody>
      </p:sp>
      <p:sp>
        <p:nvSpPr>
          <p:cNvPr id="2" name="TextBox 20"/>
          <p:cNvSpPr txBox="1"/>
          <p:nvPr/>
        </p:nvSpPr>
        <p:spPr>
          <a:xfrm>
            <a:off x="546735" y="1188085"/>
            <a:ext cx="11487785" cy="5262245"/>
          </a:xfrm>
          <a:prstGeom prst="rect">
            <a:avLst/>
          </a:prstGeom>
          <a:noFill/>
        </p:spPr>
        <p:txBody>
          <a:bodyPr wrap="square" rtlCol="0">
            <a:spAutoFit/>
          </a:bodyPr>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简洁、直观、强悍的前端开发框架，让web开发更迅速、简单。</a:t>
            </a: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使用方法：</a:t>
            </a: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    &lt;meta charset="utf-8"&gt;</a:t>
            </a: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    &lt;meta http-equiv="X-UA-Compatible" content="IE=edge"&gt;</a:t>
            </a: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    &lt;meta name="viewport" content="width=device-width, initial-scale=1"&gt;</a:t>
            </a: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    &lt;link rel="stylesheet" href="css/bootstrap.min.css" /&gt;</a:t>
            </a: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  jQuery (Bootstrap 的所有 JavaScript 插件都依赖 jQuery </a:t>
            </a: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 &lt;script src="https://cdn.jsdelivr.net/npm/jquery@1.12.4/dist/jquery.min.js"&gt;&lt;/script&gt;</a:t>
            </a: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 加载 Bootstrap 的所有 JavaScript 插件。你也可以根据需要只加载单个插件。  </a:t>
            </a: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lt;script src="https://cdn.jsdelivr.net/npm/bootstrap@3.3.7/dist/js/bootstrap.min.js"&gt;&lt;/script&gt;</a:t>
            </a: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endParaRPr lang="zh-CN" altLang="en-US" sz="12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endParaRPr lang="en-US" altLang="zh-CN" sz="1200" dirty="0">
              <a:solidFill>
                <a:schemeClr val="accent4"/>
              </a:solidFill>
              <a:latin typeface="微软雅黑 Light" panose="020B0502040204020203" pitchFamily="34" charset="-122"/>
              <a:ea typeface="微软雅黑 Light" panose="020B0502040204020203" pitchFamily="34" charset="-122"/>
              <a:cs typeface="Open Sans" panose="020B0606030504020204" pitchFamily="34" charset="0"/>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2000"/>
                                        <p:tgtEl>
                                          <p:spTgt spid="36"/>
                                        </p:tgtEl>
                                      </p:cBhvr>
                                    </p:animEffect>
                                  </p:childTnLst>
                                </p:cTn>
                              </p:par>
                              <p:par>
                                <p:cTn id="8" presetID="42"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750"/>
                                        <p:tgtEl>
                                          <p:spTgt spid="2"/>
                                        </p:tgtEl>
                                      </p:cBhvr>
                                    </p:animEffect>
                                    <p:anim calcmode="lin" valueType="num">
                                      <p:cBhvr>
                                        <p:cTn id="11" dur="750" fill="hold"/>
                                        <p:tgtEl>
                                          <p:spTgt spid="2"/>
                                        </p:tgtEl>
                                        <p:attrNameLst>
                                          <p:attrName>ppt_x</p:attrName>
                                        </p:attrNameLst>
                                      </p:cBhvr>
                                      <p:tavLst>
                                        <p:tav tm="0">
                                          <p:val>
                                            <p:strVal val="#ppt_x"/>
                                          </p:val>
                                        </p:tav>
                                        <p:tav tm="100000">
                                          <p:val>
                                            <p:strVal val="#ppt_x"/>
                                          </p:val>
                                        </p:tav>
                                      </p:tavLst>
                                    </p:anim>
                                    <p:anim calcmode="lin" valueType="num">
                                      <p:cBhvr>
                                        <p:cTn id="12" dur="75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2"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5" name="矩形 14"/>
          <p:cNvSpPr/>
          <p:nvPr>
            <p:custDataLst>
              <p:tags r:id="rId1"/>
            </p:custDataLst>
          </p:nvPr>
        </p:nvSpPr>
        <p:spPr>
          <a:xfrm>
            <a:off x="1524000" y="857250"/>
            <a:ext cx="9144000" cy="5143500"/>
          </a:xfrm>
          <a:prstGeom prst="rect">
            <a:avLst/>
          </a:prstGeom>
          <a:pattFill prst="smCheck">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r>
              <a:rPr kumimoji="1" lang="en-US" altLang="zh-CN" sz="1200" b="1" strike="noStrike" noProof="1" dirty="0">
                <a:solidFill>
                  <a:schemeClr val="bg1"/>
                </a:solidFill>
                <a:latin typeface="微软雅黑" panose="020B0503020204020204" charset="-122"/>
                <a:ea typeface="微软雅黑" panose="020B0503020204020204" charset="-122"/>
              </a:rPr>
              <a:t>·</a:t>
            </a:r>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5" name="矩形 4"/>
          <p:cNvSpPr/>
          <p:nvPr>
            <p:custDataLst>
              <p:tags r:id="rId2"/>
            </p:custDataLst>
          </p:nvPr>
        </p:nvSpPr>
        <p:spPr>
          <a:xfrm>
            <a:off x="2431415" y="1613218"/>
            <a:ext cx="7435850" cy="4175125"/>
          </a:xfrm>
          <a:prstGeom prst="rect">
            <a:avLst/>
          </a:prstGeom>
          <a:solidFill>
            <a:schemeClr val="bg1">
              <a:lumMod val="85000"/>
              <a:alpha val="50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6" name="矩形 5"/>
          <p:cNvSpPr/>
          <p:nvPr>
            <p:custDataLst>
              <p:tags r:id="rId3"/>
            </p:custDataLst>
          </p:nvPr>
        </p:nvSpPr>
        <p:spPr>
          <a:xfrm>
            <a:off x="2025650" y="1144588"/>
            <a:ext cx="228600" cy="228600"/>
          </a:xfrm>
          <a:prstGeom prst="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微软雅黑" panose="020B0503020204020204" charset="-122"/>
              <a:ea typeface="微软雅黑" panose="020B0503020204020204" charset="-122"/>
            </a:endParaRPr>
          </a:p>
        </p:txBody>
      </p:sp>
      <p:sp>
        <p:nvSpPr>
          <p:cNvPr id="7" name="矩形 6"/>
          <p:cNvSpPr/>
          <p:nvPr>
            <p:custDataLst>
              <p:tags r:id="rId4"/>
            </p:custDataLst>
          </p:nvPr>
        </p:nvSpPr>
        <p:spPr>
          <a:xfrm>
            <a:off x="2253615" y="1031240"/>
            <a:ext cx="8324850" cy="5282565"/>
          </a:xfrm>
          <a:prstGeom prst="rect">
            <a:avLst/>
          </a:prstGeom>
          <a:no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10" name="文本框 9"/>
          <p:cNvSpPr txBox="1"/>
          <p:nvPr>
            <p:custDataLst>
              <p:tags r:id="rId5"/>
            </p:custDataLst>
          </p:nvPr>
        </p:nvSpPr>
        <p:spPr>
          <a:xfrm>
            <a:off x="2679700" y="1144905"/>
            <a:ext cx="6939915" cy="468630"/>
          </a:xfrm>
          <a:prstGeom prst="rect">
            <a:avLst/>
          </a:prstGeom>
          <a:noFill/>
        </p:spPr>
        <p:txBody>
          <a:bodyPr wrap="square" lIns="76200" tIns="28575" rIns="47625" bIns="28575" rtlCol="0">
            <a:noAutofit/>
          </a:bodyPr>
          <a:lstStyle/>
          <a:p>
            <a:r>
              <a:rPr lang="en-US" altLang="zh-CN" sz="2700" spc="150" dirty="0">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sym typeface="+mn-ea"/>
              </a:rPr>
              <a:t>栅格参数</a:t>
            </a:r>
            <a:endParaRPr lang="en-US" altLang="zh-CN" sz="2700" spc="150" dirty="0">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sym typeface="+mn-ea"/>
            </a:endParaRPr>
          </a:p>
        </p:txBody>
      </p:sp>
      <p:sp>
        <p:nvSpPr>
          <p:cNvPr id="9" name="矩形 8"/>
          <p:cNvSpPr/>
          <p:nvPr>
            <p:custDataLst>
              <p:tags r:id="rId6"/>
            </p:custDataLst>
          </p:nvPr>
        </p:nvSpPr>
        <p:spPr>
          <a:xfrm>
            <a:off x="10082213" y="3416300"/>
            <a:ext cx="146050" cy="1908175"/>
          </a:xfrm>
          <a:prstGeom prst="rect">
            <a:avLst/>
          </a:prstGeom>
          <a:solidFill>
            <a:schemeClr val="accent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微软雅黑" panose="020B0503020204020204" charset="-122"/>
              <a:ea typeface="微软雅黑" panose="020B0503020204020204" charset="-122"/>
            </a:endParaRPr>
          </a:p>
        </p:txBody>
      </p:sp>
      <p:sp>
        <p:nvSpPr>
          <p:cNvPr id="17" name="任意多边形: 形状 16"/>
          <p:cNvSpPr/>
          <p:nvPr>
            <p:custDataLst>
              <p:tags r:id="rId7"/>
            </p:custDataLst>
          </p:nvPr>
        </p:nvSpPr>
        <p:spPr>
          <a:xfrm rot="10800000">
            <a:off x="8872538" y="1882775"/>
            <a:ext cx="255588" cy="311150"/>
          </a:xfrm>
          <a:custGeom>
            <a:avLst/>
            <a:gdLst>
              <a:gd name="connsiteX0" fmla="*/ 174788 w 340237"/>
              <a:gd name="connsiteY0" fmla="*/ 0 h 415819"/>
              <a:gd name="connsiteX1" fmla="*/ 340237 w 340237"/>
              <a:gd name="connsiteY1" fmla="*/ 0 h 415819"/>
              <a:gd name="connsiteX2" fmla="*/ 241322 w 340237"/>
              <a:gd name="connsiteY2" fmla="*/ 415819 h 415819"/>
              <a:gd name="connsiteX3" fmla="*/ 0 w 340237"/>
              <a:gd name="connsiteY3" fmla="*/ 415819 h 415819"/>
            </a:gdLst>
            <a:ahLst/>
            <a:cxnLst>
              <a:cxn ang="0">
                <a:pos x="connsiteX0" y="connsiteY0"/>
              </a:cxn>
              <a:cxn ang="0">
                <a:pos x="connsiteX1" y="connsiteY1"/>
              </a:cxn>
              <a:cxn ang="0">
                <a:pos x="connsiteX2" y="connsiteY2"/>
              </a:cxn>
              <a:cxn ang="0">
                <a:pos x="connsiteX3" y="connsiteY3"/>
              </a:cxn>
            </a:cxnLst>
            <a:rect l="l" t="t" r="r" b="b"/>
            <a:pathLst>
              <a:path w="340237" h="415819">
                <a:moveTo>
                  <a:pt x="174788" y="0"/>
                </a:moveTo>
                <a:lnTo>
                  <a:pt x="340237" y="0"/>
                </a:lnTo>
                <a:lnTo>
                  <a:pt x="241322" y="415819"/>
                </a:lnTo>
                <a:lnTo>
                  <a:pt x="0" y="415819"/>
                </a:lnTo>
                <a:close/>
              </a:path>
            </a:pathLst>
          </a:cu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endParaRPr lang="zh-CN" altLang="en-US" sz="1350" strike="noStrike" noProof="1">
              <a:ea typeface="微软雅黑" panose="020B0503020204020204" charset="-122"/>
            </a:endParaRPr>
          </a:p>
        </p:txBody>
      </p:sp>
      <p:sp>
        <p:nvSpPr>
          <p:cNvPr id="18" name="任意多边形: 形状 17"/>
          <p:cNvSpPr/>
          <p:nvPr>
            <p:custDataLst>
              <p:tags r:id="rId8"/>
            </p:custDataLst>
          </p:nvPr>
        </p:nvSpPr>
        <p:spPr>
          <a:xfrm rot="10800000">
            <a:off x="8586788" y="1882775"/>
            <a:ext cx="255588" cy="311150"/>
          </a:xfrm>
          <a:custGeom>
            <a:avLst/>
            <a:gdLst>
              <a:gd name="connsiteX0" fmla="*/ 174788 w 340237"/>
              <a:gd name="connsiteY0" fmla="*/ 0 h 415819"/>
              <a:gd name="connsiteX1" fmla="*/ 340237 w 340237"/>
              <a:gd name="connsiteY1" fmla="*/ 0 h 415819"/>
              <a:gd name="connsiteX2" fmla="*/ 241322 w 340237"/>
              <a:gd name="connsiteY2" fmla="*/ 415819 h 415819"/>
              <a:gd name="connsiteX3" fmla="*/ 0 w 340237"/>
              <a:gd name="connsiteY3" fmla="*/ 415819 h 415819"/>
            </a:gdLst>
            <a:ahLst/>
            <a:cxnLst>
              <a:cxn ang="0">
                <a:pos x="connsiteX0" y="connsiteY0"/>
              </a:cxn>
              <a:cxn ang="0">
                <a:pos x="connsiteX1" y="connsiteY1"/>
              </a:cxn>
              <a:cxn ang="0">
                <a:pos x="connsiteX2" y="connsiteY2"/>
              </a:cxn>
              <a:cxn ang="0">
                <a:pos x="connsiteX3" y="connsiteY3"/>
              </a:cxn>
            </a:cxnLst>
            <a:rect l="l" t="t" r="r" b="b"/>
            <a:pathLst>
              <a:path w="340237" h="415819">
                <a:moveTo>
                  <a:pt x="174788" y="0"/>
                </a:moveTo>
                <a:lnTo>
                  <a:pt x="340237" y="0"/>
                </a:lnTo>
                <a:lnTo>
                  <a:pt x="241322" y="415819"/>
                </a:lnTo>
                <a:lnTo>
                  <a:pt x="0" y="415819"/>
                </a:lnTo>
                <a:close/>
              </a:path>
            </a:pathLst>
          </a:cu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endParaRPr lang="zh-CN" altLang="en-US" sz="1350" strike="noStrike" noProof="1">
              <a:ea typeface="微软雅黑" panose="020B0503020204020204" charset="-122"/>
            </a:endParaRPr>
          </a:p>
        </p:txBody>
      </p:sp>
      <p:pic>
        <p:nvPicPr>
          <p:cNvPr id="3" name="图片 2"/>
          <p:cNvPicPr>
            <a:picLocks noChangeAspect="1"/>
          </p:cNvPicPr>
          <p:nvPr/>
        </p:nvPicPr>
        <p:blipFill>
          <a:blip r:embed="rId9"/>
          <a:stretch>
            <a:fillRect/>
          </a:stretch>
        </p:blipFill>
        <p:spPr>
          <a:xfrm>
            <a:off x="2431415" y="1769110"/>
            <a:ext cx="8382000" cy="4019550"/>
          </a:xfrm>
          <a:prstGeom prst="rect">
            <a:avLst/>
          </a:prstGeom>
        </p:spPr>
      </p:pic>
    </p:spTree>
    <p:custDataLst>
      <p:tags r:id="rId10"/>
    </p:custData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5" name="矩形 14"/>
          <p:cNvSpPr/>
          <p:nvPr>
            <p:custDataLst>
              <p:tags r:id="rId1"/>
            </p:custDataLst>
          </p:nvPr>
        </p:nvSpPr>
        <p:spPr>
          <a:xfrm>
            <a:off x="1524000" y="857250"/>
            <a:ext cx="9144000" cy="5143500"/>
          </a:xfrm>
          <a:prstGeom prst="rect">
            <a:avLst/>
          </a:prstGeom>
          <a:pattFill prst="smCheck">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r>
              <a:rPr kumimoji="1" lang="en-US" altLang="zh-CN" sz="1200" b="1" strike="noStrike" noProof="1" dirty="0">
                <a:solidFill>
                  <a:schemeClr val="bg1"/>
                </a:solidFill>
                <a:latin typeface="微软雅黑" panose="020B0503020204020204" charset="-122"/>
                <a:ea typeface="微软雅黑" panose="020B0503020204020204" charset="-122"/>
              </a:rPr>
              <a:t>·</a:t>
            </a:r>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5" name="矩形 4"/>
          <p:cNvSpPr/>
          <p:nvPr>
            <p:custDataLst>
              <p:tags r:id="rId2"/>
            </p:custDataLst>
          </p:nvPr>
        </p:nvSpPr>
        <p:spPr>
          <a:xfrm>
            <a:off x="2025650" y="1484313"/>
            <a:ext cx="7435850" cy="4175125"/>
          </a:xfrm>
          <a:prstGeom prst="rect">
            <a:avLst/>
          </a:prstGeom>
          <a:solidFill>
            <a:schemeClr val="bg1">
              <a:lumMod val="85000"/>
              <a:alpha val="50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6" name="矩形 5"/>
          <p:cNvSpPr/>
          <p:nvPr>
            <p:custDataLst>
              <p:tags r:id="rId3"/>
            </p:custDataLst>
          </p:nvPr>
        </p:nvSpPr>
        <p:spPr>
          <a:xfrm>
            <a:off x="2025650" y="1144588"/>
            <a:ext cx="228600" cy="228600"/>
          </a:xfrm>
          <a:prstGeom prst="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微软雅黑" panose="020B0503020204020204" charset="-122"/>
              <a:ea typeface="微软雅黑" panose="020B0503020204020204" charset="-122"/>
            </a:endParaRPr>
          </a:p>
        </p:txBody>
      </p:sp>
      <p:sp>
        <p:nvSpPr>
          <p:cNvPr id="7" name="矩形 6"/>
          <p:cNvSpPr/>
          <p:nvPr>
            <p:custDataLst>
              <p:tags r:id="rId4"/>
            </p:custDataLst>
          </p:nvPr>
        </p:nvSpPr>
        <p:spPr>
          <a:xfrm>
            <a:off x="2478088" y="1149350"/>
            <a:ext cx="7440613" cy="4175125"/>
          </a:xfrm>
          <a:prstGeom prst="rect">
            <a:avLst/>
          </a:prstGeom>
          <a:no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10" name="文本框 9"/>
          <p:cNvSpPr txBox="1"/>
          <p:nvPr>
            <p:custDataLst>
              <p:tags r:id="rId5"/>
            </p:custDataLst>
          </p:nvPr>
        </p:nvSpPr>
        <p:spPr>
          <a:xfrm>
            <a:off x="2863850" y="1585913"/>
            <a:ext cx="5324475" cy="468313"/>
          </a:xfrm>
          <a:prstGeom prst="rect">
            <a:avLst/>
          </a:prstGeom>
          <a:noFill/>
        </p:spPr>
        <p:txBody>
          <a:bodyPr wrap="square" lIns="76200" tIns="28575" rIns="47625" bIns="28575" rtlCol="0">
            <a:noAutofit/>
          </a:bodyPr>
          <a:lstStyle/>
          <a:p>
            <a:r>
              <a:rPr lang="zh-CN" altLang="en-US" sz="2700" dirty="0">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sym typeface="+mn-ea"/>
              </a:rPr>
              <a:t>HTML 文档 = 网页</a:t>
            </a:r>
            <a:endParaRPr sz="2700" b="1" spc="300" noProof="1" dirty="0">
              <a:solidFill>
                <a:schemeClr val="tx1">
                  <a:lumMod val="75000"/>
                  <a:lumOff val="25000"/>
                </a:schemeClr>
              </a:solidFill>
              <a:latin typeface="微软雅黑" panose="020B0503020204020204" charset="-122"/>
              <a:ea typeface="微软雅黑" panose="020B0503020204020204" charset="-122"/>
              <a:cs typeface="+mn-cs"/>
            </a:endParaRPr>
          </a:p>
        </p:txBody>
      </p:sp>
      <p:sp>
        <p:nvSpPr>
          <p:cNvPr id="9" name="矩形 8"/>
          <p:cNvSpPr/>
          <p:nvPr>
            <p:custDataLst>
              <p:tags r:id="rId6"/>
            </p:custDataLst>
          </p:nvPr>
        </p:nvSpPr>
        <p:spPr>
          <a:xfrm>
            <a:off x="10082213" y="3416300"/>
            <a:ext cx="146050" cy="1908175"/>
          </a:xfrm>
          <a:prstGeom prst="rect">
            <a:avLst/>
          </a:prstGeom>
          <a:solidFill>
            <a:schemeClr val="accent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微软雅黑" panose="020B0503020204020204" charset="-122"/>
              <a:ea typeface="微软雅黑" panose="020B0503020204020204" charset="-122"/>
            </a:endParaRPr>
          </a:p>
        </p:txBody>
      </p:sp>
      <p:sp>
        <p:nvSpPr>
          <p:cNvPr id="17" name="任意多边形: 形状 16"/>
          <p:cNvSpPr/>
          <p:nvPr>
            <p:custDataLst>
              <p:tags r:id="rId7"/>
            </p:custDataLst>
          </p:nvPr>
        </p:nvSpPr>
        <p:spPr>
          <a:xfrm rot="10800000">
            <a:off x="8872538" y="1882775"/>
            <a:ext cx="255588" cy="311150"/>
          </a:xfrm>
          <a:custGeom>
            <a:avLst/>
            <a:gdLst>
              <a:gd name="connsiteX0" fmla="*/ 174788 w 340237"/>
              <a:gd name="connsiteY0" fmla="*/ 0 h 415819"/>
              <a:gd name="connsiteX1" fmla="*/ 340237 w 340237"/>
              <a:gd name="connsiteY1" fmla="*/ 0 h 415819"/>
              <a:gd name="connsiteX2" fmla="*/ 241322 w 340237"/>
              <a:gd name="connsiteY2" fmla="*/ 415819 h 415819"/>
              <a:gd name="connsiteX3" fmla="*/ 0 w 340237"/>
              <a:gd name="connsiteY3" fmla="*/ 415819 h 415819"/>
            </a:gdLst>
            <a:ahLst/>
            <a:cxnLst>
              <a:cxn ang="0">
                <a:pos x="connsiteX0" y="connsiteY0"/>
              </a:cxn>
              <a:cxn ang="0">
                <a:pos x="connsiteX1" y="connsiteY1"/>
              </a:cxn>
              <a:cxn ang="0">
                <a:pos x="connsiteX2" y="connsiteY2"/>
              </a:cxn>
              <a:cxn ang="0">
                <a:pos x="connsiteX3" y="connsiteY3"/>
              </a:cxn>
            </a:cxnLst>
            <a:rect l="l" t="t" r="r" b="b"/>
            <a:pathLst>
              <a:path w="340237" h="415819">
                <a:moveTo>
                  <a:pt x="174788" y="0"/>
                </a:moveTo>
                <a:lnTo>
                  <a:pt x="340237" y="0"/>
                </a:lnTo>
                <a:lnTo>
                  <a:pt x="241322" y="415819"/>
                </a:lnTo>
                <a:lnTo>
                  <a:pt x="0" y="415819"/>
                </a:lnTo>
                <a:close/>
              </a:path>
            </a:pathLst>
          </a:cu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endParaRPr lang="zh-CN" altLang="en-US" sz="1350" strike="noStrike" noProof="1">
              <a:ea typeface="微软雅黑" panose="020B0503020204020204" charset="-122"/>
            </a:endParaRPr>
          </a:p>
        </p:txBody>
      </p:sp>
      <p:sp>
        <p:nvSpPr>
          <p:cNvPr id="18" name="任意多边形: 形状 17"/>
          <p:cNvSpPr/>
          <p:nvPr>
            <p:custDataLst>
              <p:tags r:id="rId8"/>
            </p:custDataLst>
          </p:nvPr>
        </p:nvSpPr>
        <p:spPr>
          <a:xfrm rot="10800000">
            <a:off x="8586788" y="1882775"/>
            <a:ext cx="255588" cy="311150"/>
          </a:xfrm>
          <a:custGeom>
            <a:avLst/>
            <a:gdLst>
              <a:gd name="connsiteX0" fmla="*/ 174788 w 340237"/>
              <a:gd name="connsiteY0" fmla="*/ 0 h 415819"/>
              <a:gd name="connsiteX1" fmla="*/ 340237 w 340237"/>
              <a:gd name="connsiteY1" fmla="*/ 0 h 415819"/>
              <a:gd name="connsiteX2" fmla="*/ 241322 w 340237"/>
              <a:gd name="connsiteY2" fmla="*/ 415819 h 415819"/>
              <a:gd name="connsiteX3" fmla="*/ 0 w 340237"/>
              <a:gd name="connsiteY3" fmla="*/ 415819 h 415819"/>
            </a:gdLst>
            <a:ahLst/>
            <a:cxnLst>
              <a:cxn ang="0">
                <a:pos x="connsiteX0" y="connsiteY0"/>
              </a:cxn>
              <a:cxn ang="0">
                <a:pos x="connsiteX1" y="connsiteY1"/>
              </a:cxn>
              <a:cxn ang="0">
                <a:pos x="connsiteX2" y="connsiteY2"/>
              </a:cxn>
              <a:cxn ang="0">
                <a:pos x="connsiteX3" y="connsiteY3"/>
              </a:cxn>
            </a:cxnLst>
            <a:rect l="l" t="t" r="r" b="b"/>
            <a:pathLst>
              <a:path w="340237" h="415819">
                <a:moveTo>
                  <a:pt x="174788" y="0"/>
                </a:moveTo>
                <a:lnTo>
                  <a:pt x="340237" y="0"/>
                </a:lnTo>
                <a:lnTo>
                  <a:pt x="241322" y="415819"/>
                </a:lnTo>
                <a:lnTo>
                  <a:pt x="0" y="415819"/>
                </a:lnTo>
                <a:close/>
              </a:path>
            </a:pathLst>
          </a:cu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endParaRPr lang="zh-CN" altLang="en-US" sz="1350" strike="noStrike" noProof="1">
              <a:ea typeface="微软雅黑" panose="020B0503020204020204" charset="-122"/>
            </a:endParaRPr>
          </a:p>
        </p:txBody>
      </p:sp>
      <p:sp>
        <p:nvSpPr>
          <p:cNvPr id="2" name="TextBox 21"/>
          <p:cNvSpPr txBox="1"/>
          <p:nvPr/>
        </p:nvSpPr>
        <p:spPr>
          <a:xfrm>
            <a:off x="2991485" y="1909445"/>
            <a:ext cx="6209030" cy="2306955"/>
          </a:xfrm>
          <a:prstGeom prst="rect">
            <a:avLst/>
          </a:prstGeom>
          <a:noFill/>
        </p:spPr>
        <p:txBody>
          <a:bodyPr wrap="square" rtlCol="0">
            <a:spAutoFit/>
          </a:bodyPr>
          <a:p>
            <a:pPr lvl="0">
              <a:lnSpc>
                <a:spcPct val="150000"/>
              </a:lnSpc>
              <a:defRPr/>
            </a:pPr>
            <a:endPar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endParaRPr>
          </a:p>
          <a:p>
            <a:pPr lvl="0">
              <a:lnSpc>
                <a:spcPct val="150000"/>
              </a:lnSpc>
              <a:defRPr/>
            </a:pPr>
            <a:r>
              <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rPr>
              <a:t>HTML 文档描述网页</a:t>
            </a:r>
            <a:endPar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endParaRPr>
          </a:p>
          <a:p>
            <a:pPr lvl="0">
              <a:lnSpc>
                <a:spcPct val="150000"/>
              </a:lnSpc>
              <a:defRPr/>
            </a:pPr>
            <a:r>
              <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rPr>
              <a:t>HTML 文档包含 HTML 标签和纯文本</a:t>
            </a:r>
            <a:endPar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endParaRPr>
          </a:p>
          <a:p>
            <a:pPr lvl="0">
              <a:lnSpc>
                <a:spcPct val="150000"/>
              </a:lnSpc>
              <a:defRPr/>
            </a:pPr>
            <a:r>
              <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rPr>
              <a:t>HTML 文档也被称为网页</a:t>
            </a:r>
            <a:endPar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endParaRPr>
          </a:p>
          <a:p>
            <a:pPr lvl="0">
              <a:lnSpc>
                <a:spcPct val="150000"/>
              </a:lnSpc>
              <a:defRPr/>
            </a:pPr>
            <a:r>
              <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rPr>
              <a:t>Web 浏览器的作用是读取 HTML 文档，并以网页的形式显示出它们。浏览器不会显示 HTML 标签，而是使用标签来解释页面的内容：</a:t>
            </a:r>
            <a:endPar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endParaRPr>
          </a:p>
        </p:txBody>
      </p:sp>
    </p:spTree>
    <p:custDataLst>
      <p:tags r:id="rId9"/>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5" name="矩形 14"/>
          <p:cNvSpPr/>
          <p:nvPr>
            <p:custDataLst>
              <p:tags r:id="rId1"/>
            </p:custDataLst>
          </p:nvPr>
        </p:nvSpPr>
        <p:spPr>
          <a:xfrm>
            <a:off x="1524000" y="857250"/>
            <a:ext cx="9144000" cy="5143500"/>
          </a:xfrm>
          <a:prstGeom prst="rect">
            <a:avLst/>
          </a:prstGeom>
          <a:pattFill prst="smCheck">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r>
              <a:rPr kumimoji="1" lang="en-US" altLang="zh-CN" sz="1200" b="1" strike="noStrike" noProof="1" dirty="0">
                <a:solidFill>
                  <a:schemeClr val="bg1"/>
                </a:solidFill>
                <a:latin typeface="微软雅黑" panose="020B0503020204020204" charset="-122"/>
                <a:ea typeface="微软雅黑" panose="020B0503020204020204" charset="-122"/>
              </a:rPr>
              <a:t>·</a:t>
            </a:r>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5" name="矩形 4"/>
          <p:cNvSpPr/>
          <p:nvPr>
            <p:custDataLst>
              <p:tags r:id="rId2"/>
            </p:custDataLst>
          </p:nvPr>
        </p:nvSpPr>
        <p:spPr>
          <a:xfrm>
            <a:off x="2431415" y="1621473"/>
            <a:ext cx="7435850" cy="4175125"/>
          </a:xfrm>
          <a:prstGeom prst="rect">
            <a:avLst/>
          </a:prstGeom>
          <a:solidFill>
            <a:schemeClr val="bg1">
              <a:lumMod val="85000"/>
              <a:alpha val="50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6" name="矩形 5"/>
          <p:cNvSpPr/>
          <p:nvPr>
            <p:custDataLst>
              <p:tags r:id="rId3"/>
            </p:custDataLst>
          </p:nvPr>
        </p:nvSpPr>
        <p:spPr>
          <a:xfrm>
            <a:off x="2025650" y="1144588"/>
            <a:ext cx="228600" cy="228600"/>
          </a:xfrm>
          <a:prstGeom prst="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微软雅黑" panose="020B0503020204020204" charset="-122"/>
              <a:ea typeface="微软雅黑" panose="020B0503020204020204" charset="-122"/>
            </a:endParaRPr>
          </a:p>
        </p:txBody>
      </p:sp>
      <p:sp>
        <p:nvSpPr>
          <p:cNvPr id="7" name="矩形 6"/>
          <p:cNvSpPr/>
          <p:nvPr>
            <p:custDataLst>
              <p:tags r:id="rId4"/>
            </p:custDataLst>
          </p:nvPr>
        </p:nvSpPr>
        <p:spPr>
          <a:xfrm>
            <a:off x="2253615" y="1031240"/>
            <a:ext cx="8324850" cy="5282565"/>
          </a:xfrm>
          <a:prstGeom prst="rect">
            <a:avLst/>
          </a:prstGeom>
          <a:no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10" name="文本框 9"/>
          <p:cNvSpPr txBox="1"/>
          <p:nvPr>
            <p:custDataLst>
              <p:tags r:id="rId5"/>
            </p:custDataLst>
          </p:nvPr>
        </p:nvSpPr>
        <p:spPr>
          <a:xfrm>
            <a:off x="2679700" y="1144905"/>
            <a:ext cx="6939915" cy="468630"/>
          </a:xfrm>
          <a:prstGeom prst="rect">
            <a:avLst/>
          </a:prstGeom>
          <a:noFill/>
        </p:spPr>
        <p:txBody>
          <a:bodyPr wrap="square" lIns="76200" tIns="28575" rIns="47625" bIns="28575" rtlCol="0">
            <a:noAutofit/>
          </a:bodyPr>
          <a:lstStyle/>
          <a:p>
            <a:r>
              <a:rPr lang="en-US" altLang="zh-CN" sz="2700" spc="150" dirty="0">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sym typeface="+mn-ea"/>
              </a:rPr>
              <a:t>实例：从堆叠到水平排列</a:t>
            </a:r>
            <a:endParaRPr lang="en-US" altLang="zh-CN" sz="2700" spc="150" dirty="0">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sym typeface="+mn-ea"/>
            </a:endParaRPr>
          </a:p>
        </p:txBody>
      </p:sp>
      <p:sp>
        <p:nvSpPr>
          <p:cNvPr id="9" name="矩形 8"/>
          <p:cNvSpPr/>
          <p:nvPr>
            <p:custDataLst>
              <p:tags r:id="rId6"/>
            </p:custDataLst>
          </p:nvPr>
        </p:nvSpPr>
        <p:spPr>
          <a:xfrm>
            <a:off x="10082213" y="3416300"/>
            <a:ext cx="146050" cy="1908175"/>
          </a:xfrm>
          <a:prstGeom prst="rect">
            <a:avLst/>
          </a:prstGeom>
          <a:solidFill>
            <a:schemeClr val="accent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微软雅黑" panose="020B0503020204020204" charset="-122"/>
              <a:ea typeface="微软雅黑" panose="020B0503020204020204" charset="-122"/>
            </a:endParaRPr>
          </a:p>
        </p:txBody>
      </p:sp>
      <p:sp>
        <p:nvSpPr>
          <p:cNvPr id="17" name="任意多边形: 形状 16"/>
          <p:cNvSpPr/>
          <p:nvPr>
            <p:custDataLst>
              <p:tags r:id="rId7"/>
            </p:custDataLst>
          </p:nvPr>
        </p:nvSpPr>
        <p:spPr>
          <a:xfrm rot="10800000">
            <a:off x="8872538" y="1882775"/>
            <a:ext cx="255588" cy="311150"/>
          </a:xfrm>
          <a:custGeom>
            <a:avLst/>
            <a:gdLst>
              <a:gd name="connsiteX0" fmla="*/ 174788 w 340237"/>
              <a:gd name="connsiteY0" fmla="*/ 0 h 415819"/>
              <a:gd name="connsiteX1" fmla="*/ 340237 w 340237"/>
              <a:gd name="connsiteY1" fmla="*/ 0 h 415819"/>
              <a:gd name="connsiteX2" fmla="*/ 241322 w 340237"/>
              <a:gd name="connsiteY2" fmla="*/ 415819 h 415819"/>
              <a:gd name="connsiteX3" fmla="*/ 0 w 340237"/>
              <a:gd name="connsiteY3" fmla="*/ 415819 h 415819"/>
            </a:gdLst>
            <a:ahLst/>
            <a:cxnLst>
              <a:cxn ang="0">
                <a:pos x="connsiteX0" y="connsiteY0"/>
              </a:cxn>
              <a:cxn ang="0">
                <a:pos x="connsiteX1" y="connsiteY1"/>
              </a:cxn>
              <a:cxn ang="0">
                <a:pos x="connsiteX2" y="connsiteY2"/>
              </a:cxn>
              <a:cxn ang="0">
                <a:pos x="connsiteX3" y="connsiteY3"/>
              </a:cxn>
            </a:cxnLst>
            <a:rect l="l" t="t" r="r" b="b"/>
            <a:pathLst>
              <a:path w="340237" h="415819">
                <a:moveTo>
                  <a:pt x="174788" y="0"/>
                </a:moveTo>
                <a:lnTo>
                  <a:pt x="340237" y="0"/>
                </a:lnTo>
                <a:lnTo>
                  <a:pt x="241322" y="415819"/>
                </a:lnTo>
                <a:lnTo>
                  <a:pt x="0" y="415819"/>
                </a:lnTo>
                <a:close/>
              </a:path>
            </a:pathLst>
          </a:cu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endParaRPr lang="zh-CN" altLang="en-US" sz="1350" strike="noStrike" noProof="1">
              <a:ea typeface="微软雅黑" panose="020B0503020204020204" charset="-122"/>
            </a:endParaRPr>
          </a:p>
        </p:txBody>
      </p:sp>
      <p:sp>
        <p:nvSpPr>
          <p:cNvPr id="18" name="任意多边形: 形状 17"/>
          <p:cNvSpPr/>
          <p:nvPr>
            <p:custDataLst>
              <p:tags r:id="rId8"/>
            </p:custDataLst>
          </p:nvPr>
        </p:nvSpPr>
        <p:spPr>
          <a:xfrm rot="10800000">
            <a:off x="8586788" y="1882775"/>
            <a:ext cx="255588" cy="311150"/>
          </a:xfrm>
          <a:custGeom>
            <a:avLst/>
            <a:gdLst>
              <a:gd name="connsiteX0" fmla="*/ 174788 w 340237"/>
              <a:gd name="connsiteY0" fmla="*/ 0 h 415819"/>
              <a:gd name="connsiteX1" fmla="*/ 340237 w 340237"/>
              <a:gd name="connsiteY1" fmla="*/ 0 h 415819"/>
              <a:gd name="connsiteX2" fmla="*/ 241322 w 340237"/>
              <a:gd name="connsiteY2" fmla="*/ 415819 h 415819"/>
              <a:gd name="connsiteX3" fmla="*/ 0 w 340237"/>
              <a:gd name="connsiteY3" fmla="*/ 415819 h 415819"/>
            </a:gdLst>
            <a:ahLst/>
            <a:cxnLst>
              <a:cxn ang="0">
                <a:pos x="connsiteX0" y="connsiteY0"/>
              </a:cxn>
              <a:cxn ang="0">
                <a:pos x="connsiteX1" y="connsiteY1"/>
              </a:cxn>
              <a:cxn ang="0">
                <a:pos x="connsiteX2" y="connsiteY2"/>
              </a:cxn>
              <a:cxn ang="0">
                <a:pos x="connsiteX3" y="connsiteY3"/>
              </a:cxn>
            </a:cxnLst>
            <a:rect l="l" t="t" r="r" b="b"/>
            <a:pathLst>
              <a:path w="340237" h="415819">
                <a:moveTo>
                  <a:pt x="174788" y="0"/>
                </a:moveTo>
                <a:lnTo>
                  <a:pt x="340237" y="0"/>
                </a:lnTo>
                <a:lnTo>
                  <a:pt x="241322" y="415819"/>
                </a:lnTo>
                <a:lnTo>
                  <a:pt x="0" y="415819"/>
                </a:lnTo>
                <a:close/>
              </a:path>
            </a:pathLst>
          </a:cu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endParaRPr lang="zh-CN" altLang="en-US" sz="1350" strike="noStrike" noProof="1">
              <a:ea typeface="微软雅黑" panose="020B0503020204020204" charset="-122"/>
            </a:endParaRPr>
          </a:p>
        </p:txBody>
      </p:sp>
      <p:sp>
        <p:nvSpPr>
          <p:cNvPr id="2" name="文本框 1"/>
          <p:cNvSpPr txBox="1"/>
          <p:nvPr>
            <p:custDataLst>
              <p:tags r:id="rId9"/>
            </p:custDataLst>
          </p:nvPr>
        </p:nvSpPr>
        <p:spPr>
          <a:xfrm>
            <a:off x="2555875" y="1753235"/>
            <a:ext cx="7832725" cy="4740275"/>
          </a:xfrm>
          <a:prstGeom prst="rect">
            <a:avLst/>
          </a:prstGeom>
          <a:noFill/>
        </p:spPr>
        <p:txBody>
          <a:bodyPr wrap="square" lIns="76200" tIns="0" rIns="61912" bIns="0" rtlCol="0">
            <a:noAutofit/>
          </a:bodyPr>
          <a:lstStyle>
            <a:defPPr>
              <a:defRPr lang="zh-CN"/>
            </a:defPPr>
            <a:lvl1pPr fontAlgn="auto">
              <a:lnSpc>
                <a:spcPct val="130000"/>
              </a:lnSpc>
              <a:spcAft>
                <a:spcPts val="1000"/>
              </a:spcAft>
              <a:defRPr sz="1600" spc="150"/>
            </a:lvl1pPr>
          </a:lstStyle>
          <a:p>
            <a:pPr indent="0" fontAlgn="ctr">
              <a:spcBef>
                <a:spcPts val="1000"/>
              </a:spcBef>
              <a:spcAft>
                <a:spcPts val="0"/>
              </a:spcAft>
              <a:buClr>
                <a:schemeClr val="tx2">
                  <a:lumMod val="75000"/>
                </a:schemeClr>
              </a:buClr>
              <a:buSzPct val="130000"/>
              <a:buFont typeface="WPS-Bullets" pitchFamily="2" charset="0"/>
              <a:buNone/>
            </a:pPr>
            <a:r>
              <a:rPr lang="en-US" altLang="zh-CN" sz="1200" dirty="0">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sym typeface="+mn-ea"/>
              </a:rPr>
              <a:t>使用单一的一组 .col-md-* 栅格类，就可以创建一个基本的栅格系统，在手机和平板设备上一开始是堆叠在一起的（超小屏幕到小屏幕这一范围），在桌面（中等）屏幕设备上变为水平排列。所有“列（column）必须放在 ” .row 内。</a:t>
            </a:r>
            <a:endParaRPr lang="en-US" altLang="zh-CN" sz="1200" dirty="0">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sym typeface="+mn-ea"/>
            </a:endParaRPr>
          </a:p>
          <a:p>
            <a:pPr indent="0" fontAlgn="ctr">
              <a:spcBef>
                <a:spcPts val="1000"/>
              </a:spcBef>
              <a:spcAft>
                <a:spcPts val="0"/>
              </a:spcAft>
              <a:buClr>
                <a:schemeClr val="tx2">
                  <a:lumMod val="75000"/>
                </a:schemeClr>
              </a:buClr>
              <a:buSzPct val="130000"/>
              <a:buFont typeface="WPS-Bullets" pitchFamily="2" charset="0"/>
              <a:buNone/>
            </a:pP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indent="0" fontAlgn="ctr">
              <a:spcBef>
                <a:spcPts val="1000"/>
              </a:spcBef>
              <a:spcAft>
                <a:spcPts val="0"/>
              </a:spcAft>
              <a:buClr>
                <a:schemeClr val="tx2">
                  <a:lumMod val="75000"/>
                </a:schemeClr>
              </a:buClr>
              <a:buSzPct val="130000"/>
              <a:buFont typeface="WPS-Bullets" pitchFamily="2" charset="0"/>
              <a:buNone/>
            </a:pP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p:txBody>
      </p:sp>
      <p:pic>
        <p:nvPicPr>
          <p:cNvPr id="3" name="图片 2"/>
          <p:cNvPicPr>
            <a:picLocks noChangeAspect="1"/>
          </p:cNvPicPr>
          <p:nvPr/>
        </p:nvPicPr>
        <p:blipFill>
          <a:blip r:embed="rId10"/>
          <a:stretch>
            <a:fillRect/>
          </a:stretch>
        </p:blipFill>
        <p:spPr>
          <a:xfrm>
            <a:off x="1924050" y="2880360"/>
            <a:ext cx="8743950" cy="2486025"/>
          </a:xfrm>
          <a:prstGeom prst="rect">
            <a:avLst/>
          </a:prstGeom>
        </p:spPr>
      </p:pic>
    </p:spTree>
    <p:custDataLst>
      <p:tags r:id="rId11"/>
    </p:custData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5" name="矩形 14"/>
          <p:cNvSpPr/>
          <p:nvPr>
            <p:custDataLst>
              <p:tags r:id="rId1"/>
            </p:custDataLst>
          </p:nvPr>
        </p:nvSpPr>
        <p:spPr>
          <a:xfrm>
            <a:off x="1524000" y="857250"/>
            <a:ext cx="9144000" cy="5143500"/>
          </a:xfrm>
          <a:prstGeom prst="rect">
            <a:avLst/>
          </a:prstGeom>
          <a:pattFill prst="smCheck">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r>
              <a:rPr kumimoji="1" lang="en-US" altLang="zh-CN" sz="1200" b="1" strike="noStrike" noProof="1" dirty="0">
                <a:solidFill>
                  <a:schemeClr val="bg1"/>
                </a:solidFill>
                <a:latin typeface="微软雅黑" panose="020B0503020204020204" charset="-122"/>
                <a:ea typeface="微软雅黑" panose="020B0503020204020204" charset="-122"/>
              </a:rPr>
              <a:t>·</a:t>
            </a:r>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5" name="矩形 4"/>
          <p:cNvSpPr/>
          <p:nvPr>
            <p:custDataLst>
              <p:tags r:id="rId2"/>
            </p:custDataLst>
          </p:nvPr>
        </p:nvSpPr>
        <p:spPr>
          <a:xfrm>
            <a:off x="2431415" y="1621473"/>
            <a:ext cx="7435850" cy="4175125"/>
          </a:xfrm>
          <a:prstGeom prst="rect">
            <a:avLst/>
          </a:prstGeom>
          <a:solidFill>
            <a:schemeClr val="bg1">
              <a:lumMod val="85000"/>
              <a:alpha val="50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6" name="矩形 5"/>
          <p:cNvSpPr/>
          <p:nvPr>
            <p:custDataLst>
              <p:tags r:id="rId3"/>
            </p:custDataLst>
          </p:nvPr>
        </p:nvSpPr>
        <p:spPr>
          <a:xfrm>
            <a:off x="2025650" y="1144588"/>
            <a:ext cx="228600" cy="228600"/>
          </a:xfrm>
          <a:prstGeom prst="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微软雅黑" panose="020B0503020204020204" charset="-122"/>
              <a:ea typeface="微软雅黑" panose="020B0503020204020204" charset="-122"/>
            </a:endParaRPr>
          </a:p>
        </p:txBody>
      </p:sp>
      <p:sp>
        <p:nvSpPr>
          <p:cNvPr id="7" name="矩形 6"/>
          <p:cNvSpPr/>
          <p:nvPr>
            <p:custDataLst>
              <p:tags r:id="rId4"/>
            </p:custDataLst>
          </p:nvPr>
        </p:nvSpPr>
        <p:spPr>
          <a:xfrm>
            <a:off x="2253615" y="1031240"/>
            <a:ext cx="8324850" cy="5282565"/>
          </a:xfrm>
          <a:prstGeom prst="rect">
            <a:avLst/>
          </a:prstGeom>
          <a:no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10" name="文本框 9"/>
          <p:cNvSpPr txBox="1"/>
          <p:nvPr>
            <p:custDataLst>
              <p:tags r:id="rId5"/>
            </p:custDataLst>
          </p:nvPr>
        </p:nvSpPr>
        <p:spPr>
          <a:xfrm>
            <a:off x="2679700" y="1144905"/>
            <a:ext cx="6939915" cy="468630"/>
          </a:xfrm>
          <a:prstGeom prst="rect">
            <a:avLst/>
          </a:prstGeom>
          <a:noFill/>
        </p:spPr>
        <p:txBody>
          <a:bodyPr wrap="square" lIns="76200" tIns="28575" rIns="47625" bIns="28575" rtlCol="0">
            <a:noAutofit/>
          </a:bodyPr>
          <a:lstStyle/>
          <a:p>
            <a:r>
              <a:rPr lang="en-US" altLang="zh-CN" sz="2700" spc="150" dirty="0">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sym typeface="+mn-ea"/>
              </a:rPr>
              <a:t>实例：手机、平板、桌面</a:t>
            </a:r>
            <a:endParaRPr lang="en-US" altLang="zh-CN" sz="2700" spc="150" dirty="0">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sym typeface="+mn-ea"/>
            </a:endParaRPr>
          </a:p>
        </p:txBody>
      </p:sp>
      <p:sp>
        <p:nvSpPr>
          <p:cNvPr id="9" name="矩形 8"/>
          <p:cNvSpPr/>
          <p:nvPr>
            <p:custDataLst>
              <p:tags r:id="rId6"/>
            </p:custDataLst>
          </p:nvPr>
        </p:nvSpPr>
        <p:spPr>
          <a:xfrm>
            <a:off x="10082213" y="3416300"/>
            <a:ext cx="146050" cy="1908175"/>
          </a:xfrm>
          <a:prstGeom prst="rect">
            <a:avLst/>
          </a:prstGeom>
          <a:solidFill>
            <a:schemeClr val="accent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微软雅黑" panose="020B0503020204020204" charset="-122"/>
              <a:ea typeface="微软雅黑" panose="020B0503020204020204" charset="-122"/>
            </a:endParaRPr>
          </a:p>
        </p:txBody>
      </p:sp>
      <p:sp>
        <p:nvSpPr>
          <p:cNvPr id="17" name="任意多边形: 形状 16"/>
          <p:cNvSpPr/>
          <p:nvPr>
            <p:custDataLst>
              <p:tags r:id="rId7"/>
            </p:custDataLst>
          </p:nvPr>
        </p:nvSpPr>
        <p:spPr>
          <a:xfrm rot="10800000">
            <a:off x="8872538" y="1882775"/>
            <a:ext cx="255588" cy="311150"/>
          </a:xfrm>
          <a:custGeom>
            <a:avLst/>
            <a:gdLst>
              <a:gd name="connsiteX0" fmla="*/ 174788 w 340237"/>
              <a:gd name="connsiteY0" fmla="*/ 0 h 415819"/>
              <a:gd name="connsiteX1" fmla="*/ 340237 w 340237"/>
              <a:gd name="connsiteY1" fmla="*/ 0 h 415819"/>
              <a:gd name="connsiteX2" fmla="*/ 241322 w 340237"/>
              <a:gd name="connsiteY2" fmla="*/ 415819 h 415819"/>
              <a:gd name="connsiteX3" fmla="*/ 0 w 340237"/>
              <a:gd name="connsiteY3" fmla="*/ 415819 h 415819"/>
            </a:gdLst>
            <a:ahLst/>
            <a:cxnLst>
              <a:cxn ang="0">
                <a:pos x="connsiteX0" y="connsiteY0"/>
              </a:cxn>
              <a:cxn ang="0">
                <a:pos x="connsiteX1" y="connsiteY1"/>
              </a:cxn>
              <a:cxn ang="0">
                <a:pos x="connsiteX2" y="connsiteY2"/>
              </a:cxn>
              <a:cxn ang="0">
                <a:pos x="connsiteX3" y="connsiteY3"/>
              </a:cxn>
            </a:cxnLst>
            <a:rect l="l" t="t" r="r" b="b"/>
            <a:pathLst>
              <a:path w="340237" h="415819">
                <a:moveTo>
                  <a:pt x="174788" y="0"/>
                </a:moveTo>
                <a:lnTo>
                  <a:pt x="340237" y="0"/>
                </a:lnTo>
                <a:lnTo>
                  <a:pt x="241322" y="415819"/>
                </a:lnTo>
                <a:lnTo>
                  <a:pt x="0" y="415819"/>
                </a:lnTo>
                <a:close/>
              </a:path>
            </a:pathLst>
          </a:cu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endParaRPr lang="zh-CN" altLang="en-US" sz="1350" strike="noStrike" noProof="1">
              <a:ea typeface="微软雅黑" panose="020B0503020204020204" charset="-122"/>
            </a:endParaRPr>
          </a:p>
        </p:txBody>
      </p:sp>
      <p:sp>
        <p:nvSpPr>
          <p:cNvPr id="18" name="任意多边形: 形状 17"/>
          <p:cNvSpPr/>
          <p:nvPr>
            <p:custDataLst>
              <p:tags r:id="rId8"/>
            </p:custDataLst>
          </p:nvPr>
        </p:nvSpPr>
        <p:spPr>
          <a:xfrm rot="10800000">
            <a:off x="8586788" y="1882775"/>
            <a:ext cx="255588" cy="311150"/>
          </a:xfrm>
          <a:custGeom>
            <a:avLst/>
            <a:gdLst>
              <a:gd name="connsiteX0" fmla="*/ 174788 w 340237"/>
              <a:gd name="connsiteY0" fmla="*/ 0 h 415819"/>
              <a:gd name="connsiteX1" fmla="*/ 340237 w 340237"/>
              <a:gd name="connsiteY1" fmla="*/ 0 h 415819"/>
              <a:gd name="connsiteX2" fmla="*/ 241322 w 340237"/>
              <a:gd name="connsiteY2" fmla="*/ 415819 h 415819"/>
              <a:gd name="connsiteX3" fmla="*/ 0 w 340237"/>
              <a:gd name="connsiteY3" fmla="*/ 415819 h 415819"/>
            </a:gdLst>
            <a:ahLst/>
            <a:cxnLst>
              <a:cxn ang="0">
                <a:pos x="connsiteX0" y="connsiteY0"/>
              </a:cxn>
              <a:cxn ang="0">
                <a:pos x="connsiteX1" y="connsiteY1"/>
              </a:cxn>
              <a:cxn ang="0">
                <a:pos x="connsiteX2" y="connsiteY2"/>
              </a:cxn>
              <a:cxn ang="0">
                <a:pos x="connsiteX3" y="connsiteY3"/>
              </a:cxn>
            </a:cxnLst>
            <a:rect l="l" t="t" r="r" b="b"/>
            <a:pathLst>
              <a:path w="340237" h="415819">
                <a:moveTo>
                  <a:pt x="174788" y="0"/>
                </a:moveTo>
                <a:lnTo>
                  <a:pt x="340237" y="0"/>
                </a:lnTo>
                <a:lnTo>
                  <a:pt x="241322" y="415819"/>
                </a:lnTo>
                <a:lnTo>
                  <a:pt x="0" y="415819"/>
                </a:lnTo>
                <a:close/>
              </a:path>
            </a:pathLst>
          </a:cu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endParaRPr lang="zh-CN" altLang="en-US" sz="1350" strike="noStrike" noProof="1">
              <a:ea typeface="微软雅黑" panose="020B0503020204020204" charset="-122"/>
            </a:endParaRPr>
          </a:p>
        </p:txBody>
      </p:sp>
      <p:sp>
        <p:nvSpPr>
          <p:cNvPr id="2" name="文本框 1"/>
          <p:cNvSpPr txBox="1"/>
          <p:nvPr>
            <p:custDataLst>
              <p:tags r:id="rId9"/>
            </p:custDataLst>
          </p:nvPr>
        </p:nvSpPr>
        <p:spPr>
          <a:xfrm>
            <a:off x="2555875" y="1753235"/>
            <a:ext cx="7832725" cy="4740275"/>
          </a:xfrm>
          <a:prstGeom prst="rect">
            <a:avLst/>
          </a:prstGeom>
          <a:noFill/>
        </p:spPr>
        <p:txBody>
          <a:bodyPr wrap="square" lIns="76200" tIns="0" rIns="61912" bIns="0" rtlCol="0">
            <a:noAutofit/>
          </a:bodyPr>
          <a:lstStyle>
            <a:defPPr>
              <a:defRPr lang="zh-CN"/>
            </a:defPPr>
            <a:lvl1pPr fontAlgn="auto">
              <a:lnSpc>
                <a:spcPct val="130000"/>
              </a:lnSpc>
              <a:spcAft>
                <a:spcPts val="1000"/>
              </a:spcAft>
              <a:defRPr sz="1600" spc="150"/>
            </a:lvl1pPr>
          </a:lstStyle>
          <a:p>
            <a:pPr indent="0" fontAlgn="ctr">
              <a:spcBef>
                <a:spcPts val="1000"/>
              </a:spcBef>
              <a:spcAft>
                <a:spcPts val="0"/>
              </a:spcAft>
              <a:buClr>
                <a:schemeClr val="tx2">
                  <a:lumMod val="75000"/>
                </a:schemeClr>
              </a:buClr>
              <a:buSzPct val="130000"/>
              <a:buFont typeface="WPS-Bullets" pitchFamily="2" charset="0"/>
              <a:buNone/>
            </a:pPr>
            <a:r>
              <a:rPr lang="en-US" altLang="zh-CN" sz="1200" dirty="0">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sym typeface="+mn-ea"/>
              </a:rPr>
              <a:t>&lt;div class="row"&gt;</a:t>
            </a:r>
            <a:endParaRPr lang="en-US" altLang="zh-CN" sz="1200" dirty="0">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sym typeface="+mn-ea"/>
            </a:endParaRPr>
          </a:p>
          <a:p>
            <a:pPr indent="0" fontAlgn="ctr">
              <a:spcBef>
                <a:spcPts val="1000"/>
              </a:spcBef>
              <a:spcAft>
                <a:spcPts val="0"/>
              </a:spcAft>
              <a:buClr>
                <a:schemeClr val="tx2">
                  <a:lumMod val="75000"/>
                </a:schemeClr>
              </a:buClr>
              <a:buSzPct val="130000"/>
              <a:buFont typeface="WPS-Bullets" pitchFamily="2" charset="0"/>
              <a:buNone/>
            </a:pPr>
            <a:r>
              <a:rPr lang="en-US" altLang="zh-CN" sz="1200" dirty="0">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sym typeface="+mn-ea"/>
              </a:rPr>
              <a:t>  &lt;div class="col-xs-12 col-sm-6 col-md-8"&gt;.col-xs-12 .col-sm-6 .col-md-8&lt;/div&gt;</a:t>
            </a:r>
            <a:endParaRPr lang="en-US" altLang="zh-CN" sz="1200" dirty="0">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sym typeface="+mn-ea"/>
            </a:endParaRPr>
          </a:p>
          <a:p>
            <a:pPr indent="0" fontAlgn="ctr">
              <a:spcBef>
                <a:spcPts val="1000"/>
              </a:spcBef>
              <a:spcAft>
                <a:spcPts val="0"/>
              </a:spcAft>
              <a:buClr>
                <a:schemeClr val="tx2">
                  <a:lumMod val="75000"/>
                </a:schemeClr>
              </a:buClr>
              <a:buSzPct val="130000"/>
              <a:buFont typeface="WPS-Bullets" pitchFamily="2" charset="0"/>
              <a:buNone/>
            </a:pPr>
            <a:r>
              <a:rPr lang="en-US" altLang="zh-CN" sz="1200" dirty="0">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sym typeface="+mn-ea"/>
              </a:rPr>
              <a:t>  &lt;div class="col-xs-6 col-md-4"&gt;.col-xs-6 .col-md-4&lt;/div&gt;</a:t>
            </a:r>
            <a:endParaRPr lang="en-US" altLang="zh-CN" sz="1200" dirty="0">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sym typeface="+mn-ea"/>
            </a:endParaRPr>
          </a:p>
          <a:p>
            <a:pPr indent="0" fontAlgn="ctr">
              <a:spcBef>
                <a:spcPts val="1000"/>
              </a:spcBef>
              <a:spcAft>
                <a:spcPts val="0"/>
              </a:spcAft>
              <a:buClr>
                <a:schemeClr val="tx2">
                  <a:lumMod val="75000"/>
                </a:schemeClr>
              </a:buClr>
              <a:buSzPct val="130000"/>
              <a:buFont typeface="WPS-Bullets" pitchFamily="2" charset="0"/>
              <a:buNone/>
            </a:pPr>
            <a:r>
              <a:rPr lang="en-US" altLang="zh-CN" sz="1200" dirty="0">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sym typeface="+mn-ea"/>
              </a:rPr>
              <a:t>&lt;/div&gt;</a:t>
            </a:r>
            <a:endParaRPr lang="en-US" altLang="zh-CN" sz="1200" dirty="0">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sym typeface="+mn-ea"/>
            </a:endParaRPr>
          </a:p>
          <a:p>
            <a:pPr indent="0" fontAlgn="ctr">
              <a:spcBef>
                <a:spcPts val="1000"/>
              </a:spcBef>
              <a:spcAft>
                <a:spcPts val="0"/>
              </a:spcAft>
              <a:buClr>
                <a:schemeClr val="tx2">
                  <a:lumMod val="75000"/>
                </a:schemeClr>
              </a:buClr>
              <a:buSzPct val="130000"/>
              <a:buFont typeface="WPS-Bullets" pitchFamily="2" charset="0"/>
              <a:buNone/>
            </a:pPr>
            <a:endParaRPr lang="en-US" altLang="zh-CN" sz="1200" strike="noStrike" spc="150" noProof="1"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p:txBody>
      </p:sp>
      <p:pic>
        <p:nvPicPr>
          <p:cNvPr id="4" name="图片 3"/>
          <p:cNvPicPr>
            <a:picLocks noChangeAspect="1"/>
          </p:cNvPicPr>
          <p:nvPr/>
        </p:nvPicPr>
        <p:blipFill>
          <a:blip r:embed="rId10"/>
          <a:stretch>
            <a:fillRect/>
          </a:stretch>
        </p:blipFill>
        <p:spPr>
          <a:xfrm>
            <a:off x="1977390" y="3937635"/>
            <a:ext cx="8601075" cy="1181100"/>
          </a:xfrm>
          <a:prstGeom prst="rect">
            <a:avLst/>
          </a:prstGeom>
        </p:spPr>
      </p:pic>
    </p:spTree>
    <p:custDataLst>
      <p:tags r:id="rId11"/>
    </p:custData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1"/>
          <p:cNvSpPr txBox="1"/>
          <p:nvPr/>
        </p:nvSpPr>
        <p:spPr>
          <a:xfrm>
            <a:off x="807085" y="509905"/>
            <a:ext cx="8610600" cy="67818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dirty="0">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sym typeface="+mn-ea"/>
              </a:rPr>
              <a:t>导航组件</a:t>
            </a:r>
            <a:endParaRPr lang="en-US" dirty="0">
              <a:latin typeface="微软雅黑 Light" panose="020B0502040204020203" pitchFamily="34" charset="-122"/>
              <a:ea typeface="微软雅黑 Light" panose="020B0502040204020203" pitchFamily="34" charset="-122"/>
            </a:endParaRPr>
          </a:p>
        </p:txBody>
      </p:sp>
      <p:sp>
        <p:nvSpPr>
          <p:cNvPr id="2" name="TextBox 20"/>
          <p:cNvSpPr txBox="1"/>
          <p:nvPr/>
        </p:nvSpPr>
        <p:spPr>
          <a:xfrm>
            <a:off x="546735" y="1188085"/>
            <a:ext cx="11487785" cy="6185535"/>
          </a:xfrm>
          <a:prstGeom prst="rect">
            <a:avLst/>
          </a:prstGeom>
          <a:noFill/>
        </p:spPr>
        <p:txBody>
          <a:bodyPr wrap="square" rtlCol="0">
            <a:spAutoFit/>
          </a:bodyPr>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Bootstrap 中的导航组件都依赖同一个 .nav 类，状态类也是共用的。改变修饰类可以改变样式。</a:t>
            </a: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通过添加 .navbar-inverse 类可以改变导航条的外观。</a:t>
            </a: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navbar-fixed-top——设置导航条组件固定在顶部；</a:t>
            </a: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navbar-brand——设置导航条组件内的品牌图标；</a:t>
            </a: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navbar-brand默认是放文字的,也可以放图片，但必须是小图片,如果图片太大，位置就会靠下.</a:t>
            </a: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collapse——设置div元素为视口大于768px时显示；</a:t>
            </a: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navbar-collapse——设置div元素为导航条组件各列表项的父元素；</a:t>
            </a: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navbar-nav——设置ul为导航条组件内的列表元素;</a:t>
            </a: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 顶部导航栏占了 50px，下移内容部分 */</a:t>
            </a: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body {</a:t>
            </a: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    padding-top: 50px;</a:t>
            </a: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a:t>
            </a:r>
            <a:endParaRPr lang="zh-CN" altLang="en-US" sz="20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endParaRPr lang="zh-CN" altLang="en-US" sz="12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endParaRPr lang="en-US" altLang="zh-CN" sz="1200" dirty="0">
              <a:solidFill>
                <a:schemeClr val="accent4"/>
              </a:solidFill>
              <a:latin typeface="微软雅黑 Light" panose="020B0502040204020203" pitchFamily="34" charset="-122"/>
              <a:ea typeface="微软雅黑 Light" panose="020B0502040204020203" pitchFamily="34" charset="-122"/>
              <a:cs typeface="Open Sans" panose="020B0606030504020204" pitchFamily="34" charset="0"/>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2000"/>
                                        <p:tgtEl>
                                          <p:spTgt spid="36"/>
                                        </p:tgtEl>
                                      </p:cBhvr>
                                    </p:animEffect>
                                  </p:childTnLst>
                                </p:cTn>
                              </p:par>
                              <p:par>
                                <p:cTn id="8" presetID="42"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750"/>
                                        <p:tgtEl>
                                          <p:spTgt spid="2"/>
                                        </p:tgtEl>
                                      </p:cBhvr>
                                    </p:animEffect>
                                    <p:anim calcmode="lin" valueType="num">
                                      <p:cBhvr>
                                        <p:cTn id="11" dur="750" fill="hold"/>
                                        <p:tgtEl>
                                          <p:spTgt spid="2"/>
                                        </p:tgtEl>
                                        <p:attrNameLst>
                                          <p:attrName>ppt_x</p:attrName>
                                        </p:attrNameLst>
                                      </p:cBhvr>
                                      <p:tavLst>
                                        <p:tav tm="0">
                                          <p:val>
                                            <p:strVal val="#ppt_x"/>
                                          </p:val>
                                        </p:tav>
                                        <p:tav tm="100000">
                                          <p:val>
                                            <p:strVal val="#ppt_x"/>
                                          </p:val>
                                        </p:tav>
                                      </p:tavLst>
                                    </p:anim>
                                    <p:anim calcmode="lin" valueType="num">
                                      <p:cBhvr>
                                        <p:cTn id="12" dur="75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2"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3"/>
          <p:cNvGrpSpPr/>
          <p:nvPr/>
        </p:nvGrpSpPr>
        <p:grpSpPr>
          <a:xfrm>
            <a:off x="2534285" y="1047750"/>
            <a:ext cx="8623935" cy="4934585"/>
            <a:chOff x="684358" y="2902022"/>
            <a:chExt cx="3364308" cy="3364307"/>
          </a:xfrm>
          <a:solidFill>
            <a:schemeClr val="bg1">
              <a:lumMod val="95000"/>
            </a:schemeClr>
          </a:solidFill>
        </p:grpSpPr>
        <p:sp>
          <p:nvSpPr>
            <p:cNvPr id="3" name="Freeform 6"/>
            <p:cNvSpPr/>
            <p:nvPr/>
          </p:nvSpPr>
          <p:spPr bwMode="auto">
            <a:xfrm>
              <a:off x="684358" y="2902022"/>
              <a:ext cx="392746" cy="393856"/>
            </a:xfrm>
            <a:custGeom>
              <a:avLst/>
              <a:gdLst>
                <a:gd name="T0" fmla="*/ 354 w 709"/>
                <a:gd name="T1" fmla="*/ 0 h 709"/>
                <a:gd name="T2" fmla="*/ 709 w 709"/>
                <a:gd name="T3" fmla="*/ 355 h 709"/>
                <a:gd name="T4" fmla="*/ 354 w 709"/>
                <a:gd name="T5" fmla="*/ 709 h 709"/>
                <a:gd name="T6" fmla="*/ 0 w 709"/>
                <a:gd name="T7" fmla="*/ 355 h 709"/>
                <a:gd name="T8" fmla="*/ 354 w 709"/>
                <a:gd name="T9" fmla="*/ 0 h 709"/>
              </a:gdLst>
              <a:ahLst/>
              <a:cxnLst>
                <a:cxn ang="0">
                  <a:pos x="T0" y="T1"/>
                </a:cxn>
                <a:cxn ang="0">
                  <a:pos x="T2" y="T3"/>
                </a:cxn>
                <a:cxn ang="0">
                  <a:pos x="T4" y="T5"/>
                </a:cxn>
                <a:cxn ang="0">
                  <a:pos x="T6" y="T7"/>
                </a:cxn>
                <a:cxn ang="0">
                  <a:pos x="T8" y="T9"/>
                </a:cxn>
              </a:cxnLst>
              <a:rect l="0" t="0" r="r" b="b"/>
              <a:pathLst>
                <a:path w="709" h="709">
                  <a:moveTo>
                    <a:pt x="354" y="0"/>
                  </a:moveTo>
                  <a:lnTo>
                    <a:pt x="709" y="355"/>
                  </a:lnTo>
                  <a:lnTo>
                    <a:pt x="354" y="709"/>
                  </a:lnTo>
                  <a:lnTo>
                    <a:pt x="0" y="355"/>
                  </a:lnTo>
                  <a:lnTo>
                    <a:pt x="354" y="0"/>
                  </a:lnTo>
                  <a:close/>
                </a:path>
              </a:pathLst>
            </a:custGeom>
            <a:grp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latin typeface="Poppins"/>
                <a:ea typeface="+mn-ea"/>
                <a:cs typeface="+mn-cs"/>
              </a:endParaRPr>
            </a:p>
          </p:txBody>
        </p:sp>
        <p:sp>
          <p:nvSpPr>
            <p:cNvPr id="4" name="Freeform 7"/>
            <p:cNvSpPr/>
            <p:nvPr/>
          </p:nvSpPr>
          <p:spPr bwMode="auto">
            <a:xfrm>
              <a:off x="1427308" y="2902022"/>
              <a:ext cx="392746" cy="393856"/>
            </a:xfrm>
            <a:custGeom>
              <a:avLst/>
              <a:gdLst>
                <a:gd name="T0" fmla="*/ 355 w 709"/>
                <a:gd name="T1" fmla="*/ 0 h 709"/>
                <a:gd name="T2" fmla="*/ 709 w 709"/>
                <a:gd name="T3" fmla="*/ 355 h 709"/>
                <a:gd name="T4" fmla="*/ 355 w 709"/>
                <a:gd name="T5" fmla="*/ 709 h 709"/>
                <a:gd name="T6" fmla="*/ 0 w 709"/>
                <a:gd name="T7" fmla="*/ 355 h 709"/>
                <a:gd name="T8" fmla="*/ 355 w 709"/>
                <a:gd name="T9" fmla="*/ 0 h 709"/>
              </a:gdLst>
              <a:ahLst/>
              <a:cxnLst>
                <a:cxn ang="0">
                  <a:pos x="T0" y="T1"/>
                </a:cxn>
                <a:cxn ang="0">
                  <a:pos x="T2" y="T3"/>
                </a:cxn>
                <a:cxn ang="0">
                  <a:pos x="T4" y="T5"/>
                </a:cxn>
                <a:cxn ang="0">
                  <a:pos x="T6" y="T7"/>
                </a:cxn>
                <a:cxn ang="0">
                  <a:pos x="T8" y="T9"/>
                </a:cxn>
              </a:cxnLst>
              <a:rect l="0" t="0" r="r" b="b"/>
              <a:pathLst>
                <a:path w="709" h="709">
                  <a:moveTo>
                    <a:pt x="355" y="0"/>
                  </a:moveTo>
                  <a:lnTo>
                    <a:pt x="709" y="355"/>
                  </a:lnTo>
                  <a:lnTo>
                    <a:pt x="355" y="709"/>
                  </a:lnTo>
                  <a:lnTo>
                    <a:pt x="0" y="355"/>
                  </a:lnTo>
                  <a:lnTo>
                    <a:pt x="355" y="0"/>
                  </a:lnTo>
                  <a:close/>
                </a:path>
              </a:pathLst>
            </a:custGeom>
            <a:grp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latin typeface="Poppins"/>
                <a:ea typeface="+mn-ea"/>
                <a:cs typeface="+mn-cs"/>
              </a:endParaRPr>
            </a:p>
          </p:txBody>
        </p:sp>
        <p:sp>
          <p:nvSpPr>
            <p:cNvPr id="5" name="Freeform 8"/>
            <p:cNvSpPr/>
            <p:nvPr/>
          </p:nvSpPr>
          <p:spPr bwMode="auto">
            <a:xfrm>
              <a:off x="2169149" y="2902022"/>
              <a:ext cx="394964" cy="393856"/>
            </a:xfrm>
            <a:custGeom>
              <a:avLst/>
              <a:gdLst>
                <a:gd name="T0" fmla="*/ 356 w 710"/>
                <a:gd name="T1" fmla="*/ 0 h 709"/>
                <a:gd name="T2" fmla="*/ 710 w 710"/>
                <a:gd name="T3" fmla="*/ 355 h 709"/>
                <a:gd name="T4" fmla="*/ 356 w 710"/>
                <a:gd name="T5" fmla="*/ 709 h 709"/>
                <a:gd name="T6" fmla="*/ 0 w 710"/>
                <a:gd name="T7" fmla="*/ 355 h 709"/>
                <a:gd name="T8" fmla="*/ 356 w 710"/>
                <a:gd name="T9" fmla="*/ 0 h 709"/>
              </a:gdLst>
              <a:ahLst/>
              <a:cxnLst>
                <a:cxn ang="0">
                  <a:pos x="T0" y="T1"/>
                </a:cxn>
                <a:cxn ang="0">
                  <a:pos x="T2" y="T3"/>
                </a:cxn>
                <a:cxn ang="0">
                  <a:pos x="T4" y="T5"/>
                </a:cxn>
                <a:cxn ang="0">
                  <a:pos x="T6" y="T7"/>
                </a:cxn>
                <a:cxn ang="0">
                  <a:pos x="T8" y="T9"/>
                </a:cxn>
              </a:cxnLst>
              <a:rect l="0" t="0" r="r" b="b"/>
              <a:pathLst>
                <a:path w="710" h="709">
                  <a:moveTo>
                    <a:pt x="356" y="0"/>
                  </a:moveTo>
                  <a:lnTo>
                    <a:pt x="710" y="355"/>
                  </a:lnTo>
                  <a:lnTo>
                    <a:pt x="356" y="709"/>
                  </a:lnTo>
                  <a:lnTo>
                    <a:pt x="0" y="355"/>
                  </a:lnTo>
                  <a:lnTo>
                    <a:pt x="356" y="0"/>
                  </a:lnTo>
                  <a:close/>
                </a:path>
              </a:pathLst>
            </a:custGeom>
            <a:grp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latin typeface="Poppins"/>
                <a:ea typeface="+mn-ea"/>
                <a:cs typeface="+mn-cs"/>
              </a:endParaRPr>
            </a:p>
          </p:txBody>
        </p:sp>
        <p:sp>
          <p:nvSpPr>
            <p:cNvPr id="6" name="Freeform 9"/>
            <p:cNvSpPr/>
            <p:nvPr/>
          </p:nvSpPr>
          <p:spPr bwMode="auto">
            <a:xfrm>
              <a:off x="2911860" y="2902022"/>
              <a:ext cx="393856" cy="393856"/>
            </a:xfrm>
            <a:custGeom>
              <a:avLst/>
              <a:gdLst>
                <a:gd name="T0" fmla="*/ 354 w 709"/>
                <a:gd name="T1" fmla="*/ 0 h 709"/>
                <a:gd name="T2" fmla="*/ 709 w 709"/>
                <a:gd name="T3" fmla="*/ 355 h 709"/>
                <a:gd name="T4" fmla="*/ 354 w 709"/>
                <a:gd name="T5" fmla="*/ 709 h 709"/>
                <a:gd name="T6" fmla="*/ 0 w 709"/>
                <a:gd name="T7" fmla="*/ 355 h 709"/>
                <a:gd name="T8" fmla="*/ 354 w 709"/>
                <a:gd name="T9" fmla="*/ 0 h 709"/>
              </a:gdLst>
              <a:ahLst/>
              <a:cxnLst>
                <a:cxn ang="0">
                  <a:pos x="T0" y="T1"/>
                </a:cxn>
                <a:cxn ang="0">
                  <a:pos x="T2" y="T3"/>
                </a:cxn>
                <a:cxn ang="0">
                  <a:pos x="T4" y="T5"/>
                </a:cxn>
                <a:cxn ang="0">
                  <a:pos x="T6" y="T7"/>
                </a:cxn>
                <a:cxn ang="0">
                  <a:pos x="T8" y="T9"/>
                </a:cxn>
              </a:cxnLst>
              <a:rect l="0" t="0" r="r" b="b"/>
              <a:pathLst>
                <a:path w="709" h="709">
                  <a:moveTo>
                    <a:pt x="354" y="0"/>
                  </a:moveTo>
                  <a:lnTo>
                    <a:pt x="709" y="355"/>
                  </a:lnTo>
                  <a:lnTo>
                    <a:pt x="354" y="709"/>
                  </a:lnTo>
                  <a:lnTo>
                    <a:pt x="0" y="355"/>
                  </a:lnTo>
                  <a:lnTo>
                    <a:pt x="354" y="0"/>
                  </a:lnTo>
                  <a:close/>
                </a:path>
              </a:pathLst>
            </a:custGeom>
            <a:grp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latin typeface="Poppins"/>
                <a:ea typeface="+mn-ea"/>
                <a:cs typeface="+mn-cs"/>
              </a:endParaRPr>
            </a:p>
          </p:txBody>
        </p:sp>
        <p:sp>
          <p:nvSpPr>
            <p:cNvPr id="7" name="Freeform 10"/>
            <p:cNvSpPr/>
            <p:nvPr/>
          </p:nvSpPr>
          <p:spPr bwMode="auto">
            <a:xfrm>
              <a:off x="3654810" y="2902022"/>
              <a:ext cx="393856" cy="393856"/>
            </a:xfrm>
            <a:custGeom>
              <a:avLst/>
              <a:gdLst>
                <a:gd name="T0" fmla="*/ 354 w 709"/>
                <a:gd name="T1" fmla="*/ 0 h 709"/>
                <a:gd name="T2" fmla="*/ 709 w 709"/>
                <a:gd name="T3" fmla="*/ 355 h 709"/>
                <a:gd name="T4" fmla="*/ 354 w 709"/>
                <a:gd name="T5" fmla="*/ 709 h 709"/>
                <a:gd name="T6" fmla="*/ 0 w 709"/>
                <a:gd name="T7" fmla="*/ 355 h 709"/>
                <a:gd name="T8" fmla="*/ 354 w 709"/>
                <a:gd name="T9" fmla="*/ 0 h 709"/>
              </a:gdLst>
              <a:ahLst/>
              <a:cxnLst>
                <a:cxn ang="0">
                  <a:pos x="T0" y="T1"/>
                </a:cxn>
                <a:cxn ang="0">
                  <a:pos x="T2" y="T3"/>
                </a:cxn>
                <a:cxn ang="0">
                  <a:pos x="T4" y="T5"/>
                </a:cxn>
                <a:cxn ang="0">
                  <a:pos x="T6" y="T7"/>
                </a:cxn>
                <a:cxn ang="0">
                  <a:pos x="T8" y="T9"/>
                </a:cxn>
              </a:cxnLst>
              <a:rect l="0" t="0" r="r" b="b"/>
              <a:pathLst>
                <a:path w="709" h="709">
                  <a:moveTo>
                    <a:pt x="354" y="0"/>
                  </a:moveTo>
                  <a:lnTo>
                    <a:pt x="709" y="355"/>
                  </a:lnTo>
                  <a:lnTo>
                    <a:pt x="354" y="709"/>
                  </a:lnTo>
                  <a:lnTo>
                    <a:pt x="0" y="355"/>
                  </a:lnTo>
                  <a:lnTo>
                    <a:pt x="354" y="0"/>
                  </a:lnTo>
                  <a:close/>
                </a:path>
              </a:pathLst>
            </a:custGeom>
            <a:grp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latin typeface="Poppins"/>
                <a:ea typeface="+mn-ea"/>
                <a:cs typeface="+mn-cs"/>
              </a:endParaRPr>
            </a:p>
          </p:txBody>
        </p:sp>
        <p:sp>
          <p:nvSpPr>
            <p:cNvPr id="8" name="Freeform 11"/>
            <p:cNvSpPr/>
            <p:nvPr/>
          </p:nvSpPr>
          <p:spPr bwMode="auto">
            <a:xfrm>
              <a:off x="684358" y="3644972"/>
              <a:ext cx="392746" cy="393856"/>
            </a:xfrm>
            <a:custGeom>
              <a:avLst/>
              <a:gdLst>
                <a:gd name="T0" fmla="*/ 354 w 709"/>
                <a:gd name="T1" fmla="*/ 0 h 709"/>
                <a:gd name="T2" fmla="*/ 709 w 709"/>
                <a:gd name="T3" fmla="*/ 355 h 709"/>
                <a:gd name="T4" fmla="*/ 354 w 709"/>
                <a:gd name="T5" fmla="*/ 709 h 709"/>
                <a:gd name="T6" fmla="*/ 0 w 709"/>
                <a:gd name="T7" fmla="*/ 355 h 709"/>
                <a:gd name="T8" fmla="*/ 354 w 709"/>
                <a:gd name="T9" fmla="*/ 0 h 709"/>
              </a:gdLst>
              <a:ahLst/>
              <a:cxnLst>
                <a:cxn ang="0">
                  <a:pos x="T0" y="T1"/>
                </a:cxn>
                <a:cxn ang="0">
                  <a:pos x="T2" y="T3"/>
                </a:cxn>
                <a:cxn ang="0">
                  <a:pos x="T4" y="T5"/>
                </a:cxn>
                <a:cxn ang="0">
                  <a:pos x="T6" y="T7"/>
                </a:cxn>
                <a:cxn ang="0">
                  <a:pos x="T8" y="T9"/>
                </a:cxn>
              </a:cxnLst>
              <a:rect l="0" t="0" r="r" b="b"/>
              <a:pathLst>
                <a:path w="709" h="709">
                  <a:moveTo>
                    <a:pt x="354" y="0"/>
                  </a:moveTo>
                  <a:lnTo>
                    <a:pt x="709" y="355"/>
                  </a:lnTo>
                  <a:lnTo>
                    <a:pt x="354" y="709"/>
                  </a:lnTo>
                  <a:lnTo>
                    <a:pt x="0" y="355"/>
                  </a:lnTo>
                  <a:lnTo>
                    <a:pt x="354" y="0"/>
                  </a:lnTo>
                  <a:close/>
                </a:path>
              </a:pathLst>
            </a:custGeom>
            <a:grp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latin typeface="Poppins"/>
                <a:ea typeface="+mn-ea"/>
                <a:cs typeface="+mn-cs"/>
              </a:endParaRPr>
            </a:p>
          </p:txBody>
        </p:sp>
        <p:sp>
          <p:nvSpPr>
            <p:cNvPr id="9" name="Freeform 12"/>
            <p:cNvSpPr/>
            <p:nvPr/>
          </p:nvSpPr>
          <p:spPr bwMode="auto">
            <a:xfrm>
              <a:off x="1427308" y="3644972"/>
              <a:ext cx="392746" cy="393856"/>
            </a:xfrm>
            <a:custGeom>
              <a:avLst/>
              <a:gdLst>
                <a:gd name="T0" fmla="*/ 355 w 709"/>
                <a:gd name="T1" fmla="*/ 0 h 709"/>
                <a:gd name="T2" fmla="*/ 709 w 709"/>
                <a:gd name="T3" fmla="*/ 355 h 709"/>
                <a:gd name="T4" fmla="*/ 355 w 709"/>
                <a:gd name="T5" fmla="*/ 709 h 709"/>
                <a:gd name="T6" fmla="*/ 0 w 709"/>
                <a:gd name="T7" fmla="*/ 355 h 709"/>
                <a:gd name="T8" fmla="*/ 355 w 709"/>
                <a:gd name="T9" fmla="*/ 0 h 709"/>
              </a:gdLst>
              <a:ahLst/>
              <a:cxnLst>
                <a:cxn ang="0">
                  <a:pos x="T0" y="T1"/>
                </a:cxn>
                <a:cxn ang="0">
                  <a:pos x="T2" y="T3"/>
                </a:cxn>
                <a:cxn ang="0">
                  <a:pos x="T4" y="T5"/>
                </a:cxn>
                <a:cxn ang="0">
                  <a:pos x="T6" y="T7"/>
                </a:cxn>
                <a:cxn ang="0">
                  <a:pos x="T8" y="T9"/>
                </a:cxn>
              </a:cxnLst>
              <a:rect l="0" t="0" r="r" b="b"/>
              <a:pathLst>
                <a:path w="709" h="709">
                  <a:moveTo>
                    <a:pt x="355" y="0"/>
                  </a:moveTo>
                  <a:lnTo>
                    <a:pt x="709" y="355"/>
                  </a:lnTo>
                  <a:lnTo>
                    <a:pt x="355" y="709"/>
                  </a:lnTo>
                  <a:lnTo>
                    <a:pt x="0" y="355"/>
                  </a:lnTo>
                  <a:lnTo>
                    <a:pt x="355" y="0"/>
                  </a:lnTo>
                  <a:close/>
                </a:path>
              </a:pathLst>
            </a:custGeom>
            <a:grp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latin typeface="Poppins"/>
                <a:ea typeface="+mn-ea"/>
                <a:cs typeface="+mn-cs"/>
              </a:endParaRPr>
            </a:p>
          </p:txBody>
        </p:sp>
        <p:sp>
          <p:nvSpPr>
            <p:cNvPr id="10" name="Freeform 13"/>
            <p:cNvSpPr/>
            <p:nvPr/>
          </p:nvSpPr>
          <p:spPr bwMode="auto">
            <a:xfrm>
              <a:off x="2169149" y="3644972"/>
              <a:ext cx="394964" cy="393856"/>
            </a:xfrm>
            <a:custGeom>
              <a:avLst/>
              <a:gdLst>
                <a:gd name="T0" fmla="*/ 356 w 710"/>
                <a:gd name="T1" fmla="*/ 0 h 709"/>
                <a:gd name="T2" fmla="*/ 710 w 710"/>
                <a:gd name="T3" fmla="*/ 355 h 709"/>
                <a:gd name="T4" fmla="*/ 356 w 710"/>
                <a:gd name="T5" fmla="*/ 709 h 709"/>
                <a:gd name="T6" fmla="*/ 0 w 710"/>
                <a:gd name="T7" fmla="*/ 355 h 709"/>
                <a:gd name="T8" fmla="*/ 356 w 710"/>
                <a:gd name="T9" fmla="*/ 0 h 709"/>
              </a:gdLst>
              <a:ahLst/>
              <a:cxnLst>
                <a:cxn ang="0">
                  <a:pos x="T0" y="T1"/>
                </a:cxn>
                <a:cxn ang="0">
                  <a:pos x="T2" y="T3"/>
                </a:cxn>
                <a:cxn ang="0">
                  <a:pos x="T4" y="T5"/>
                </a:cxn>
                <a:cxn ang="0">
                  <a:pos x="T6" y="T7"/>
                </a:cxn>
                <a:cxn ang="0">
                  <a:pos x="T8" y="T9"/>
                </a:cxn>
              </a:cxnLst>
              <a:rect l="0" t="0" r="r" b="b"/>
              <a:pathLst>
                <a:path w="710" h="709">
                  <a:moveTo>
                    <a:pt x="356" y="0"/>
                  </a:moveTo>
                  <a:lnTo>
                    <a:pt x="710" y="355"/>
                  </a:lnTo>
                  <a:lnTo>
                    <a:pt x="356" y="709"/>
                  </a:lnTo>
                  <a:lnTo>
                    <a:pt x="0" y="355"/>
                  </a:lnTo>
                  <a:lnTo>
                    <a:pt x="356" y="0"/>
                  </a:lnTo>
                  <a:close/>
                </a:path>
              </a:pathLst>
            </a:custGeom>
            <a:grp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latin typeface="Poppins"/>
                <a:ea typeface="+mn-ea"/>
                <a:cs typeface="+mn-cs"/>
              </a:endParaRPr>
            </a:p>
          </p:txBody>
        </p:sp>
        <p:sp>
          <p:nvSpPr>
            <p:cNvPr id="11" name="Freeform 14"/>
            <p:cNvSpPr/>
            <p:nvPr/>
          </p:nvSpPr>
          <p:spPr bwMode="auto">
            <a:xfrm>
              <a:off x="2911860" y="3644972"/>
              <a:ext cx="393856" cy="393856"/>
            </a:xfrm>
            <a:custGeom>
              <a:avLst/>
              <a:gdLst>
                <a:gd name="T0" fmla="*/ 354 w 709"/>
                <a:gd name="T1" fmla="*/ 0 h 709"/>
                <a:gd name="T2" fmla="*/ 709 w 709"/>
                <a:gd name="T3" fmla="*/ 355 h 709"/>
                <a:gd name="T4" fmla="*/ 354 w 709"/>
                <a:gd name="T5" fmla="*/ 709 h 709"/>
                <a:gd name="T6" fmla="*/ 0 w 709"/>
                <a:gd name="T7" fmla="*/ 355 h 709"/>
                <a:gd name="T8" fmla="*/ 354 w 709"/>
                <a:gd name="T9" fmla="*/ 0 h 709"/>
              </a:gdLst>
              <a:ahLst/>
              <a:cxnLst>
                <a:cxn ang="0">
                  <a:pos x="T0" y="T1"/>
                </a:cxn>
                <a:cxn ang="0">
                  <a:pos x="T2" y="T3"/>
                </a:cxn>
                <a:cxn ang="0">
                  <a:pos x="T4" y="T5"/>
                </a:cxn>
                <a:cxn ang="0">
                  <a:pos x="T6" y="T7"/>
                </a:cxn>
                <a:cxn ang="0">
                  <a:pos x="T8" y="T9"/>
                </a:cxn>
              </a:cxnLst>
              <a:rect l="0" t="0" r="r" b="b"/>
              <a:pathLst>
                <a:path w="709" h="709">
                  <a:moveTo>
                    <a:pt x="354" y="0"/>
                  </a:moveTo>
                  <a:lnTo>
                    <a:pt x="709" y="355"/>
                  </a:lnTo>
                  <a:lnTo>
                    <a:pt x="354" y="709"/>
                  </a:lnTo>
                  <a:lnTo>
                    <a:pt x="0" y="355"/>
                  </a:lnTo>
                  <a:lnTo>
                    <a:pt x="354" y="0"/>
                  </a:lnTo>
                  <a:close/>
                </a:path>
              </a:pathLst>
            </a:custGeom>
            <a:grp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latin typeface="Poppins"/>
                <a:ea typeface="+mn-ea"/>
                <a:cs typeface="+mn-cs"/>
              </a:endParaRPr>
            </a:p>
          </p:txBody>
        </p:sp>
        <p:sp>
          <p:nvSpPr>
            <p:cNvPr id="12" name="Freeform 15"/>
            <p:cNvSpPr/>
            <p:nvPr/>
          </p:nvSpPr>
          <p:spPr bwMode="auto">
            <a:xfrm>
              <a:off x="3654810" y="3644972"/>
              <a:ext cx="393856" cy="393856"/>
            </a:xfrm>
            <a:custGeom>
              <a:avLst/>
              <a:gdLst>
                <a:gd name="T0" fmla="*/ 354 w 709"/>
                <a:gd name="T1" fmla="*/ 0 h 709"/>
                <a:gd name="T2" fmla="*/ 709 w 709"/>
                <a:gd name="T3" fmla="*/ 355 h 709"/>
                <a:gd name="T4" fmla="*/ 354 w 709"/>
                <a:gd name="T5" fmla="*/ 709 h 709"/>
                <a:gd name="T6" fmla="*/ 0 w 709"/>
                <a:gd name="T7" fmla="*/ 355 h 709"/>
                <a:gd name="T8" fmla="*/ 354 w 709"/>
                <a:gd name="T9" fmla="*/ 0 h 709"/>
              </a:gdLst>
              <a:ahLst/>
              <a:cxnLst>
                <a:cxn ang="0">
                  <a:pos x="T0" y="T1"/>
                </a:cxn>
                <a:cxn ang="0">
                  <a:pos x="T2" y="T3"/>
                </a:cxn>
                <a:cxn ang="0">
                  <a:pos x="T4" y="T5"/>
                </a:cxn>
                <a:cxn ang="0">
                  <a:pos x="T6" y="T7"/>
                </a:cxn>
                <a:cxn ang="0">
                  <a:pos x="T8" y="T9"/>
                </a:cxn>
              </a:cxnLst>
              <a:rect l="0" t="0" r="r" b="b"/>
              <a:pathLst>
                <a:path w="709" h="709">
                  <a:moveTo>
                    <a:pt x="354" y="0"/>
                  </a:moveTo>
                  <a:lnTo>
                    <a:pt x="709" y="355"/>
                  </a:lnTo>
                  <a:lnTo>
                    <a:pt x="354" y="709"/>
                  </a:lnTo>
                  <a:lnTo>
                    <a:pt x="0" y="355"/>
                  </a:lnTo>
                  <a:lnTo>
                    <a:pt x="354" y="0"/>
                  </a:lnTo>
                  <a:close/>
                </a:path>
              </a:pathLst>
            </a:custGeom>
            <a:grp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latin typeface="Poppins"/>
                <a:ea typeface="+mn-ea"/>
                <a:cs typeface="+mn-cs"/>
              </a:endParaRPr>
            </a:p>
          </p:txBody>
        </p:sp>
        <p:sp>
          <p:nvSpPr>
            <p:cNvPr id="13" name="Freeform 16"/>
            <p:cNvSpPr/>
            <p:nvPr/>
          </p:nvSpPr>
          <p:spPr bwMode="auto">
            <a:xfrm>
              <a:off x="684358" y="4386574"/>
              <a:ext cx="392746" cy="394964"/>
            </a:xfrm>
            <a:custGeom>
              <a:avLst/>
              <a:gdLst>
                <a:gd name="T0" fmla="*/ 354 w 709"/>
                <a:gd name="T1" fmla="*/ 0 h 710"/>
                <a:gd name="T2" fmla="*/ 709 w 709"/>
                <a:gd name="T3" fmla="*/ 354 h 710"/>
                <a:gd name="T4" fmla="*/ 354 w 709"/>
                <a:gd name="T5" fmla="*/ 710 h 710"/>
                <a:gd name="T6" fmla="*/ 0 w 709"/>
                <a:gd name="T7" fmla="*/ 354 h 710"/>
                <a:gd name="T8" fmla="*/ 354 w 709"/>
                <a:gd name="T9" fmla="*/ 0 h 710"/>
              </a:gdLst>
              <a:ahLst/>
              <a:cxnLst>
                <a:cxn ang="0">
                  <a:pos x="T0" y="T1"/>
                </a:cxn>
                <a:cxn ang="0">
                  <a:pos x="T2" y="T3"/>
                </a:cxn>
                <a:cxn ang="0">
                  <a:pos x="T4" y="T5"/>
                </a:cxn>
                <a:cxn ang="0">
                  <a:pos x="T6" y="T7"/>
                </a:cxn>
                <a:cxn ang="0">
                  <a:pos x="T8" y="T9"/>
                </a:cxn>
              </a:cxnLst>
              <a:rect l="0" t="0" r="r" b="b"/>
              <a:pathLst>
                <a:path w="709" h="710">
                  <a:moveTo>
                    <a:pt x="354" y="0"/>
                  </a:moveTo>
                  <a:lnTo>
                    <a:pt x="709" y="354"/>
                  </a:lnTo>
                  <a:lnTo>
                    <a:pt x="354" y="710"/>
                  </a:lnTo>
                  <a:lnTo>
                    <a:pt x="0" y="354"/>
                  </a:lnTo>
                  <a:lnTo>
                    <a:pt x="354" y="0"/>
                  </a:lnTo>
                  <a:close/>
                </a:path>
              </a:pathLst>
            </a:custGeom>
            <a:grp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latin typeface="Poppins"/>
                <a:ea typeface="+mn-ea"/>
                <a:cs typeface="+mn-cs"/>
              </a:endParaRPr>
            </a:p>
          </p:txBody>
        </p:sp>
        <p:sp>
          <p:nvSpPr>
            <p:cNvPr id="14" name="Freeform 17"/>
            <p:cNvSpPr/>
            <p:nvPr/>
          </p:nvSpPr>
          <p:spPr bwMode="auto">
            <a:xfrm>
              <a:off x="1427308" y="4386574"/>
              <a:ext cx="392746" cy="394964"/>
            </a:xfrm>
            <a:custGeom>
              <a:avLst/>
              <a:gdLst>
                <a:gd name="T0" fmla="*/ 355 w 709"/>
                <a:gd name="T1" fmla="*/ 0 h 710"/>
                <a:gd name="T2" fmla="*/ 709 w 709"/>
                <a:gd name="T3" fmla="*/ 354 h 710"/>
                <a:gd name="T4" fmla="*/ 355 w 709"/>
                <a:gd name="T5" fmla="*/ 710 h 710"/>
                <a:gd name="T6" fmla="*/ 0 w 709"/>
                <a:gd name="T7" fmla="*/ 354 h 710"/>
                <a:gd name="T8" fmla="*/ 355 w 709"/>
                <a:gd name="T9" fmla="*/ 0 h 710"/>
              </a:gdLst>
              <a:ahLst/>
              <a:cxnLst>
                <a:cxn ang="0">
                  <a:pos x="T0" y="T1"/>
                </a:cxn>
                <a:cxn ang="0">
                  <a:pos x="T2" y="T3"/>
                </a:cxn>
                <a:cxn ang="0">
                  <a:pos x="T4" y="T5"/>
                </a:cxn>
                <a:cxn ang="0">
                  <a:pos x="T6" y="T7"/>
                </a:cxn>
                <a:cxn ang="0">
                  <a:pos x="T8" y="T9"/>
                </a:cxn>
              </a:cxnLst>
              <a:rect l="0" t="0" r="r" b="b"/>
              <a:pathLst>
                <a:path w="709" h="710">
                  <a:moveTo>
                    <a:pt x="355" y="0"/>
                  </a:moveTo>
                  <a:lnTo>
                    <a:pt x="709" y="354"/>
                  </a:lnTo>
                  <a:lnTo>
                    <a:pt x="355" y="710"/>
                  </a:lnTo>
                  <a:lnTo>
                    <a:pt x="0" y="354"/>
                  </a:lnTo>
                  <a:lnTo>
                    <a:pt x="355" y="0"/>
                  </a:lnTo>
                  <a:close/>
                </a:path>
              </a:pathLst>
            </a:custGeom>
            <a:grp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latin typeface="Poppins"/>
                <a:ea typeface="+mn-ea"/>
                <a:cs typeface="+mn-cs"/>
              </a:endParaRPr>
            </a:p>
          </p:txBody>
        </p:sp>
        <p:sp>
          <p:nvSpPr>
            <p:cNvPr id="15" name="Freeform 18"/>
            <p:cNvSpPr/>
            <p:nvPr/>
          </p:nvSpPr>
          <p:spPr bwMode="auto">
            <a:xfrm>
              <a:off x="2169149" y="4386574"/>
              <a:ext cx="394964" cy="394964"/>
            </a:xfrm>
            <a:custGeom>
              <a:avLst/>
              <a:gdLst>
                <a:gd name="T0" fmla="*/ 356 w 710"/>
                <a:gd name="T1" fmla="*/ 0 h 710"/>
                <a:gd name="T2" fmla="*/ 710 w 710"/>
                <a:gd name="T3" fmla="*/ 354 h 710"/>
                <a:gd name="T4" fmla="*/ 356 w 710"/>
                <a:gd name="T5" fmla="*/ 710 h 710"/>
                <a:gd name="T6" fmla="*/ 0 w 710"/>
                <a:gd name="T7" fmla="*/ 354 h 710"/>
                <a:gd name="T8" fmla="*/ 356 w 710"/>
                <a:gd name="T9" fmla="*/ 0 h 710"/>
              </a:gdLst>
              <a:ahLst/>
              <a:cxnLst>
                <a:cxn ang="0">
                  <a:pos x="T0" y="T1"/>
                </a:cxn>
                <a:cxn ang="0">
                  <a:pos x="T2" y="T3"/>
                </a:cxn>
                <a:cxn ang="0">
                  <a:pos x="T4" y="T5"/>
                </a:cxn>
                <a:cxn ang="0">
                  <a:pos x="T6" y="T7"/>
                </a:cxn>
                <a:cxn ang="0">
                  <a:pos x="T8" y="T9"/>
                </a:cxn>
              </a:cxnLst>
              <a:rect l="0" t="0" r="r" b="b"/>
              <a:pathLst>
                <a:path w="710" h="710">
                  <a:moveTo>
                    <a:pt x="356" y="0"/>
                  </a:moveTo>
                  <a:lnTo>
                    <a:pt x="710" y="354"/>
                  </a:lnTo>
                  <a:lnTo>
                    <a:pt x="356" y="710"/>
                  </a:lnTo>
                  <a:lnTo>
                    <a:pt x="0" y="354"/>
                  </a:lnTo>
                  <a:lnTo>
                    <a:pt x="356" y="0"/>
                  </a:lnTo>
                  <a:close/>
                </a:path>
              </a:pathLst>
            </a:custGeom>
            <a:grp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latin typeface="Poppins"/>
                <a:ea typeface="+mn-ea"/>
                <a:cs typeface="+mn-cs"/>
              </a:endParaRPr>
            </a:p>
          </p:txBody>
        </p:sp>
        <p:sp>
          <p:nvSpPr>
            <p:cNvPr id="16" name="Freeform 19"/>
            <p:cNvSpPr/>
            <p:nvPr/>
          </p:nvSpPr>
          <p:spPr bwMode="auto">
            <a:xfrm>
              <a:off x="2911860" y="4386574"/>
              <a:ext cx="393856" cy="394964"/>
            </a:xfrm>
            <a:custGeom>
              <a:avLst/>
              <a:gdLst>
                <a:gd name="T0" fmla="*/ 354 w 709"/>
                <a:gd name="T1" fmla="*/ 0 h 710"/>
                <a:gd name="T2" fmla="*/ 709 w 709"/>
                <a:gd name="T3" fmla="*/ 354 h 710"/>
                <a:gd name="T4" fmla="*/ 354 w 709"/>
                <a:gd name="T5" fmla="*/ 710 h 710"/>
                <a:gd name="T6" fmla="*/ 0 w 709"/>
                <a:gd name="T7" fmla="*/ 354 h 710"/>
                <a:gd name="T8" fmla="*/ 354 w 709"/>
                <a:gd name="T9" fmla="*/ 0 h 710"/>
              </a:gdLst>
              <a:ahLst/>
              <a:cxnLst>
                <a:cxn ang="0">
                  <a:pos x="T0" y="T1"/>
                </a:cxn>
                <a:cxn ang="0">
                  <a:pos x="T2" y="T3"/>
                </a:cxn>
                <a:cxn ang="0">
                  <a:pos x="T4" y="T5"/>
                </a:cxn>
                <a:cxn ang="0">
                  <a:pos x="T6" y="T7"/>
                </a:cxn>
                <a:cxn ang="0">
                  <a:pos x="T8" y="T9"/>
                </a:cxn>
              </a:cxnLst>
              <a:rect l="0" t="0" r="r" b="b"/>
              <a:pathLst>
                <a:path w="709" h="710">
                  <a:moveTo>
                    <a:pt x="354" y="0"/>
                  </a:moveTo>
                  <a:lnTo>
                    <a:pt x="709" y="354"/>
                  </a:lnTo>
                  <a:lnTo>
                    <a:pt x="354" y="710"/>
                  </a:lnTo>
                  <a:lnTo>
                    <a:pt x="0" y="354"/>
                  </a:lnTo>
                  <a:lnTo>
                    <a:pt x="354" y="0"/>
                  </a:lnTo>
                  <a:close/>
                </a:path>
              </a:pathLst>
            </a:custGeom>
            <a:grp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latin typeface="Poppins"/>
                <a:ea typeface="+mn-ea"/>
                <a:cs typeface="+mn-cs"/>
              </a:endParaRPr>
            </a:p>
          </p:txBody>
        </p:sp>
        <p:sp>
          <p:nvSpPr>
            <p:cNvPr id="17" name="Freeform 20"/>
            <p:cNvSpPr/>
            <p:nvPr/>
          </p:nvSpPr>
          <p:spPr bwMode="auto">
            <a:xfrm>
              <a:off x="3654810" y="4386574"/>
              <a:ext cx="393856" cy="394964"/>
            </a:xfrm>
            <a:custGeom>
              <a:avLst/>
              <a:gdLst>
                <a:gd name="T0" fmla="*/ 354 w 709"/>
                <a:gd name="T1" fmla="*/ 0 h 710"/>
                <a:gd name="T2" fmla="*/ 709 w 709"/>
                <a:gd name="T3" fmla="*/ 354 h 710"/>
                <a:gd name="T4" fmla="*/ 354 w 709"/>
                <a:gd name="T5" fmla="*/ 710 h 710"/>
                <a:gd name="T6" fmla="*/ 0 w 709"/>
                <a:gd name="T7" fmla="*/ 354 h 710"/>
                <a:gd name="T8" fmla="*/ 354 w 709"/>
                <a:gd name="T9" fmla="*/ 0 h 710"/>
              </a:gdLst>
              <a:ahLst/>
              <a:cxnLst>
                <a:cxn ang="0">
                  <a:pos x="T0" y="T1"/>
                </a:cxn>
                <a:cxn ang="0">
                  <a:pos x="T2" y="T3"/>
                </a:cxn>
                <a:cxn ang="0">
                  <a:pos x="T4" y="T5"/>
                </a:cxn>
                <a:cxn ang="0">
                  <a:pos x="T6" y="T7"/>
                </a:cxn>
                <a:cxn ang="0">
                  <a:pos x="T8" y="T9"/>
                </a:cxn>
              </a:cxnLst>
              <a:rect l="0" t="0" r="r" b="b"/>
              <a:pathLst>
                <a:path w="709" h="710">
                  <a:moveTo>
                    <a:pt x="354" y="0"/>
                  </a:moveTo>
                  <a:lnTo>
                    <a:pt x="709" y="354"/>
                  </a:lnTo>
                  <a:lnTo>
                    <a:pt x="354" y="710"/>
                  </a:lnTo>
                  <a:lnTo>
                    <a:pt x="0" y="354"/>
                  </a:lnTo>
                  <a:lnTo>
                    <a:pt x="354" y="0"/>
                  </a:lnTo>
                  <a:close/>
                </a:path>
              </a:pathLst>
            </a:custGeom>
            <a:grp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latin typeface="Poppins"/>
                <a:ea typeface="+mn-ea"/>
                <a:cs typeface="+mn-cs"/>
              </a:endParaRPr>
            </a:p>
          </p:txBody>
        </p:sp>
        <p:sp>
          <p:nvSpPr>
            <p:cNvPr id="18" name="Freeform 21"/>
            <p:cNvSpPr/>
            <p:nvPr/>
          </p:nvSpPr>
          <p:spPr bwMode="auto">
            <a:xfrm>
              <a:off x="684358" y="5130633"/>
              <a:ext cx="392746" cy="392746"/>
            </a:xfrm>
            <a:custGeom>
              <a:avLst/>
              <a:gdLst>
                <a:gd name="T0" fmla="*/ 354 w 709"/>
                <a:gd name="T1" fmla="*/ 0 h 709"/>
                <a:gd name="T2" fmla="*/ 709 w 709"/>
                <a:gd name="T3" fmla="*/ 354 h 709"/>
                <a:gd name="T4" fmla="*/ 354 w 709"/>
                <a:gd name="T5" fmla="*/ 709 h 709"/>
                <a:gd name="T6" fmla="*/ 0 w 709"/>
                <a:gd name="T7" fmla="*/ 354 h 709"/>
                <a:gd name="T8" fmla="*/ 354 w 709"/>
                <a:gd name="T9" fmla="*/ 0 h 709"/>
              </a:gdLst>
              <a:ahLst/>
              <a:cxnLst>
                <a:cxn ang="0">
                  <a:pos x="T0" y="T1"/>
                </a:cxn>
                <a:cxn ang="0">
                  <a:pos x="T2" y="T3"/>
                </a:cxn>
                <a:cxn ang="0">
                  <a:pos x="T4" y="T5"/>
                </a:cxn>
                <a:cxn ang="0">
                  <a:pos x="T6" y="T7"/>
                </a:cxn>
                <a:cxn ang="0">
                  <a:pos x="T8" y="T9"/>
                </a:cxn>
              </a:cxnLst>
              <a:rect l="0" t="0" r="r" b="b"/>
              <a:pathLst>
                <a:path w="709" h="709">
                  <a:moveTo>
                    <a:pt x="354" y="0"/>
                  </a:moveTo>
                  <a:lnTo>
                    <a:pt x="709" y="354"/>
                  </a:lnTo>
                  <a:lnTo>
                    <a:pt x="354" y="709"/>
                  </a:lnTo>
                  <a:lnTo>
                    <a:pt x="0" y="354"/>
                  </a:lnTo>
                  <a:lnTo>
                    <a:pt x="354" y="0"/>
                  </a:lnTo>
                  <a:close/>
                </a:path>
              </a:pathLst>
            </a:custGeom>
            <a:grp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latin typeface="Poppins"/>
                <a:ea typeface="+mn-ea"/>
                <a:cs typeface="+mn-cs"/>
              </a:endParaRPr>
            </a:p>
          </p:txBody>
        </p:sp>
        <p:sp>
          <p:nvSpPr>
            <p:cNvPr id="19" name="Freeform 22"/>
            <p:cNvSpPr/>
            <p:nvPr/>
          </p:nvSpPr>
          <p:spPr bwMode="auto">
            <a:xfrm>
              <a:off x="1427308" y="5130633"/>
              <a:ext cx="392746" cy="392746"/>
            </a:xfrm>
            <a:custGeom>
              <a:avLst/>
              <a:gdLst>
                <a:gd name="T0" fmla="*/ 355 w 709"/>
                <a:gd name="T1" fmla="*/ 0 h 709"/>
                <a:gd name="T2" fmla="*/ 709 w 709"/>
                <a:gd name="T3" fmla="*/ 354 h 709"/>
                <a:gd name="T4" fmla="*/ 355 w 709"/>
                <a:gd name="T5" fmla="*/ 709 h 709"/>
                <a:gd name="T6" fmla="*/ 0 w 709"/>
                <a:gd name="T7" fmla="*/ 354 h 709"/>
                <a:gd name="T8" fmla="*/ 355 w 709"/>
                <a:gd name="T9" fmla="*/ 0 h 709"/>
              </a:gdLst>
              <a:ahLst/>
              <a:cxnLst>
                <a:cxn ang="0">
                  <a:pos x="T0" y="T1"/>
                </a:cxn>
                <a:cxn ang="0">
                  <a:pos x="T2" y="T3"/>
                </a:cxn>
                <a:cxn ang="0">
                  <a:pos x="T4" y="T5"/>
                </a:cxn>
                <a:cxn ang="0">
                  <a:pos x="T6" y="T7"/>
                </a:cxn>
                <a:cxn ang="0">
                  <a:pos x="T8" y="T9"/>
                </a:cxn>
              </a:cxnLst>
              <a:rect l="0" t="0" r="r" b="b"/>
              <a:pathLst>
                <a:path w="709" h="709">
                  <a:moveTo>
                    <a:pt x="355" y="0"/>
                  </a:moveTo>
                  <a:lnTo>
                    <a:pt x="709" y="354"/>
                  </a:lnTo>
                  <a:lnTo>
                    <a:pt x="355" y="709"/>
                  </a:lnTo>
                  <a:lnTo>
                    <a:pt x="0" y="354"/>
                  </a:lnTo>
                  <a:lnTo>
                    <a:pt x="355" y="0"/>
                  </a:lnTo>
                  <a:close/>
                </a:path>
              </a:pathLst>
            </a:custGeom>
            <a:grp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latin typeface="Poppins"/>
                <a:ea typeface="+mn-ea"/>
                <a:cs typeface="+mn-cs"/>
              </a:endParaRPr>
            </a:p>
          </p:txBody>
        </p:sp>
        <p:sp>
          <p:nvSpPr>
            <p:cNvPr id="20" name="Freeform 23"/>
            <p:cNvSpPr/>
            <p:nvPr/>
          </p:nvSpPr>
          <p:spPr bwMode="auto">
            <a:xfrm>
              <a:off x="2169149" y="5130633"/>
              <a:ext cx="394964" cy="392746"/>
            </a:xfrm>
            <a:custGeom>
              <a:avLst/>
              <a:gdLst>
                <a:gd name="T0" fmla="*/ 356 w 710"/>
                <a:gd name="T1" fmla="*/ 0 h 709"/>
                <a:gd name="T2" fmla="*/ 710 w 710"/>
                <a:gd name="T3" fmla="*/ 354 h 709"/>
                <a:gd name="T4" fmla="*/ 356 w 710"/>
                <a:gd name="T5" fmla="*/ 709 h 709"/>
                <a:gd name="T6" fmla="*/ 0 w 710"/>
                <a:gd name="T7" fmla="*/ 354 h 709"/>
                <a:gd name="T8" fmla="*/ 356 w 710"/>
                <a:gd name="T9" fmla="*/ 0 h 709"/>
              </a:gdLst>
              <a:ahLst/>
              <a:cxnLst>
                <a:cxn ang="0">
                  <a:pos x="T0" y="T1"/>
                </a:cxn>
                <a:cxn ang="0">
                  <a:pos x="T2" y="T3"/>
                </a:cxn>
                <a:cxn ang="0">
                  <a:pos x="T4" y="T5"/>
                </a:cxn>
                <a:cxn ang="0">
                  <a:pos x="T6" y="T7"/>
                </a:cxn>
                <a:cxn ang="0">
                  <a:pos x="T8" y="T9"/>
                </a:cxn>
              </a:cxnLst>
              <a:rect l="0" t="0" r="r" b="b"/>
              <a:pathLst>
                <a:path w="710" h="709">
                  <a:moveTo>
                    <a:pt x="356" y="0"/>
                  </a:moveTo>
                  <a:lnTo>
                    <a:pt x="710" y="354"/>
                  </a:lnTo>
                  <a:lnTo>
                    <a:pt x="356" y="709"/>
                  </a:lnTo>
                  <a:lnTo>
                    <a:pt x="0" y="354"/>
                  </a:lnTo>
                  <a:lnTo>
                    <a:pt x="356" y="0"/>
                  </a:lnTo>
                  <a:close/>
                </a:path>
              </a:pathLst>
            </a:custGeom>
            <a:grp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latin typeface="Poppins"/>
                <a:ea typeface="+mn-ea"/>
                <a:cs typeface="+mn-cs"/>
              </a:endParaRPr>
            </a:p>
          </p:txBody>
        </p:sp>
        <p:sp>
          <p:nvSpPr>
            <p:cNvPr id="21" name="Freeform 24"/>
            <p:cNvSpPr/>
            <p:nvPr/>
          </p:nvSpPr>
          <p:spPr bwMode="auto">
            <a:xfrm>
              <a:off x="2911860" y="5130633"/>
              <a:ext cx="393856" cy="392746"/>
            </a:xfrm>
            <a:custGeom>
              <a:avLst/>
              <a:gdLst>
                <a:gd name="T0" fmla="*/ 354 w 709"/>
                <a:gd name="T1" fmla="*/ 0 h 709"/>
                <a:gd name="T2" fmla="*/ 709 w 709"/>
                <a:gd name="T3" fmla="*/ 354 h 709"/>
                <a:gd name="T4" fmla="*/ 354 w 709"/>
                <a:gd name="T5" fmla="*/ 709 h 709"/>
                <a:gd name="T6" fmla="*/ 0 w 709"/>
                <a:gd name="T7" fmla="*/ 354 h 709"/>
                <a:gd name="T8" fmla="*/ 354 w 709"/>
                <a:gd name="T9" fmla="*/ 0 h 709"/>
              </a:gdLst>
              <a:ahLst/>
              <a:cxnLst>
                <a:cxn ang="0">
                  <a:pos x="T0" y="T1"/>
                </a:cxn>
                <a:cxn ang="0">
                  <a:pos x="T2" y="T3"/>
                </a:cxn>
                <a:cxn ang="0">
                  <a:pos x="T4" y="T5"/>
                </a:cxn>
                <a:cxn ang="0">
                  <a:pos x="T6" y="T7"/>
                </a:cxn>
                <a:cxn ang="0">
                  <a:pos x="T8" y="T9"/>
                </a:cxn>
              </a:cxnLst>
              <a:rect l="0" t="0" r="r" b="b"/>
              <a:pathLst>
                <a:path w="709" h="709">
                  <a:moveTo>
                    <a:pt x="354" y="0"/>
                  </a:moveTo>
                  <a:lnTo>
                    <a:pt x="709" y="354"/>
                  </a:lnTo>
                  <a:lnTo>
                    <a:pt x="354" y="709"/>
                  </a:lnTo>
                  <a:lnTo>
                    <a:pt x="0" y="354"/>
                  </a:lnTo>
                  <a:lnTo>
                    <a:pt x="354" y="0"/>
                  </a:lnTo>
                  <a:close/>
                </a:path>
              </a:pathLst>
            </a:custGeom>
            <a:grp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latin typeface="Poppins"/>
                <a:ea typeface="+mn-ea"/>
                <a:cs typeface="+mn-cs"/>
              </a:endParaRPr>
            </a:p>
          </p:txBody>
        </p:sp>
        <p:sp>
          <p:nvSpPr>
            <p:cNvPr id="22" name="Freeform 25"/>
            <p:cNvSpPr/>
            <p:nvPr/>
          </p:nvSpPr>
          <p:spPr bwMode="auto">
            <a:xfrm>
              <a:off x="3654810" y="5130633"/>
              <a:ext cx="393856" cy="392746"/>
            </a:xfrm>
            <a:custGeom>
              <a:avLst/>
              <a:gdLst>
                <a:gd name="T0" fmla="*/ 354 w 709"/>
                <a:gd name="T1" fmla="*/ 0 h 709"/>
                <a:gd name="T2" fmla="*/ 709 w 709"/>
                <a:gd name="T3" fmla="*/ 354 h 709"/>
                <a:gd name="T4" fmla="*/ 354 w 709"/>
                <a:gd name="T5" fmla="*/ 709 h 709"/>
                <a:gd name="T6" fmla="*/ 0 w 709"/>
                <a:gd name="T7" fmla="*/ 354 h 709"/>
                <a:gd name="T8" fmla="*/ 354 w 709"/>
                <a:gd name="T9" fmla="*/ 0 h 709"/>
              </a:gdLst>
              <a:ahLst/>
              <a:cxnLst>
                <a:cxn ang="0">
                  <a:pos x="T0" y="T1"/>
                </a:cxn>
                <a:cxn ang="0">
                  <a:pos x="T2" y="T3"/>
                </a:cxn>
                <a:cxn ang="0">
                  <a:pos x="T4" y="T5"/>
                </a:cxn>
                <a:cxn ang="0">
                  <a:pos x="T6" y="T7"/>
                </a:cxn>
                <a:cxn ang="0">
                  <a:pos x="T8" y="T9"/>
                </a:cxn>
              </a:cxnLst>
              <a:rect l="0" t="0" r="r" b="b"/>
              <a:pathLst>
                <a:path w="709" h="709">
                  <a:moveTo>
                    <a:pt x="354" y="0"/>
                  </a:moveTo>
                  <a:lnTo>
                    <a:pt x="709" y="354"/>
                  </a:lnTo>
                  <a:lnTo>
                    <a:pt x="354" y="709"/>
                  </a:lnTo>
                  <a:lnTo>
                    <a:pt x="0" y="354"/>
                  </a:lnTo>
                  <a:lnTo>
                    <a:pt x="354" y="0"/>
                  </a:lnTo>
                  <a:close/>
                </a:path>
              </a:pathLst>
            </a:custGeom>
            <a:grp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latin typeface="Poppins"/>
                <a:ea typeface="+mn-ea"/>
                <a:cs typeface="+mn-cs"/>
              </a:endParaRPr>
            </a:p>
          </p:txBody>
        </p:sp>
        <p:sp>
          <p:nvSpPr>
            <p:cNvPr id="23" name="Freeform 26"/>
            <p:cNvSpPr/>
            <p:nvPr/>
          </p:nvSpPr>
          <p:spPr bwMode="auto">
            <a:xfrm>
              <a:off x="684358" y="5873583"/>
              <a:ext cx="392746" cy="392746"/>
            </a:xfrm>
            <a:custGeom>
              <a:avLst/>
              <a:gdLst>
                <a:gd name="T0" fmla="*/ 354 w 709"/>
                <a:gd name="T1" fmla="*/ 0 h 709"/>
                <a:gd name="T2" fmla="*/ 709 w 709"/>
                <a:gd name="T3" fmla="*/ 355 h 709"/>
                <a:gd name="T4" fmla="*/ 354 w 709"/>
                <a:gd name="T5" fmla="*/ 709 h 709"/>
                <a:gd name="T6" fmla="*/ 0 w 709"/>
                <a:gd name="T7" fmla="*/ 355 h 709"/>
                <a:gd name="T8" fmla="*/ 354 w 709"/>
                <a:gd name="T9" fmla="*/ 0 h 709"/>
              </a:gdLst>
              <a:ahLst/>
              <a:cxnLst>
                <a:cxn ang="0">
                  <a:pos x="T0" y="T1"/>
                </a:cxn>
                <a:cxn ang="0">
                  <a:pos x="T2" y="T3"/>
                </a:cxn>
                <a:cxn ang="0">
                  <a:pos x="T4" y="T5"/>
                </a:cxn>
                <a:cxn ang="0">
                  <a:pos x="T6" y="T7"/>
                </a:cxn>
                <a:cxn ang="0">
                  <a:pos x="T8" y="T9"/>
                </a:cxn>
              </a:cxnLst>
              <a:rect l="0" t="0" r="r" b="b"/>
              <a:pathLst>
                <a:path w="709" h="709">
                  <a:moveTo>
                    <a:pt x="354" y="0"/>
                  </a:moveTo>
                  <a:lnTo>
                    <a:pt x="709" y="355"/>
                  </a:lnTo>
                  <a:lnTo>
                    <a:pt x="354" y="709"/>
                  </a:lnTo>
                  <a:lnTo>
                    <a:pt x="0" y="355"/>
                  </a:lnTo>
                  <a:lnTo>
                    <a:pt x="354" y="0"/>
                  </a:lnTo>
                  <a:close/>
                </a:path>
              </a:pathLst>
            </a:custGeom>
            <a:grp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latin typeface="Poppins"/>
                <a:ea typeface="+mn-ea"/>
                <a:cs typeface="+mn-cs"/>
              </a:endParaRPr>
            </a:p>
          </p:txBody>
        </p:sp>
        <p:sp>
          <p:nvSpPr>
            <p:cNvPr id="24" name="Freeform 27"/>
            <p:cNvSpPr/>
            <p:nvPr/>
          </p:nvSpPr>
          <p:spPr bwMode="auto">
            <a:xfrm>
              <a:off x="1427308" y="5873583"/>
              <a:ext cx="392746" cy="392746"/>
            </a:xfrm>
            <a:custGeom>
              <a:avLst/>
              <a:gdLst>
                <a:gd name="T0" fmla="*/ 355 w 709"/>
                <a:gd name="T1" fmla="*/ 0 h 709"/>
                <a:gd name="T2" fmla="*/ 709 w 709"/>
                <a:gd name="T3" fmla="*/ 355 h 709"/>
                <a:gd name="T4" fmla="*/ 355 w 709"/>
                <a:gd name="T5" fmla="*/ 709 h 709"/>
                <a:gd name="T6" fmla="*/ 0 w 709"/>
                <a:gd name="T7" fmla="*/ 355 h 709"/>
                <a:gd name="T8" fmla="*/ 355 w 709"/>
                <a:gd name="T9" fmla="*/ 0 h 709"/>
              </a:gdLst>
              <a:ahLst/>
              <a:cxnLst>
                <a:cxn ang="0">
                  <a:pos x="T0" y="T1"/>
                </a:cxn>
                <a:cxn ang="0">
                  <a:pos x="T2" y="T3"/>
                </a:cxn>
                <a:cxn ang="0">
                  <a:pos x="T4" y="T5"/>
                </a:cxn>
                <a:cxn ang="0">
                  <a:pos x="T6" y="T7"/>
                </a:cxn>
                <a:cxn ang="0">
                  <a:pos x="T8" y="T9"/>
                </a:cxn>
              </a:cxnLst>
              <a:rect l="0" t="0" r="r" b="b"/>
              <a:pathLst>
                <a:path w="709" h="709">
                  <a:moveTo>
                    <a:pt x="355" y="0"/>
                  </a:moveTo>
                  <a:lnTo>
                    <a:pt x="709" y="355"/>
                  </a:lnTo>
                  <a:lnTo>
                    <a:pt x="355" y="709"/>
                  </a:lnTo>
                  <a:lnTo>
                    <a:pt x="0" y="355"/>
                  </a:lnTo>
                  <a:lnTo>
                    <a:pt x="355" y="0"/>
                  </a:lnTo>
                  <a:close/>
                </a:path>
              </a:pathLst>
            </a:custGeom>
            <a:grp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latin typeface="Poppins"/>
                <a:ea typeface="+mn-ea"/>
                <a:cs typeface="+mn-cs"/>
              </a:endParaRPr>
            </a:p>
          </p:txBody>
        </p:sp>
        <p:sp>
          <p:nvSpPr>
            <p:cNvPr id="25" name="Freeform 28"/>
            <p:cNvSpPr/>
            <p:nvPr/>
          </p:nvSpPr>
          <p:spPr bwMode="auto">
            <a:xfrm>
              <a:off x="2169149" y="5873583"/>
              <a:ext cx="394964" cy="392746"/>
            </a:xfrm>
            <a:custGeom>
              <a:avLst/>
              <a:gdLst>
                <a:gd name="T0" fmla="*/ 356 w 710"/>
                <a:gd name="T1" fmla="*/ 0 h 709"/>
                <a:gd name="T2" fmla="*/ 710 w 710"/>
                <a:gd name="T3" fmla="*/ 355 h 709"/>
                <a:gd name="T4" fmla="*/ 356 w 710"/>
                <a:gd name="T5" fmla="*/ 709 h 709"/>
                <a:gd name="T6" fmla="*/ 0 w 710"/>
                <a:gd name="T7" fmla="*/ 355 h 709"/>
                <a:gd name="T8" fmla="*/ 356 w 710"/>
                <a:gd name="T9" fmla="*/ 0 h 709"/>
              </a:gdLst>
              <a:ahLst/>
              <a:cxnLst>
                <a:cxn ang="0">
                  <a:pos x="T0" y="T1"/>
                </a:cxn>
                <a:cxn ang="0">
                  <a:pos x="T2" y="T3"/>
                </a:cxn>
                <a:cxn ang="0">
                  <a:pos x="T4" y="T5"/>
                </a:cxn>
                <a:cxn ang="0">
                  <a:pos x="T6" y="T7"/>
                </a:cxn>
                <a:cxn ang="0">
                  <a:pos x="T8" y="T9"/>
                </a:cxn>
              </a:cxnLst>
              <a:rect l="0" t="0" r="r" b="b"/>
              <a:pathLst>
                <a:path w="710" h="709">
                  <a:moveTo>
                    <a:pt x="356" y="0"/>
                  </a:moveTo>
                  <a:lnTo>
                    <a:pt x="710" y="355"/>
                  </a:lnTo>
                  <a:lnTo>
                    <a:pt x="356" y="709"/>
                  </a:lnTo>
                  <a:lnTo>
                    <a:pt x="0" y="355"/>
                  </a:lnTo>
                  <a:lnTo>
                    <a:pt x="356" y="0"/>
                  </a:lnTo>
                  <a:close/>
                </a:path>
              </a:pathLst>
            </a:custGeom>
            <a:grp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latin typeface="Poppins"/>
                <a:ea typeface="+mn-ea"/>
                <a:cs typeface="+mn-cs"/>
              </a:endParaRPr>
            </a:p>
          </p:txBody>
        </p:sp>
        <p:sp>
          <p:nvSpPr>
            <p:cNvPr id="26" name="Freeform 29"/>
            <p:cNvSpPr/>
            <p:nvPr/>
          </p:nvSpPr>
          <p:spPr bwMode="auto">
            <a:xfrm>
              <a:off x="2911860" y="5873583"/>
              <a:ext cx="393856" cy="392746"/>
            </a:xfrm>
            <a:custGeom>
              <a:avLst/>
              <a:gdLst>
                <a:gd name="T0" fmla="*/ 354 w 709"/>
                <a:gd name="T1" fmla="*/ 0 h 709"/>
                <a:gd name="T2" fmla="*/ 709 w 709"/>
                <a:gd name="T3" fmla="*/ 355 h 709"/>
                <a:gd name="T4" fmla="*/ 354 w 709"/>
                <a:gd name="T5" fmla="*/ 709 h 709"/>
                <a:gd name="T6" fmla="*/ 0 w 709"/>
                <a:gd name="T7" fmla="*/ 355 h 709"/>
                <a:gd name="T8" fmla="*/ 354 w 709"/>
                <a:gd name="T9" fmla="*/ 0 h 709"/>
              </a:gdLst>
              <a:ahLst/>
              <a:cxnLst>
                <a:cxn ang="0">
                  <a:pos x="T0" y="T1"/>
                </a:cxn>
                <a:cxn ang="0">
                  <a:pos x="T2" y="T3"/>
                </a:cxn>
                <a:cxn ang="0">
                  <a:pos x="T4" y="T5"/>
                </a:cxn>
                <a:cxn ang="0">
                  <a:pos x="T6" y="T7"/>
                </a:cxn>
                <a:cxn ang="0">
                  <a:pos x="T8" y="T9"/>
                </a:cxn>
              </a:cxnLst>
              <a:rect l="0" t="0" r="r" b="b"/>
              <a:pathLst>
                <a:path w="709" h="709">
                  <a:moveTo>
                    <a:pt x="354" y="0"/>
                  </a:moveTo>
                  <a:lnTo>
                    <a:pt x="709" y="355"/>
                  </a:lnTo>
                  <a:lnTo>
                    <a:pt x="354" y="709"/>
                  </a:lnTo>
                  <a:lnTo>
                    <a:pt x="0" y="355"/>
                  </a:lnTo>
                  <a:lnTo>
                    <a:pt x="354" y="0"/>
                  </a:lnTo>
                  <a:close/>
                </a:path>
              </a:pathLst>
            </a:custGeom>
            <a:grp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latin typeface="Poppins"/>
                <a:ea typeface="+mn-ea"/>
                <a:cs typeface="+mn-cs"/>
              </a:endParaRPr>
            </a:p>
          </p:txBody>
        </p:sp>
        <p:sp>
          <p:nvSpPr>
            <p:cNvPr id="27" name="Freeform 30"/>
            <p:cNvSpPr/>
            <p:nvPr/>
          </p:nvSpPr>
          <p:spPr bwMode="auto">
            <a:xfrm>
              <a:off x="3654810" y="5873583"/>
              <a:ext cx="393856" cy="392746"/>
            </a:xfrm>
            <a:custGeom>
              <a:avLst/>
              <a:gdLst>
                <a:gd name="T0" fmla="*/ 354 w 709"/>
                <a:gd name="T1" fmla="*/ 0 h 709"/>
                <a:gd name="T2" fmla="*/ 709 w 709"/>
                <a:gd name="T3" fmla="*/ 355 h 709"/>
                <a:gd name="T4" fmla="*/ 354 w 709"/>
                <a:gd name="T5" fmla="*/ 709 h 709"/>
                <a:gd name="T6" fmla="*/ 0 w 709"/>
                <a:gd name="T7" fmla="*/ 355 h 709"/>
                <a:gd name="T8" fmla="*/ 354 w 709"/>
                <a:gd name="T9" fmla="*/ 0 h 709"/>
              </a:gdLst>
              <a:ahLst/>
              <a:cxnLst>
                <a:cxn ang="0">
                  <a:pos x="T0" y="T1"/>
                </a:cxn>
                <a:cxn ang="0">
                  <a:pos x="T2" y="T3"/>
                </a:cxn>
                <a:cxn ang="0">
                  <a:pos x="T4" y="T5"/>
                </a:cxn>
                <a:cxn ang="0">
                  <a:pos x="T6" y="T7"/>
                </a:cxn>
                <a:cxn ang="0">
                  <a:pos x="T8" y="T9"/>
                </a:cxn>
              </a:cxnLst>
              <a:rect l="0" t="0" r="r" b="b"/>
              <a:pathLst>
                <a:path w="709" h="709">
                  <a:moveTo>
                    <a:pt x="354" y="0"/>
                  </a:moveTo>
                  <a:lnTo>
                    <a:pt x="709" y="355"/>
                  </a:lnTo>
                  <a:lnTo>
                    <a:pt x="354" y="709"/>
                  </a:lnTo>
                  <a:lnTo>
                    <a:pt x="0" y="355"/>
                  </a:lnTo>
                  <a:lnTo>
                    <a:pt x="354" y="0"/>
                  </a:lnTo>
                  <a:close/>
                </a:path>
              </a:pathLst>
            </a:custGeom>
            <a:grp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latin typeface="Poppins"/>
                <a:ea typeface="+mn-ea"/>
                <a:cs typeface="+mn-cs"/>
              </a:endParaRPr>
            </a:p>
          </p:txBody>
        </p:sp>
      </p:grpSp>
      <p:sp>
        <p:nvSpPr>
          <p:cNvPr id="28" name="Rectangle 23"/>
          <p:cNvSpPr/>
          <p:nvPr/>
        </p:nvSpPr>
        <p:spPr>
          <a:xfrm flipH="1">
            <a:off x="-15478" y="-56446"/>
            <a:ext cx="2193561" cy="6914446"/>
          </a:xfrm>
          <a:prstGeom prst="rect">
            <a:avLst/>
          </a:prstGeom>
          <a:gradFill>
            <a:gsLst>
              <a:gs pos="0">
                <a:srgbClr val="FF4D75">
                  <a:alpha val="60000"/>
                </a:srgbClr>
              </a:gs>
              <a:gs pos="100000">
                <a:srgbClr val="9443E2">
                  <a:alpha val="58000"/>
                </a:srgb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white"/>
              </a:solidFill>
              <a:effectLst/>
              <a:uLnTx/>
              <a:uFillTx/>
              <a:latin typeface="Poppins"/>
              <a:ea typeface="+mn-ea"/>
              <a:cs typeface="+mn-cs"/>
            </a:endParaRPr>
          </a:p>
        </p:txBody>
      </p:sp>
      <p:sp>
        <p:nvSpPr>
          <p:cNvPr id="44" name="TextBox 20"/>
          <p:cNvSpPr txBox="1"/>
          <p:nvPr/>
        </p:nvSpPr>
        <p:spPr>
          <a:xfrm>
            <a:off x="2446655" y="1201420"/>
            <a:ext cx="7891780" cy="5169535"/>
          </a:xfrm>
          <a:prstGeom prst="rect">
            <a:avLst/>
          </a:prstGeom>
          <a:noFill/>
        </p:spPr>
        <p:txBody>
          <a:bodyPr wrap="square" rtlCol="0">
            <a:spAutoFit/>
          </a:bodyPr>
          <a:lstStyle/>
          <a:p>
            <a:pPr lvl="0">
              <a:lnSpc>
                <a:spcPct val="150000"/>
              </a:lnSpc>
              <a:defRPr/>
            </a:pPr>
            <a:r>
              <a:rPr lang="zh-CN" altLang="en-US" sz="16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响应式编程（Reactive Programming）和普通的编程思路的主要区别在于，响应式以推（push）的方式运作，而非响应式的编程思路以拉（pull）的方式运作。例如，事件就是一个很常见的响应式编程，我们通常会这么做：</a:t>
            </a:r>
            <a:endParaRPr lang="zh-CN" altLang="en-US" sz="16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a:lnSpc>
                <a:spcPct val="150000"/>
              </a:lnSpc>
              <a:defRPr/>
            </a:pPr>
            <a:r>
              <a:rPr lang="en-US" altLang="zh-CN" sz="16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button.on('click', () =&gt; {  </a:t>
            </a:r>
            <a:endParaRPr lang="en-US" altLang="zh-CN" sz="16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a:lnSpc>
                <a:spcPct val="150000"/>
              </a:lnSpc>
              <a:defRPr/>
            </a:pPr>
            <a:r>
              <a:rPr lang="en-US" altLang="zh-CN" sz="16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    // ...</a:t>
            </a:r>
            <a:endParaRPr lang="en-US" altLang="zh-CN" sz="16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a:lnSpc>
                <a:spcPct val="150000"/>
              </a:lnSpc>
              <a:defRPr/>
            </a:pPr>
            <a:r>
              <a:rPr lang="en-US" altLang="zh-CN" sz="16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a:t>
            </a:r>
            <a:endParaRPr lang="en-US" altLang="zh-CN" sz="16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a:lnSpc>
                <a:spcPct val="150000"/>
              </a:lnSpc>
              <a:defRPr/>
            </a:pPr>
            <a:r>
              <a:rPr lang="en-US" altLang="zh-CN" sz="16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而非响应式方式下，就会变成这样：</a:t>
            </a:r>
            <a:endParaRPr lang="en-US" altLang="zh-CN" sz="16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a:lnSpc>
                <a:spcPct val="150000"/>
              </a:lnSpc>
              <a:defRPr/>
            </a:pPr>
            <a:r>
              <a:rPr lang="en-US" altLang="zh-CN" sz="16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while (true) {  </a:t>
            </a:r>
            <a:endParaRPr lang="en-US" altLang="zh-CN" sz="16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a:lnSpc>
                <a:spcPct val="150000"/>
              </a:lnSpc>
              <a:defRPr/>
            </a:pPr>
            <a:r>
              <a:rPr lang="en-US" altLang="zh-CN" sz="16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    if (button.clicked) {</a:t>
            </a:r>
            <a:endParaRPr lang="en-US" altLang="zh-CN" sz="16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a:lnSpc>
                <a:spcPct val="150000"/>
              </a:lnSpc>
              <a:defRPr/>
            </a:pPr>
            <a:r>
              <a:rPr lang="en-US" altLang="zh-CN" sz="16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        // ...</a:t>
            </a:r>
            <a:endParaRPr lang="en-US" altLang="zh-CN" sz="16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a:lnSpc>
                <a:spcPct val="150000"/>
              </a:lnSpc>
              <a:defRPr/>
            </a:pPr>
            <a:r>
              <a:rPr lang="en-US" altLang="zh-CN" sz="16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    }</a:t>
            </a:r>
            <a:endParaRPr lang="en-US" altLang="zh-CN" sz="16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a:lnSpc>
                <a:spcPct val="150000"/>
              </a:lnSpc>
              <a:defRPr/>
            </a:pPr>
            <a:r>
              <a:rPr lang="en-US" altLang="zh-CN" sz="16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a:t>
            </a:r>
            <a:endParaRPr lang="en-US" altLang="zh-CN" sz="16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a:lnSpc>
                <a:spcPct val="150000"/>
              </a:lnSpc>
              <a:defRPr/>
            </a:pPr>
            <a:r>
              <a:rPr lang="en-US" altLang="zh-CN" sz="16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显然，无论在是代码的优雅度还是执行效率上，非响应式的方式都不如响应式的设计。</a:t>
            </a:r>
            <a:endParaRPr lang="en-US" altLang="zh-CN" sz="1200" dirty="0">
              <a:solidFill>
                <a:schemeClr val="accent4"/>
              </a:solidFill>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endParaRPr lang="en-US" altLang="zh-CN" sz="1200" dirty="0">
              <a:solidFill>
                <a:schemeClr val="accent4"/>
              </a:solidFill>
              <a:latin typeface="微软雅黑 Light" panose="020B0502040204020203" pitchFamily="34" charset="-122"/>
              <a:ea typeface="微软雅黑 Light" panose="020B0502040204020203" pitchFamily="34" charset="-122"/>
              <a:cs typeface="Open Sans" panose="020B0606030504020204" pitchFamily="34" charset="0"/>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750"/>
                                        <p:tgtEl>
                                          <p:spTgt spid="44"/>
                                        </p:tgtEl>
                                      </p:cBhvr>
                                    </p:animEffect>
                                    <p:anim calcmode="lin" valueType="num">
                                      <p:cBhvr>
                                        <p:cTn id="8" dur="750" fill="hold"/>
                                        <p:tgtEl>
                                          <p:spTgt spid="44"/>
                                        </p:tgtEl>
                                        <p:attrNameLst>
                                          <p:attrName>ppt_x</p:attrName>
                                        </p:attrNameLst>
                                      </p:cBhvr>
                                      <p:tavLst>
                                        <p:tav tm="0">
                                          <p:val>
                                            <p:strVal val="#ppt_x"/>
                                          </p:val>
                                        </p:tav>
                                        <p:tav tm="100000">
                                          <p:val>
                                            <p:strVal val="#ppt_x"/>
                                          </p:val>
                                        </p:tav>
                                      </p:tavLst>
                                    </p:anim>
                                    <p:anim calcmode="lin" valueType="num">
                                      <p:cBhvr>
                                        <p:cTn id="9" dur="750" fill="hold"/>
                                        <p:tgtEl>
                                          <p:spTgt spid="4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1"/>
          <p:cNvSpPr txBox="1"/>
          <p:nvPr/>
        </p:nvSpPr>
        <p:spPr>
          <a:xfrm>
            <a:off x="817880" y="510094"/>
            <a:ext cx="8610600" cy="49548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dirty="0">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sym typeface="+mn-ea"/>
              </a:rPr>
              <a:t>设备安全区域</a:t>
            </a:r>
            <a:endParaRPr lang="en-US" dirty="0">
              <a:latin typeface="微软雅黑 Light" panose="020B0502040204020203" pitchFamily="34" charset="-122"/>
              <a:ea typeface="微软雅黑 Light" panose="020B0502040204020203" pitchFamily="34" charset="-122"/>
            </a:endParaRPr>
          </a:p>
        </p:txBody>
      </p:sp>
      <p:sp>
        <p:nvSpPr>
          <p:cNvPr id="2" name="TextBox 20"/>
          <p:cNvSpPr txBox="1"/>
          <p:nvPr/>
        </p:nvSpPr>
        <p:spPr>
          <a:xfrm>
            <a:off x="1177290" y="1231265"/>
            <a:ext cx="9413240" cy="5539105"/>
          </a:xfrm>
          <a:prstGeom prst="rect">
            <a:avLst/>
          </a:prstGeom>
          <a:noFill/>
        </p:spPr>
        <p:txBody>
          <a:bodyPr wrap="square" rtlCol="0">
            <a:spAutoFit/>
          </a:bodyPr>
          <a:p>
            <a:pPr lvl="0">
              <a:lnSpc>
                <a:spcPct val="150000"/>
              </a:lnSpc>
              <a:defRPr/>
            </a:pPr>
            <a:r>
              <a:rPr lang="zh-CN" altLang="en-US" sz="16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由于移动终端设备种类繁多，所以不管是设计师还是前端工程师都需要面对众多屏幕的适配处理。在screensiz.es整理了市面上众多设备的尺寸参数。</a:t>
            </a:r>
            <a:endParaRPr lang="zh-CN" altLang="en-US" sz="16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16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iOS 11 为屏幕适配引入了一个十分重要的概念：Safe Area。安全区域，一个熟悉又陌生的词语。</a:t>
            </a:r>
            <a:endParaRPr lang="zh-CN" altLang="en-US" sz="16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16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熟悉是因为在平面设计中，由于印刷裁切过程中的误差，设计师需要给设计稿预留出「出血」 位置，确保设计内容在安全区域中；陌生又是因为在互联网设计中已极少被提及。</a:t>
            </a:r>
            <a:endParaRPr lang="zh-CN" altLang="en-US" sz="16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16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这里指的安全区域不仅仅针对于iOS的设备，只不过以iOS设备为例。所以这里所指的设备安全区域指的是屏幕内适合放置控件的安全区域。</a:t>
            </a:r>
            <a:endParaRPr lang="zh-CN" altLang="en-US" sz="16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16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在没有状态栏和其他东西的 iPhone 8 里，Safe Area 是指整个屏幕。</a:t>
            </a:r>
            <a:endParaRPr lang="zh-CN" altLang="en-US" sz="16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16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当加入状态栏后，Safe Area 便向下减少了 20pt。当我们加入 Navigation 的时候，Safe Area 又减少了 44pt。同理，我们再加入 Tabbar 的时候，Safe Area 又减少了 44pt（PS：此处更正， Tabbar 高度应该是 49pt）。</a:t>
            </a:r>
            <a:endParaRPr lang="zh-CN" altLang="en-US" sz="16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16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在 iPhone X 里，当我们没有使用状态栏时，Safe Area 依然和上下边有一定的距离。按照我的测量，此时距离底部应该是 43pt，距离顶部应该是 44pt。</a:t>
            </a:r>
            <a:endParaRPr lang="zh-CN" altLang="en-US" sz="16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r>
              <a:rPr lang="zh-CN" altLang="en-US" sz="16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rPr>
              <a:t>同理，加入不同 Bar 之后，iPhone X 的 Safe Area 都会有相应的变化。</a:t>
            </a:r>
            <a:endParaRPr lang="zh-CN" altLang="en-US" sz="1200" dirty="0">
              <a:solidFill>
                <a:schemeClr val="tx1"/>
              </a:solidFill>
              <a:effectLst>
                <a:outerShdw blurRad="38100" dist="19050" dir="2700000" algn="tl" rotWithShape="0">
                  <a:schemeClr val="dk1">
                    <a:alpha val="40000"/>
                  </a:schemeClr>
                </a:outerShdw>
              </a:effectLst>
              <a:latin typeface="微软雅黑 Light" panose="020B0502040204020203" pitchFamily="34" charset="-122"/>
              <a:ea typeface="微软雅黑 Light" panose="020B0502040204020203" pitchFamily="34" charset="-122"/>
              <a:cs typeface="Open Sans" panose="020B0606030504020204" pitchFamily="34" charset="0"/>
            </a:endParaRPr>
          </a:p>
          <a:p>
            <a:pPr lvl="0">
              <a:lnSpc>
                <a:spcPct val="150000"/>
              </a:lnSpc>
              <a:defRPr/>
            </a:pPr>
            <a:endParaRPr lang="en-US" altLang="zh-CN" sz="1200" dirty="0">
              <a:solidFill>
                <a:schemeClr val="accent4"/>
              </a:solidFill>
              <a:latin typeface="微软雅黑 Light" panose="020B0502040204020203" pitchFamily="34" charset="-122"/>
              <a:ea typeface="微软雅黑 Light" panose="020B0502040204020203" pitchFamily="34" charset="-122"/>
              <a:cs typeface="Open Sans" panose="020B0606030504020204" pitchFamily="34" charset="0"/>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2000"/>
                                        <p:tgtEl>
                                          <p:spTgt spid="36"/>
                                        </p:tgtEl>
                                      </p:cBhvr>
                                    </p:animEffect>
                                  </p:childTnLst>
                                </p:cTn>
                              </p:par>
                              <p:par>
                                <p:cTn id="8" presetID="42"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750"/>
                                        <p:tgtEl>
                                          <p:spTgt spid="2"/>
                                        </p:tgtEl>
                                      </p:cBhvr>
                                    </p:animEffect>
                                    <p:anim calcmode="lin" valueType="num">
                                      <p:cBhvr>
                                        <p:cTn id="11" dur="750" fill="hold"/>
                                        <p:tgtEl>
                                          <p:spTgt spid="2"/>
                                        </p:tgtEl>
                                        <p:attrNameLst>
                                          <p:attrName>ppt_x</p:attrName>
                                        </p:attrNameLst>
                                      </p:cBhvr>
                                      <p:tavLst>
                                        <p:tav tm="0">
                                          <p:val>
                                            <p:strVal val="#ppt_x"/>
                                          </p:val>
                                        </p:tav>
                                        <p:tav tm="100000">
                                          <p:val>
                                            <p:strVal val="#ppt_x"/>
                                          </p:val>
                                        </p:tav>
                                      </p:tavLst>
                                    </p:anim>
                                    <p:anim calcmode="lin" valueType="num">
                                      <p:cBhvr>
                                        <p:cTn id="12" dur="75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2" grpId="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2043233" y="1984193"/>
            <a:ext cx="3050668" cy="3307304"/>
            <a:chOff x="2043233" y="1984193"/>
            <a:chExt cx="3050668" cy="3307304"/>
          </a:xfrm>
        </p:grpSpPr>
        <p:pic>
          <p:nvPicPr>
            <p:cNvPr id="7" name="稻壳儿小白白(http://dwz.cn/Wu2UP)"/>
            <p:cNvPicPr>
              <a:picLocks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3323658" y="1984193"/>
              <a:ext cx="1770243" cy="2029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1" name="组合 30"/>
            <p:cNvGrpSpPr/>
            <p:nvPr/>
          </p:nvGrpSpPr>
          <p:grpSpPr>
            <a:xfrm>
              <a:off x="2043233" y="2729268"/>
              <a:ext cx="2564989" cy="2562229"/>
              <a:chOff x="1146419" y="2221157"/>
              <a:chExt cx="2951163" cy="2947987"/>
            </a:xfrm>
            <a:gradFill>
              <a:gsLst>
                <a:gs pos="0">
                  <a:srgbClr val="FF4D75"/>
                </a:gs>
                <a:gs pos="100000">
                  <a:srgbClr val="9443E2">
                    <a:alpha val="58000"/>
                  </a:srgbClr>
                </a:gs>
              </a:gsLst>
              <a:lin ang="13500000" scaled="1"/>
            </a:gradFill>
          </p:grpSpPr>
          <p:sp>
            <p:nvSpPr>
              <p:cNvPr id="6" name="稻壳儿小白白(http://dwz.cn/Wu2UP)"/>
              <p:cNvSpPr>
                <a:spLocks noChangeArrowheads="1"/>
              </p:cNvSpPr>
              <p:nvPr/>
            </p:nvSpPr>
            <p:spPr bwMode="auto">
              <a:xfrm>
                <a:off x="2340219" y="3414957"/>
                <a:ext cx="560388" cy="56038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charset="-122"/>
                  </a:defRPr>
                </a:lvl1pPr>
                <a:lvl2pPr marL="742950" indent="-285750">
                  <a:defRPr>
                    <a:solidFill>
                      <a:schemeClr val="tx1"/>
                    </a:solidFill>
                    <a:latin typeface="Arial" panose="020B0604020202020204" pitchFamily="34" charset="0"/>
                    <a:ea typeface="微软雅黑" panose="020B0503020204020204" charset="-122"/>
                  </a:defRPr>
                </a:lvl2pPr>
                <a:lvl3pPr marL="1143000" indent="-228600">
                  <a:defRPr>
                    <a:solidFill>
                      <a:schemeClr val="tx1"/>
                    </a:solidFill>
                    <a:latin typeface="Arial" panose="020B0604020202020204" pitchFamily="34" charset="0"/>
                    <a:ea typeface="微软雅黑" panose="020B0503020204020204" charset="-122"/>
                  </a:defRPr>
                </a:lvl3pPr>
                <a:lvl4pPr marL="1600200" indent="-228600">
                  <a:defRPr>
                    <a:solidFill>
                      <a:schemeClr val="tx1"/>
                    </a:solidFill>
                    <a:latin typeface="Arial" panose="020B0604020202020204" pitchFamily="34" charset="0"/>
                    <a:ea typeface="微软雅黑" panose="020B0503020204020204" charset="-122"/>
                  </a:defRPr>
                </a:lvl4pPr>
                <a:lvl5pPr marL="2057400" indent="-228600">
                  <a:defRPr>
                    <a:solidFill>
                      <a:schemeClr val="tx1"/>
                    </a:solidFill>
                    <a:latin typeface="Arial" panose="020B0604020202020204" pitchFamily="34" charset="0"/>
                    <a:ea typeface="微软雅黑" panose="020B0503020204020204"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zh-CN" sz="1200" b="0" i="0" u="none" strike="noStrike" kern="1200" cap="none" spc="0" normalizeH="0" baseline="0" noProof="0">
                  <a:ln>
                    <a:noFill/>
                  </a:ln>
                  <a:solidFill>
                    <a:srgbClr val="445469"/>
                  </a:solidFill>
                  <a:effectLst/>
                  <a:uLnTx/>
                  <a:uFillTx/>
                  <a:latin typeface="Arial" panose="020B0604020202020204" pitchFamily="34" charset="0"/>
                  <a:ea typeface="微软雅黑" panose="020B0503020204020204" charset="-122"/>
                  <a:cs typeface="+mn-cs"/>
                  <a:sym typeface="Arial" panose="020B0604020202020204" pitchFamily="34" charset="0"/>
                </a:endParaRPr>
              </a:p>
            </p:txBody>
          </p:sp>
          <p:sp>
            <p:nvSpPr>
              <p:cNvPr id="8" name="稻壳儿小白白(http://dwz.cn/Wu2UP)"/>
              <p:cNvSpPr/>
              <p:nvPr/>
            </p:nvSpPr>
            <p:spPr bwMode="auto">
              <a:xfrm>
                <a:off x="1910007" y="2986332"/>
                <a:ext cx="1422400" cy="1420812"/>
              </a:xfrm>
              <a:custGeom>
                <a:avLst/>
                <a:gdLst>
                  <a:gd name="T0" fmla="*/ 250 w 500"/>
                  <a:gd name="T1" fmla="*/ 500 h 500"/>
                  <a:gd name="T2" fmla="*/ 0 w 500"/>
                  <a:gd name="T3" fmla="*/ 250 h 500"/>
                  <a:gd name="T4" fmla="*/ 250 w 500"/>
                  <a:gd name="T5" fmla="*/ 0 h 500"/>
                  <a:gd name="T6" fmla="*/ 348 w 500"/>
                  <a:gd name="T7" fmla="*/ 20 h 500"/>
                  <a:gd name="T8" fmla="*/ 311 w 500"/>
                  <a:gd name="T9" fmla="*/ 75 h 500"/>
                  <a:gd name="T10" fmla="*/ 250 w 500"/>
                  <a:gd name="T11" fmla="*/ 64 h 500"/>
                  <a:gd name="T12" fmla="*/ 64 w 500"/>
                  <a:gd name="T13" fmla="*/ 250 h 500"/>
                  <a:gd name="T14" fmla="*/ 250 w 500"/>
                  <a:gd name="T15" fmla="*/ 435 h 500"/>
                  <a:gd name="T16" fmla="*/ 435 w 500"/>
                  <a:gd name="T17" fmla="*/ 250 h 500"/>
                  <a:gd name="T18" fmla="*/ 414 w 500"/>
                  <a:gd name="T19" fmla="*/ 164 h 500"/>
                  <a:gd name="T20" fmla="*/ 460 w 500"/>
                  <a:gd name="T21" fmla="*/ 114 h 500"/>
                  <a:gd name="T22" fmla="*/ 500 w 500"/>
                  <a:gd name="T23" fmla="*/ 250 h 500"/>
                  <a:gd name="T24" fmla="*/ 250 w 500"/>
                  <a:gd name="T25" fmla="*/ 500 h 5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00"/>
                  <a:gd name="T40" fmla="*/ 0 h 500"/>
                  <a:gd name="T41" fmla="*/ 500 w 500"/>
                  <a:gd name="T42" fmla="*/ 500 h 50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00" h="500">
                    <a:moveTo>
                      <a:pt x="250" y="500"/>
                    </a:moveTo>
                    <a:cubicBezTo>
                      <a:pt x="112" y="500"/>
                      <a:pt x="0" y="388"/>
                      <a:pt x="0" y="250"/>
                    </a:cubicBezTo>
                    <a:cubicBezTo>
                      <a:pt x="0" y="112"/>
                      <a:pt x="112" y="0"/>
                      <a:pt x="250" y="0"/>
                    </a:cubicBezTo>
                    <a:cubicBezTo>
                      <a:pt x="285" y="0"/>
                      <a:pt x="318" y="7"/>
                      <a:pt x="348" y="20"/>
                    </a:cubicBezTo>
                    <a:cubicBezTo>
                      <a:pt x="311" y="75"/>
                      <a:pt x="311" y="75"/>
                      <a:pt x="311" y="75"/>
                    </a:cubicBezTo>
                    <a:cubicBezTo>
                      <a:pt x="291" y="68"/>
                      <a:pt x="271" y="64"/>
                      <a:pt x="250" y="64"/>
                    </a:cubicBezTo>
                    <a:cubicBezTo>
                      <a:pt x="147" y="64"/>
                      <a:pt x="64" y="147"/>
                      <a:pt x="64" y="250"/>
                    </a:cubicBezTo>
                    <a:cubicBezTo>
                      <a:pt x="64" y="352"/>
                      <a:pt x="147" y="435"/>
                      <a:pt x="250" y="435"/>
                    </a:cubicBezTo>
                    <a:cubicBezTo>
                      <a:pt x="352" y="435"/>
                      <a:pt x="435" y="352"/>
                      <a:pt x="435" y="250"/>
                    </a:cubicBezTo>
                    <a:cubicBezTo>
                      <a:pt x="435" y="219"/>
                      <a:pt x="427" y="189"/>
                      <a:pt x="414" y="164"/>
                    </a:cubicBezTo>
                    <a:cubicBezTo>
                      <a:pt x="460" y="114"/>
                      <a:pt x="460" y="114"/>
                      <a:pt x="460" y="114"/>
                    </a:cubicBezTo>
                    <a:cubicBezTo>
                      <a:pt x="485" y="153"/>
                      <a:pt x="500" y="200"/>
                      <a:pt x="500" y="250"/>
                    </a:cubicBezTo>
                    <a:cubicBezTo>
                      <a:pt x="500" y="388"/>
                      <a:pt x="388" y="500"/>
                      <a:pt x="250" y="50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charset="-122"/>
                  </a:defRPr>
                </a:lvl1pPr>
                <a:lvl2pPr marL="742950" indent="-285750">
                  <a:defRPr>
                    <a:solidFill>
                      <a:schemeClr val="tx1"/>
                    </a:solidFill>
                    <a:latin typeface="Arial" panose="020B0604020202020204" pitchFamily="34" charset="0"/>
                    <a:ea typeface="微软雅黑" panose="020B0503020204020204" charset="-122"/>
                  </a:defRPr>
                </a:lvl2pPr>
                <a:lvl3pPr marL="1143000" indent="-228600">
                  <a:defRPr>
                    <a:solidFill>
                      <a:schemeClr val="tx1"/>
                    </a:solidFill>
                    <a:latin typeface="Arial" panose="020B0604020202020204" pitchFamily="34" charset="0"/>
                    <a:ea typeface="微软雅黑" panose="020B0503020204020204" charset="-122"/>
                  </a:defRPr>
                </a:lvl3pPr>
                <a:lvl4pPr marL="1600200" indent="-228600">
                  <a:defRPr>
                    <a:solidFill>
                      <a:schemeClr val="tx1"/>
                    </a:solidFill>
                    <a:latin typeface="Arial" panose="020B0604020202020204" pitchFamily="34" charset="0"/>
                    <a:ea typeface="微软雅黑" panose="020B0503020204020204" charset="-122"/>
                  </a:defRPr>
                </a:lvl4pPr>
                <a:lvl5pPr marL="2057400" indent="-228600">
                  <a:defRPr>
                    <a:solidFill>
                      <a:schemeClr val="tx1"/>
                    </a:solidFill>
                    <a:latin typeface="Arial" panose="020B0604020202020204" pitchFamily="34" charset="0"/>
                    <a:ea typeface="微软雅黑" panose="020B0503020204020204"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445469"/>
                  </a:solidFill>
                  <a:effectLst/>
                  <a:uLnTx/>
                  <a:uFillTx/>
                  <a:latin typeface="Arial" panose="020B0604020202020204" pitchFamily="34" charset="0"/>
                  <a:ea typeface="微软雅黑" panose="020B0503020204020204" charset="-122"/>
                  <a:cs typeface="+mn-cs"/>
                </a:endParaRPr>
              </a:p>
            </p:txBody>
          </p:sp>
          <p:sp>
            <p:nvSpPr>
              <p:cNvPr id="9" name="稻壳儿小白白(http://dwz.cn/Wu2UP)"/>
              <p:cNvSpPr/>
              <p:nvPr/>
            </p:nvSpPr>
            <p:spPr bwMode="auto">
              <a:xfrm>
                <a:off x="1532182" y="2608507"/>
                <a:ext cx="2176462" cy="2174875"/>
              </a:xfrm>
              <a:custGeom>
                <a:avLst/>
                <a:gdLst>
                  <a:gd name="T0" fmla="*/ 383 w 765"/>
                  <a:gd name="T1" fmla="*/ 765 h 765"/>
                  <a:gd name="T2" fmla="*/ 0 w 765"/>
                  <a:gd name="T3" fmla="*/ 383 h 765"/>
                  <a:gd name="T4" fmla="*/ 383 w 765"/>
                  <a:gd name="T5" fmla="*/ 0 h 765"/>
                  <a:gd name="T6" fmla="*/ 562 w 765"/>
                  <a:gd name="T7" fmla="*/ 45 h 765"/>
                  <a:gd name="T8" fmla="*/ 529 w 765"/>
                  <a:gd name="T9" fmla="*/ 93 h 765"/>
                  <a:gd name="T10" fmla="*/ 383 w 765"/>
                  <a:gd name="T11" fmla="*/ 58 h 765"/>
                  <a:gd name="T12" fmla="*/ 153 w 765"/>
                  <a:gd name="T13" fmla="*/ 153 h 765"/>
                  <a:gd name="T14" fmla="*/ 58 w 765"/>
                  <a:gd name="T15" fmla="*/ 383 h 765"/>
                  <a:gd name="T16" fmla="*/ 153 w 765"/>
                  <a:gd name="T17" fmla="*/ 612 h 765"/>
                  <a:gd name="T18" fmla="*/ 383 w 765"/>
                  <a:gd name="T19" fmla="*/ 707 h 765"/>
                  <a:gd name="T20" fmla="*/ 612 w 765"/>
                  <a:gd name="T21" fmla="*/ 612 h 765"/>
                  <a:gd name="T22" fmla="*/ 707 w 765"/>
                  <a:gd name="T23" fmla="*/ 383 h 765"/>
                  <a:gd name="T24" fmla="*/ 640 w 765"/>
                  <a:gd name="T25" fmla="*/ 186 h 765"/>
                  <a:gd name="T26" fmla="*/ 680 w 765"/>
                  <a:gd name="T27" fmla="*/ 143 h 765"/>
                  <a:gd name="T28" fmla="*/ 765 w 765"/>
                  <a:gd name="T29" fmla="*/ 383 h 765"/>
                  <a:gd name="T30" fmla="*/ 383 w 765"/>
                  <a:gd name="T31" fmla="*/ 765 h 76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65"/>
                  <a:gd name="T49" fmla="*/ 0 h 765"/>
                  <a:gd name="T50" fmla="*/ 765 w 765"/>
                  <a:gd name="T51" fmla="*/ 765 h 76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65" h="765">
                    <a:moveTo>
                      <a:pt x="383" y="765"/>
                    </a:moveTo>
                    <a:cubicBezTo>
                      <a:pt x="171" y="765"/>
                      <a:pt x="0" y="594"/>
                      <a:pt x="0" y="383"/>
                    </a:cubicBezTo>
                    <a:cubicBezTo>
                      <a:pt x="0" y="171"/>
                      <a:pt x="171" y="0"/>
                      <a:pt x="383" y="0"/>
                    </a:cubicBezTo>
                    <a:cubicBezTo>
                      <a:pt x="447" y="0"/>
                      <a:pt x="508" y="16"/>
                      <a:pt x="562" y="45"/>
                    </a:cubicBezTo>
                    <a:cubicBezTo>
                      <a:pt x="529" y="93"/>
                      <a:pt x="529" y="93"/>
                      <a:pt x="529" y="93"/>
                    </a:cubicBezTo>
                    <a:cubicBezTo>
                      <a:pt x="485" y="71"/>
                      <a:pt x="435" y="58"/>
                      <a:pt x="383" y="58"/>
                    </a:cubicBezTo>
                    <a:cubicBezTo>
                      <a:pt x="293" y="59"/>
                      <a:pt x="212" y="95"/>
                      <a:pt x="153" y="153"/>
                    </a:cubicBezTo>
                    <a:cubicBezTo>
                      <a:pt x="95" y="212"/>
                      <a:pt x="59" y="293"/>
                      <a:pt x="58" y="383"/>
                    </a:cubicBezTo>
                    <a:cubicBezTo>
                      <a:pt x="59" y="472"/>
                      <a:pt x="95" y="553"/>
                      <a:pt x="153" y="612"/>
                    </a:cubicBezTo>
                    <a:cubicBezTo>
                      <a:pt x="212" y="671"/>
                      <a:pt x="293" y="707"/>
                      <a:pt x="383" y="707"/>
                    </a:cubicBezTo>
                    <a:cubicBezTo>
                      <a:pt x="472" y="707"/>
                      <a:pt x="553" y="671"/>
                      <a:pt x="612" y="612"/>
                    </a:cubicBezTo>
                    <a:cubicBezTo>
                      <a:pt x="671" y="553"/>
                      <a:pt x="707" y="472"/>
                      <a:pt x="707" y="383"/>
                    </a:cubicBezTo>
                    <a:cubicBezTo>
                      <a:pt x="707" y="309"/>
                      <a:pt x="682" y="240"/>
                      <a:pt x="640" y="186"/>
                    </a:cubicBezTo>
                    <a:cubicBezTo>
                      <a:pt x="680" y="143"/>
                      <a:pt x="680" y="143"/>
                      <a:pt x="680" y="143"/>
                    </a:cubicBezTo>
                    <a:cubicBezTo>
                      <a:pt x="733" y="208"/>
                      <a:pt x="765" y="292"/>
                      <a:pt x="765" y="383"/>
                    </a:cubicBezTo>
                    <a:cubicBezTo>
                      <a:pt x="765" y="594"/>
                      <a:pt x="594" y="765"/>
                      <a:pt x="383" y="76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charset="-122"/>
                  </a:defRPr>
                </a:lvl1pPr>
                <a:lvl2pPr marL="742950" indent="-285750">
                  <a:defRPr>
                    <a:solidFill>
                      <a:schemeClr val="tx1"/>
                    </a:solidFill>
                    <a:latin typeface="Arial" panose="020B0604020202020204" pitchFamily="34" charset="0"/>
                    <a:ea typeface="微软雅黑" panose="020B0503020204020204" charset="-122"/>
                  </a:defRPr>
                </a:lvl2pPr>
                <a:lvl3pPr marL="1143000" indent="-228600">
                  <a:defRPr>
                    <a:solidFill>
                      <a:schemeClr val="tx1"/>
                    </a:solidFill>
                    <a:latin typeface="Arial" panose="020B0604020202020204" pitchFamily="34" charset="0"/>
                    <a:ea typeface="微软雅黑" panose="020B0503020204020204" charset="-122"/>
                  </a:defRPr>
                </a:lvl3pPr>
                <a:lvl4pPr marL="1600200" indent="-228600">
                  <a:defRPr>
                    <a:solidFill>
                      <a:schemeClr val="tx1"/>
                    </a:solidFill>
                    <a:latin typeface="Arial" panose="020B0604020202020204" pitchFamily="34" charset="0"/>
                    <a:ea typeface="微软雅黑" panose="020B0503020204020204" charset="-122"/>
                  </a:defRPr>
                </a:lvl4pPr>
                <a:lvl5pPr marL="2057400" indent="-228600">
                  <a:defRPr>
                    <a:solidFill>
                      <a:schemeClr val="tx1"/>
                    </a:solidFill>
                    <a:latin typeface="Arial" panose="020B0604020202020204" pitchFamily="34" charset="0"/>
                    <a:ea typeface="微软雅黑" panose="020B0503020204020204"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445469"/>
                  </a:solidFill>
                  <a:effectLst/>
                  <a:uLnTx/>
                  <a:uFillTx/>
                  <a:latin typeface="Arial" panose="020B0604020202020204" pitchFamily="34" charset="0"/>
                  <a:ea typeface="微软雅黑" panose="020B0503020204020204" charset="-122"/>
                  <a:cs typeface="+mn-cs"/>
                </a:endParaRPr>
              </a:p>
            </p:txBody>
          </p:sp>
          <p:sp>
            <p:nvSpPr>
              <p:cNvPr id="10" name="稻壳儿小白白(http://dwz.cn/Wu2UP)"/>
              <p:cNvSpPr/>
              <p:nvPr/>
            </p:nvSpPr>
            <p:spPr bwMode="auto">
              <a:xfrm>
                <a:off x="1146419" y="2221157"/>
                <a:ext cx="2951163" cy="2947987"/>
              </a:xfrm>
              <a:custGeom>
                <a:avLst/>
                <a:gdLst>
                  <a:gd name="T0" fmla="*/ 519 w 1038"/>
                  <a:gd name="T1" fmla="*/ 0 h 1037"/>
                  <a:gd name="T2" fmla="*/ 775 w 1038"/>
                  <a:gd name="T3" fmla="*/ 68 h 1037"/>
                  <a:gd name="T4" fmla="*/ 740 w 1038"/>
                  <a:gd name="T5" fmla="*/ 119 h 1037"/>
                  <a:gd name="T6" fmla="*/ 519 w 1038"/>
                  <a:gd name="T7" fmla="*/ 62 h 1037"/>
                  <a:gd name="T8" fmla="*/ 196 w 1038"/>
                  <a:gd name="T9" fmla="*/ 196 h 1037"/>
                  <a:gd name="T10" fmla="*/ 62 w 1038"/>
                  <a:gd name="T11" fmla="*/ 519 h 1037"/>
                  <a:gd name="T12" fmla="*/ 196 w 1038"/>
                  <a:gd name="T13" fmla="*/ 842 h 1037"/>
                  <a:gd name="T14" fmla="*/ 519 w 1038"/>
                  <a:gd name="T15" fmla="*/ 976 h 1037"/>
                  <a:gd name="T16" fmla="*/ 842 w 1038"/>
                  <a:gd name="T17" fmla="*/ 842 h 1037"/>
                  <a:gd name="T18" fmla="*/ 976 w 1038"/>
                  <a:gd name="T19" fmla="*/ 519 h 1037"/>
                  <a:gd name="T20" fmla="*/ 867 w 1038"/>
                  <a:gd name="T21" fmla="*/ 224 h 1037"/>
                  <a:gd name="T22" fmla="*/ 910 w 1038"/>
                  <a:gd name="T23" fmla="*/ 178 h 1037"/>
                  <a:gd name="T24" fmla="*/ 1038 w 1038"/>
                  <a:gd name="T25" fmla="*/ 519 h 1037"/>
                  <a:gd name="T26" fmla="*/ 519 w 1038"/>
                  <a:gd name="T27" fmla="*/ 1037 h 1037"/>
                  <a:gd name="T28" fmla="*/ 0 w 1038"/>
                  <a:gd name="T29" fmla="*/ 519 h 1037"/>
                  <a:gd name="T30" fmla="*/ 519 w 1038"/>
                  <a:gd name="T31" fmla="*/ 0 h 103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38"/>
                  <a:gd name="T49" fmla="*/ 0 h 1037"/>
                  <a:gd name="T50" fmla="*/ 1038 w 1038"/>
                  <a:gd name="T51" fmla="*/ 1037 h 103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38" h="1037">
                    <a:moveTo>
                      <a:pt x="519" y="0"/>
                    </a:moveTo>
                    <a:cubicBezTo>
                      <a:pt x="612" y="0"/>
                      <a:pt x="700" y="25"/>
                      <a:pt x="775" y="68"/>
                    </a:cubicBezTo>
                    <a:cubicBezTo>
                      <a:pt x="740" y="119"/>
                      <a:pt x="740" y="119"/>
                      <a:pt x="740" y="119"/>
                    </a:cubicBezTo>
                    <a:cubicBezTo>
                      <a:pt x="675" y="83"/>
                      <a:pt x="599" y="62"/>
                      <a:pt x="519" y="62"/>
                    </a:cubicBezTo>
                    <a:cubicBezTo>
                      <a:pt x="392" y="62"/>
                      <a:pt x="278" y="113"/>
                      <a:pt x="196" y="196"/>
                    </a:cubicBezTo>
                    <a:cubicBezTo>
                      <a:pt x="113" y="278"/>
                      <a:pt x="62" y="392"/>
                      <a:pt x="62" y="519"/>
                    </a:cubicBezTo>
                    <a:cubicBezTo>
                      <a:pt x="62" y="645"/>
                      <a:pt x="113" y="759"/>
                      <a:pt x="196" y="842"/>
                    </a:cubicBezTo>
                    <a:cubicBezTo>
                      <a:pt x="278" y="925"/>
                      <a:pt x="392" y="976"/>
                      <a:pt x="519" y="976"/>
                    </a:cubicBezTo>
                    <a:cubicBezTo>
                      <a:pt x="645" y="976"/>
                      <a:pt x="759" y="925"/>
                      <a:pt x="842" y="842"/>
                    </a:cubicBezTo>
                    <a:cubicBezTo>
                      <a:pt x="925" y="759"/>
                      <a:pt x="976" y="645"/>
                      <a:pt x="976" y="519"/>
                    </a:cubicBezTo>
                    <a:cubicBezTo>
                      <a:pt x="976" y="406"/>
                      <a:pt x="935" y="303"/>
                      <a:pt x="867" y="224"/>
                    </a:cubicBezTo>
                    <a:cubicBezTo>
                      <a:pt x="910" y="178"/>
                      <a:pt x="910" y="178"/>
                      <a:pt x="910" y="178"/>
                    </a:cubicBezTo>
                    <a:cubicBezTo>
                      <a:pt x="989" y="269"/>
                      <a:pt x="1037" y="388"/>
                      <a:pt x="1038" y="519"/>
                    </a:cubicBezTo>
                    <a:cubicBezTo>
                      <a:pt x="1037" y="805"/>
                      <a:pt x="805" y="1037"/>
                      <a:pt x="519" y="1037"/>
                    </a:cubicBezTo>
                    <a:cubicBezTo>
                      <a:pt x="232" y="1037"/>
                      <a:pt x="0" y="805"/>
                      <a:pt x="0" y="519"/>
                    </a:cubicBezTo>
                    <a:cubicBezTo>
                      <a:pt x="0" y="232"/>
                      <a:pt x="232" y="0"/>
                      <a:pt x="519"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charset="-122"/>
                  </a:defRPr>
                </a:lvl1pPr>
                <a:lvl2pPr marL="742950" indent="-285750">
                  <a:defRPr>
                    <a:solidFill>
                      <a:schemeClr val="tx1"/>
                    </a:solidFill>
                    <a:latin typeface="Arial" panose="020B0604020202020204" pitchFamily="34" charset="0"/>
                    <a:ea typeface="微软雅黑" panose="020B0503020204020204" charset="-122"/>
                  </a:defRPr>
                </a:lvl2pPr>
                <a:lvl3pPr marL="1143000" indent="-228600">
                  <a:defRPr>
                    <a:solidFill>
                      <a:schemeClr val="tx1"/>
                    </a:solidFill>
                    <a:latin typeface="Arial" panose="020B0604020202020204" pitchFamily="34" charset="0"/>
                    <a:ea typeface="微软雅黑" panose="020B0503020204020204" charset="-122"/>
                  </a:defRPr>
                </a:lvl3pPr>
                <a:lvl4pPr marL="1600200" indent="-228600">
                  <a:defRPr>
                    <a:solidFill>
                      <a:schemeClr val="tx1"/>
                    </a:solidFill>
                    <a:latin typeface="Arial" panose="020B0604020202020204" pitchFamily="34" charset="0"/>
                    <a:ea typeface="微软雅黑" panose="020B0503020204020204" charset="-122"/>
                  </a:defRPr>
                </a:lvl4pPr>
                <a:lvl5pPr marL="2057400" indent="-228600">
                  <a:defRPr>
                    <a:solidFill>
                      <a:schemeClr val="tx1"/>
                    </a:solidFill>
                    <a:latin typeface="Arial" panose="020B0604020202020204" pitchFamily="34" charset="0"/>
                    <a:ea typeface="微软雅黑" panose="020B0503020204020204"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445469"/>
                  </a:solidFill>
                  <a:effectLst/>
                  <a:uLnTx/>
                  <a:uFillTx/>
                  <a:latin typeface="Arial" panose="020B0604020202020204" pitchFamily="34" charset="0"/>
                  <a:ea typeface="微软雅黑" panose="020B0503020204020204" charset="-122"/>
                  <a:cs typeface="+mn-cs"/>
                </a:endParaRPr>
              </a:p>
            </p:txBody>
          </p:sp>
        </p:grpSp>
      </p:grpSp>
      <p:grpSp>
        <p:nvGrpSpPr>
          <p:cNvPr id="37" name="组合 36"/>
          <p:cNvGrpSpPr/>
          <p:nvPr/>
        </p:nvGrpSpPr>
        <p:grpSpPr>
          <a:xfrm>
            <a:off x="4544753" y="2075258"/>
            <a:ext cx="1564657" cy="3503231"/>
            <a:chOff x="4544753" y="2075258"/>
            <a:chExt cx="1564657" cy="3503231"/>
          </a:xfrm>
        </p:grpSpPr>
        <p:cxnSp>
          <p:nvCxnSpPr>
            <p:cNvPr id="2" name="稻壳儿小白白(http://dwz.cn/Wu2UP)"/>
            <p:cNvCxnSpPr>
              <a:cxnSpLocks noChangeShapeType="1"/>
            </p:cNvCxnSpPr>
            <p:nvPr/>
          </p:nvCxnSpPr>
          <p:spPr bwMode="auto">
            <a:xfrm>
              <a:off x="4544753" y="3827563"/>
              <a:ext cx="1194879" cy="0"/>
            </a:xfrm>
            <a:prstGeom prst="line">
              <a:avLst/>
            </a:prstGeom>
            <a:noFill/>
            <a:ln w="9525">
              <a:solidFill>
                <a:srgbClr val="C1C7D0"/>
              </a:solidFill>
              <a:round/>
            </a:ln>
            <a:extLst>
              <a:ext uri="{909E8E84-426E-40DD-AFC4-6F175D3DCCD1}">
                <a14:hiddenFill xmlns:a14="http://schemas.microsoft.com/office/drawing/2010/main">
                  <a:noFill/>
                </a14:hiddenFill>
              </a:ext>
            </a:extLst>
          </p:spPr>
        </p:cxnSp>
        <p:cxnSp>
          <p:nvCxnSpPr>
            <p:cNvPr id="3" name="稻壳儿小白白(http://dwz.cn/Wu2UP)"/>
            <p:cNvCxnSpPr>
              <a:cxnSpLocks noChangeShapeType="1"/>
            </p:cNvCxnSpPr>
            <p:nvPr/>
          </p:nvCxnSpPr>
          <p:spPr bwMode="auto">
            <a:xfrm flipV="1">
              <a:off x="5739632" y="2075258"/>
              <a:ext cx="0" cy="3503231"/>
            </a:xfrm>
            <a:prstGeom prst="line">
              <a:avLst/>
            </a:prstGeom>
            <a:noFill/>
            <a:ln w="9525">
              <a:solidFill>
                <a:srgbClr val="C1C7D0"/>
              </a:solidFill>
              <a:round/>
            </a:ln>
            <a:extLst>
              <a:ext uri="{909E8E84-426E-40DD-AFC4-6F175D3DCCD1}">
                <a14:hiddenFill xmlns:a14="http://schemas.microsoft.com/office/drawing/2010/main">
                  <a:noFill/>
                </a14:hiddenFill>
              </a:ext>
            </a:extLst>
          </p:spPr>
        </p:cxnSp>
        <p:cxnSp>
          <p:nvCxnSpPr>
            <p:cNvPr id="11" name="稻壳儿小白白(http://dwz.cn/Wu2UP)"/>
            <p:cNvCxnSpPr>
              <a:cxnSpLocks noChangeShapeType="1"/>
            </p:cNvCxnSpPr>
            <p:nvPr/>
          </p:nvCxnSpPr>
          <p:spPr bwMode="auto">
            <a:xfrm>
              <a:off x="5739632" y="3206667"/>
              <a:ext cx="369778" cy="0"/>
            </a:xfrm>
            <a:prstGeom prst="straightConnector1">
              <a:avLst/>
            </a:prstGeom>
            <a:noFill/>
            <a:ln w="9525">
              <a:solidFill>
                <a:srgbClr val="C1C7D0"/>
              </a:solidFill>
              <a:round/>
              <a:tailEnd type="triangle" w="med" len="med"/>
            </a:ln>
            <a:extLst>
              <a:ext uri="{909E8E84-426E-40DD-AFC4-6F175D3DCCD1}">
                <a14:hiddenFill xmlns:a14="http://schemas.microsoft.com/office/drawing/2010/main">
                  <a:noFill/>
                </a14:hiddenFill>
              </a:ext>
            </a:extLst>
          </p:spPr>
        </p:cxnSp>
        <p:cxnSp>
          <p:nvCxnSpPr>
            <p:cNvPr id="12" name="稻壳儿小白白(http://dwz.cn/Wu2UP)"/>
            <p:cNvCxnSpPr>
              <a:cxnSpLocks noChangeShapeType="1"/>
            </p:cNvCxnSpPr>
            <p:nvPr/>
          </p:nvCxnSpPr>
          <p:spPr bwMode="auto">
            <a:xfrm>
              <a:off x="5739632" y="4425002"/>
              <a:ext cx="369778" cy="0"/>
            </a:xfrm>
            <a:prstGeom prst="straightConnector1">
              <a:avLst/>
            </a:prstGeom>
            <a:noFill/>
            <a:ln w="9525">
              <a:solidFill>
                <a:srgbClr val="C1C7D0"/>
              </a:solidFill>
              <a:round/>
              <a:tailEnd type="triangle" w="med" len="med"/>
            </a:ln>
            <a:extLst>
              <a:ext uri="{909E8E84-426E-40DD-AFC4-6F175D3DCCD1}">
                <a14:hiddenFill xmlns:a14="http://schemas.microsoft.com/office/drawing/2010/main">
                  <a:noFill/>
                </a14:hiddenFill>
              </a:ext>
            </a:extLst>
          </p:spPr>
        </p:cxnSp>
        <p:grpSp>
          <p:nvGrpSpPr>
            <p:cNvPr id="13" name="稻壳儿小白白(http://dwz.cn/Wu2UP)"/>
            <p:cNvGrpSpPr/>
            <p:nvPr/>
          </p:nvGrpSpPr>
          <p:grpSpPr bwMode="auto">
            <a:xfrm>
              <a:off x="5739632" y="2075258"/>
              <a:ext cx="369778" cy="3503231"/>
              <a:chOff x="0" y="0"/>
              <a:chExt cx="637913" cy="6047288"/>
            </a:xfrm>
          </p:grpSpPr>
          <p:cxnSp>
            <p:nvCxnSpPr>
              <p:cNvPr id="14" name="稻壳儿小白白(http://dwz.cn/Wu2UP)"/>
              <p:cNvCxnSpPr>
                <a:cxnSpLocks noChangeShapeType="1"/>
              </p:cNvCxnSpPr>
              <p:nvPr/>
            </p:nvCxnSpPr>
            <p:spPr bwMode="auto">
              <a:xfrm>
                <a:off x="0" y="0"/>
                <a:ext cx="637913" cy="0"/>
              </a:xfrm>
              <a:prstGeom prst="straightConnector1">
                <a:avLst/>
              </a:prstGeom>
              <a:noFill/>
              <a:ln w="9525">
                <a:solidFill>
                  <a:srgbClr val="C1C7D0"/>
                </a:solidFill>
                <a:round/>
                <a:tailEnd type="triangle" w="med" len="med"/>
              </a:ln>
              <a:extLst>
                <a:ext uri="{909E8E84-426E-40DD-AFC4-6F175D3DCCD1}">
                  <a14:hiddenFill xmlns:a14="http://schemas.microsoft.com/office/drawing/2010/main">
                    <a:noFill/>
                  </a14:hiddenFill>
                </a:ext>
              </a:extLst>
            </p:spPr>
          </p:cxnSp>
          <p:cxnSp>
            <p:nvCxnSpPr>
              <p:cNvPr id="15" name="稻壳儿小白白(http://dwz.cn/Wu2UP)"/>
              <p:cNvCxnSpPr>
                <a:cxnSpLocks noChangeShapeType="1"/>
              </p:cNvCxnSpPr>
              <p:nvPr/>
            </p:nvCxnSpPr>
            <p:spPr bwMode="auto">
              <a:xfrm flipV="1">
                <a:off x="0" y="6047288"/>
                <a:ext cx="637913" cy="0"/>
              </a:xfrm>
              <a:prstGeom prst="straightConnector1">
                <a:avLst/>
              </a:prstGeom>
              <a:noFill/>
              <a:ln w="9525">
                <a:solidFill>
                  <a:srgbClr val="C1C7D0"/>
                </a:solidFill>
                <a:round/>
                <a:tailEnd type="triangle" w="med" len="med"/>
              </a:ln>
              <a:extLst>
                <a:ext uri="{909E8E84-426E-40DD-AFC4-6F175D3DCCD1}">
                  <a14:hiddenFill xmlns:a14="http://schemas.microsoft.com/office/drawing/2010/main">
                    <a:noFill/>
                  </a14:hiddenFill>
                </a:ext>
              </a:extLst>
            </p:spPr>
          </p:cxnSp>
        </p:grpSp>
      </p:grpSp>
      <p:grpSp>
        <p:nvGrpSpPr>
          <p:cNvPr id="38" name="组合 37"/>
          <p:cNvGrpSpPr/>
          <p:nvPr/>
        </p:nvGrpSpPr>
        <p:grpSpPr>
          <a:xfrm>
            <a:off x="6214272" y="1570404"/>
            <a:ext cx="2774713" cy="789228"/>
            <a:chOff x="6214272" y="1619934"/>
            <a:chExt cx="2774713" cy="789228"/>
          </a:xfrm>
        </p:grpSpPr>
        <p:sp>
          <p:nvSpPr>
            <p:cNvPr id="20" name="稻壳儿小白白(http://dwz.cn/Wu2UP)"/>
            <p:cNvSpPr>
              <a:spLocks noChangeArrowheads="1"/>
            </p:cNvSpPr>
            <p:nvPr/>
          </p:nvSpPr>
          <p:spPr bwMode="auto">
            <a:xfrm>
              <a:off x="6214272" y="1619934"/>
              <a:ext cx="789227" cy="789228"/>
            </a:xfrm>
            <a:prstGeom prst="ellipse">
              <a:avLst/>
            </a:prstGeom>
            <a:gradFill>
              <a:gsLst>
                <a:gs pos="0">
                  <a:srgbClr val="FF4D75"/>
                </a:gs>
                <a:gs pos="100000">
                  <a:srgbClr val="9443E2">
                    <a:alpha val="58000"/>
                  </a:srgbClr>
                </a:gs>
              </a:gsLst>
              <a:lin ang="13500000" scaled="1"/>
            </a:gra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charset="-122"/>
                </a:defRPr>
              </a:lvl1pPr>
              <a:lvl2pPr marL="742950" indent="-285750">
                <a:defRPr>
                  <a:solidFill>
                    <a:schemeClr val="tx1"/>
                  </a:solidFill>
                  <a:latin typeface="Arial" panose="020B0604020202020204" pitchFamily="34" charset="0"/>
                  <a:ea typeface="微软雅黑" panose="020B0503020204020204" charset="-122"/>
                </a:defRPr>
              </a:lvl2pPr>
              <a:lvl3pPr marL="1143000" indent="-228600">
                <a:defRPr>
                  <a:solidFill>
                    <a:schemeClr val="tx1"/>
                  </a:solidFill>
                  <a:latin typeface="Arial" panose="020B0604020202020204" pitchFamily="34" charset="0"/>
                  <a:ea typeface="微软雅黑" panose="020B0503020204020204" charset="-122"/>
                </a:defRPr>
              </a:lvl3pPr>
              <a:lvl4pPr marL="1600200" indent="-228600">
                <a:defRPr>
                  <a:solidFill>
                    <a:schemeClr val="tx1"/>
                  </a:solidFill>
                  <a:latin typeface="Arial" panose="020B0604020202020204" pitchFamily="34" charset="0"/>
                  <a:ea typeface="微软雅黑" panose="020B0503020204020204" charset="-122"/>
                </a:defRPr>
              </a:lvl4pPr>
              <a:lvl5pPr marL="2057400" indent="-228600">
                <a:defRPr>
                  <a:solidFill>
                    <a:schemeClr val="tx1"/>
                  </a:solidFill>
                  <a:latin typeface="Arial" panose="020B0604020202020204" pitchFamily="34" charset="0"/>
                  <a:ea typeface="微软雅黑" panose="020B0503020204020204"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zh-CN" sz="1200" b="0" i="0" u="none" strike="noStrike" kern="1200" cap="none" spc="0" normalizeH="0" baseline="0" noProof="0">
                <a:ln>
                  <a:noFill/>
                </a:ln>
                <a:solidFill>
                  <a:srgbClr val="445469"/>
                </a:solidFill>
                <a:effectLst/>
                <a:uLnTx/>
                <a:uFillTx/>
                <a:latin typeface="Arial" panose="020B0604020202020204" pitchFamily="34" charset="0"/>
                <a:ea typeface="微软雅黑" panose="020B0503020204020204" charset="-122"/>
                <a:cs typeface="+mn-cs"/>
                <a:sym typeface="Arial" panose="020B0604020202020204" pitchFamily="34" charset="0"/>
              </a:endParaRPr>
            </a:p>
          </p:txBody>
        </p:sp>
        <p:sp>
          <p:nvSpPr>
            <p:cNvPr id="21" name="稻壳儿小白白(http://dwz.cn/Wu2UP)"/>
            <p:cNvSpPr/>
            <p:nvPr/>
          </p:nvSpPr>
          <p:spPr bwMode="auto">
            <a:xfrm>
              <a:off x="6412959" y="1835178"/>
              <a:ext cx="393233" cy="358740"/>
            </a:xfrm>
            <a:custGeom>
              <a:avLst/>
              <a:gdLst>
                <a:gd name="T0" fmla="*/ 65 w 84"/>
                <a:gd name="T1" fmla="*/ 32 h 76"/>
                <a:gd name="T2" fmla="*/ 76 w 84"/>
                <a:gd name="T3" fmla="*/ 30 h 76"/>
                <a:gd name="T4" fmla="*/ 82 w 84"/>
                <a:gd name="T5" fmla="*/ 10 h 76"/>
                <a:gd name="T6" fmla="*/ 74 w 84"/>
                <a:gd name="T7" fmla="*/ 1 h 76"/>
                <a:gd name="T8" fmla="*/ 54 w 84"/>
                <a:gd name="T9" fmla="*/ 5 h 76"/>
                <a:gd name="T10" fmla="*/ 50 w 84"/>
                <a:gd name="T11" fmla="*/ 15 h 76"/>
                <a:gd name="T12" fmla="*/ 55 w 84"/>
                <a:gd name="T13" fmla="*/ 21 h 76"/>
                <a:gd name="T14" fmla="*/ 11 w 84"/>
                <a:gd name="T15" fmla="*/ 60 h 76"/>
                <a:gd name="T16" fmla="*/ 9 w 84"/>
                <a:gd name="T17" fmla="*/ 33 h 76"/>
                <a:gd name="T18" fmla="*/ 13 w 84"/>
                <a:gd name="T19" fmla="*/ 29 h 76"/>
                <a:gd name="T20" fmla="*/ 28 w 84"/>
                <a:gd name="T21" fmla="*/ 28 h 76"/>
                <a:gd name="T22" fmla="*/ 30 w 84"/>
                <a:gd name="T23" fmla="*/ 9 h 76"/>
                <a:gd name="T24" fmla="*/ 11 w 84"/>
                <a:gd name="T25" fmla="*/ 8 h 76"/>
                <a:gd name="T26" fmla="*/ 7 w 84"/>
                <a:gd name="T27" fmla="*/ 23 h 76"/>
                <a:gd name="T28" fmla="*/ 4 w 84"/>
                <a:gd name="T29" fmla="*/ 27 h 76"/>
                <a:gd name="T30" fmla="*/ 0 w 84"/>
                <a:gd name="T31" fmla="*/ 35 h 76"/>
                <a:gd name="T32" fmla="*/ 3 w 84"/>
                <a:gd name="T33" fmla="*/ 66 h 76"/>
                <a:gd name="T34" fmla="*/ 42 w 84"/>
                <a:gd name="T35" fmla="*/ 75 h 76"/>
                <a:gd name="T36" fmla="*/ 51 w 84"/>
                <a:gd name="T37" fmla="*/ 73 h 76"/>
                <a:gd name="T38" fmla="*/ 57 w 84"/>
                <a:gd name="T39" fmla="*/ 68 h 76"/>
                <a:gd name="T40" fmla="*/ 58 w 84"/>
                <a:gd name="T41" fmla="*/ 70 h 76"/>
                <a:gd name="T42" fmla="*/ 69 w 84"/>
                <a:gd name="T43" fmla="*/ 71 h 76"/>
                <a:gd name="T44" fmla="*/ 77 w 84"/>
                <a:gd name="T45" fmla="*/ 63 h 76"/>
                <a:gd name="T46" fmla="*/ 78 w 84"/>
                <a:gd name="T47" fmla="*/ 53 h 76"/>
                <a:gd name="T48" fmla="*/ 69 w 84"/>
                <a:gd name="T49" fmla="*/ 43 h 76"/>
                <a:gd name="T50" fmla="*/ 58 w 84"/>
                <a:gd name="T51" fmla="*/ 42 h 76"/>
                <a:gd name="T52" fmla="*/ 50 w 84"/>
                <a:gd name="T53" fmla="*/ 50 h 76"/>
                <a:gd name="T54" fmla="*/ 49 w 84"/>
                <a:gd name="T55" fmla="*/ 60 h 76"/>
                <a:gd name="T56" fmla="*/ 51 w 84"/>
                <a:gd name="T57" fmla="*/ 62 h 76"/>
                <a:gd name="T58" fmla="*/ 45 w 84"/>
                <a:gd name="T59" fmla="*/ 67 h 76"/>
                <a:gd name="T60" fmla="*/ 22 w 84"/>
                <a:gd name="T61" fmla="*/ 62 h 76"/>
                <a:gd name="T62" fmla="*/ 61 w 84"/>
                <a:gd name="T63" fmla="*/ 27 h 76"/>
                <a:gd name="T64" fmla="*/ 65 w 84"/>
                <a:gd name="T65" fmla="*/ 32 h 7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4"/>
                <a:gd name="T100" fmla="*/ 0 h 76"/>
                <a:gd name="T101" fmla="*/ 84 w 84"/>
                <a:gd name="T102" fmla="*/ 76 h 7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4" h="76">
                  <a:moveTo>
                    <a:pt x="65" y="32"/>
                  </a:moveTo>
                  <a:cubicBezTo>
                    <a:pt x="69" y="36"/>
                    <a:pt x="75" y="34"/>
                    <a:pt x="76" y="30"/>
                  </a:cubicBezTo>
                  <a:cubicBezTo>
                    <a:pt x="82" y="10"/>
                    <a:pt x="82" y="10"/>
                    <a:pt x="82" y="10"/>
                  </a:cubicBezTo>
                  <a:cubicBezTo>
                    <a:pt x="84" y="5"/>
                    <a:pt x="79" y="0"/>
                    <a:pt x="74" y="1"/>
                  </a:cubicBezTo>
                  <a:cubicBezTo>
                    <a:pt x="54" y="5"/>
                    <a:pt x="54" y="5"/>
                    <a:pt x="54" y="5"/>
                  </a:cubicBezTo>
                  <a:cubicBezTo>
                    <a:pt x="49" y="6"/>
                    <a:pt x="47" y="11"/>
                    <a:pt x="50" y="15"/>
                  </a:cubicBezTo>
                  <a:cubicBezTo>
                    <a:pt x="55" y="21"/>
                    <a:pt x="55" y="21"/>
                    <a:pt x="55" y="21"/>
                  </a:cubicBezTo>
                  <a:cubicBezTo>
                    <a:pt x="11" y="60"/>
                    <a:pt x="11" y="60"/>
                    <a:pt x="11" y="60"/>
                  </a:cubicBezTo>
                  <a:cubicBezTo>
                    <a:pt x="9" y="33"/>
                    <a:pt x="9" y="33"/>
                    <a:pt x="9" y="33"/>
                  </a:cubicBezTo>
                  <a:cubicBezTo>
                    <a:pt x="13" y="29"/>
                    <a:pt x="13" y="29"/>
                    <a:pt x="13" y="29"/>
                  </a:cubicBezTo>
                  <a:cubicBezTo>
                    <a:pt x="18" y="32"/>
                    <a:pt x="24" y="32"/>
                    <a:pt x="28" y="28"/>
                  </a:cubicBezTo>
                  <a:cubicBezTo>
                    <a:pt x="34" y="23"/>
                    <a:pt x="34" y="15"/>
                    <a:pt x="30" y="9"/>
                  </a:cubicBezTo>
                  <a:cubicBezTo>
                    <a:pt x="25" y="3"/>
                    <a:pt x="16" y="3"/>
                    <a:pt x="11" y="8"/>
                  </a:cubicBezTo>
                  <a:cubicBezTo>
                    <a:pt x="6" y="12"/>
                    <a:pt x="5" y="18"/>
                    <a:pt x="7" y="23"/>
                  </a:cubicBezTo>
                  <a:cubicBezTo>
                    <a:pt x="4" y="27"/>
                    <a:pt x="4" y="27"/>
                    <a:pt x="4" y="27"/>
                  </a:cubicBezTo>
                  <a:cubicBezTo>
                    <a:pt x="1" y="29"/>
                    <a:pt x="0" y="32"/>
                    <a:pt x="0" y="35"/>
                  </a:cubicBezTo>
                  <a:cubicBezTo>
                    <a:pt x="3" y="66"/>
                    <a:pt x="3" y="66"/>
                    <a:pt x="3" y="66"/>
                  </a:cubicBezTo>
                  <a:cubicBezTo>
                    <a:pt x="42" y="75"/>
                    <a:pt x="42" y="75"/>
                    <a:pt x="42" y="75"/>
                  </a:cubicBezTo>
                  <a:cubicBezTo>
                    <a:pt x="46" y="76"/>
                    <a:pt x="49" y="75"/>
                    <a:pt x="51" y="73"/>
                  </a:cubicBezTo>
                  <a:cubicBezTo>
                    <a:pt x="57" y="68"/>
                    <a:pt x="57" y="68"/>
                    <a:pt x="57" y="68"/>
                  </a:cubicBezTo>
                  <a:cubicBezTo>
                    <a:pt x="58" y="70"/>
                    <a:pt x="58" y="70"/>
                    <a:pt x="58" y="70"/>
                  </a:cubicBezTo>
                  <a:cubicBezTo>
                    <a:pt x="61" y="73"/>
                    <a:pt x="66" y="73"/>
                    <a:pt x="69" y="71"/>
                  </a:cubicBezTo>
                  <a:cubicBezTo>
                    <a:pt x="77" y="63"/>
                    <a:pt x="77" y="63"/>
                    <a:pt x="77" y="63"/>
                  </a:cubicBezTo>
                  <a:cubicBezTo>
                    <a:pt x="80" y="60"/>
                    <a:pt x="80" y="56"/>
                    <a:pt x="78" y="53"/>
                  </a:cubicBezTo>
                  <a:cubicBezTo>
                    <a:pt x="69" y="43"/>
                    <a:pt x="69" y="43"/>
                    <a:pt x="69" y="43"/>
                  </a:cubicBezTo>
                  <a:cubicBezTo>
                    <a:pt x="66" y="40"/>
                    <a:pt x="61" y="39"/>
                    <a:pt x="58" y="42"/>
                  </a:cubicBezTo>
                  <a:cubicBezTo>
                    <a:pt x="50" y="50"/>
                    <a:pt x="50" y="50"/>
                    <a:pt x="50" y="50"/>
                  </a:cubicBezTo>
                  <a:cubicBezTo>
                    <a:pt x="47" y="52"/>
                    <a:pt x="47" y="57"/>
                    <a:pt x="49" y="60"/>
                  </a:cubicBezTo>
                  <a:cubicBezTo>
                    <a:pt x="51" y="62"/>
                    <a:pt x="51" y="62"/>
                    <a:pt x="51" y="62"/>
                  </a:cubicBezTo>
                  <a:cubicBezTo>
                    <a:pt x="45" y="67"/>
                    <a:pt x="45" y="67"/>
                    <a:pt x="45" y="67"/>
                  </a:cubicBezTo>
                  <a:cubicBezTo>
                    <a:pt x="22" y="62"/>
                    <a:pt x="22" y="62"/>
                    <a:pt x="22" y="62"/>
                  </a:cubicBezTo>
                  <a:cubicBezTo>
                    <a:pt x="61" y="27"/>
                    <a:pt x="61" y="27"/>
                    <a:pt x="61" y="27"/>
                  </a:cubicBezTo>
                  <a:lnTo>
                    <a:pt x="65" y="3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charset="-122"/>
                </a:defRPr>
              </a:lvl1pPr>
              <a:lvl2pPr marL="742950" indent="-285750">
                <a:defRPr>
                  <a:solidFill>
                    <a:schemeClr val="tx1"/>
                  </a:solidFill>
                  <a:latin typeface="Arial" panose="020B0604020202020204" pitchFamily="34" charset="0"/>
                  <a:ea typeface="微软雅黑" panose="020B0503020204020204" charset="-122"/>
                </a:defRPr>
              </a:lvl2pPr>
              <a:lvl3pPr marL="1143000" indent="-228600">
                <a:defRPr>
                  <a:solidFill>
                    <a:schemeClr val="tx1"/>
                  </a:solidFill>
                  <a:latin typeface="Arial" panose="020B0604020202020204" pitchFamily="34" charset="0"/>
                  <a:ea typeface="微软雅黑" panose="020B0503020204020204" charset="-122"/>
                </a:defRPr>
              </a:lvl3pPr>
              <a:lvl4pPr marL="1600200" indent="-228600">
                <a:defRPr>
                  <a:solidFill>
                    <a:schemeClr val="tx1"/>
                  </a:solidFill>
                  <a:latin typeface="Arial" panose="020B0604020202020204" pitchFamily="34" charset="0"/>
                  <a:ea typeface="微软雅黑" panose="020B0503020204020204" charset="-122"/>
                </a:defRPr>
              </a:lvl4pPr>
              <a:lvl5pPr marL="2057400" indent="-228600">
                <a:defRPr>
                  <a:solidFill>
                    <a:schemeClr val="tx1"/>
                  </a:solidFill>
                  <a:latin typeface="Arial" panose="020B0604020202020204" pitchFamily="34" charset="0"/>
                  <a:ea typeface="微软雅黑" panose="020B0503020204020204"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445469"/>
                </a:solidFill>
                <a:effectLst/>
                <a:uLnTx/>
                <a:uFillTx/>
                <a:latin typeface="Arial" panose="020B0604020202020204" pitchFamily="34" charset="0"/>
                <a:ea typeface="微软雅黑" panose="020B0503020204020204" charset="-122"/>
                <a:cs typeface="+mn-cs"/>
              </a:endParaRPr>
            </a:p>
          </p:txBody>
        </p:sp>
        <p:sp>
          <p:nvSpPr>
            <p:cNvPr id="23" name="稻壳儿小白白(http://dwz.cn/Wu2UP)"/>
            <p:cNvSpPr txBox="1">
              <a:spLocks noChangeArrowheads="1"/>
            </p:cNvSpPr>
            <p:nvPr/>
          </p:nvSpPr>
          <p:spPr bwMode="auto">
            <a:xfrm>
              <a:off x="7119400" y="1739973"/>
              <a:ext cx="1869585" cy="337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1216025">
                <a:defRPr>
                  <a:solidFill>
                    <a:schemeClr val="tx1"/>
                  </a:solidFill>
                  <a:latin typeface="Arial" panose="020B0604020202020204" pitchFamily="34" charset="0"/>
                  <a:ea typeface="微软雅黑" panose="020B0503020204020204" charset="-122"/>
                </a:defRPr>
              </a:lvl1pPr>
              <a:lvl2pPr marL="742950" indent="-285750" defTabSz="1216025">
                <a:defRPr>
                  <a:solidFill>
                    <a:schemeClr val="tx1"/>
                  </a:solidFill>
                  <a:latin typeface="Arial" panose="020B0604020202020204" pitchFamily="34" charset="0"/>
                  <a:ea typeface="微软雅黑" panose="020B0503020204020204" charset="-122"/>
                </a:defRPr>
              </a:lvl2pPr>
              <a:lvl3pPr marL="1143000" indent="-228600" defTabSz="1216025">
                <a:defRPr>
                  <a:solidFill>
                    <a:schemeClr val="tx1"/>
                  </a:solidFill>
                  <a:latin typeface="Arial" panose="020B0604020202020204" pitchFamily="34" charset="0"/>
                  <a:ea typeface="微软雅黑" panose="020B0503020204020204" charset="-122"/>
                </a:defRPr>
              </a:lvl3pPr>
              <a:lvl4pPr marL="1600200" indent="-228600" defTabSz="1216025">
                <a:defRPr>
                  <a:solidFill>
                    <a:schemeClr val="tx1"/>
                  </a:solidFill>
                  <a:latin typeface="Arial" panose="020B0604020202020204" pitchFamily="34" charset="0"/>
                  <a:ea typeface="微软雅黑" panose="020B0503020204020204" charset="-122"/>
                </a:defRPr>
              </a:lvl4pPr>
              <a:lvl5pPr marL="2057400" indent="-228600" defTabSz="1216025">
                <a:defRPr>
                  <a:solidFill>
                    <a:schemeClr val="tx1"/>
                  </a:solidFill>
                  <a:latin typeface="Arial" panose="020B0604020202020204" pitchFamily="34" charset="0"/>
                  <a:ea typeface="微软雅黑" panose="020B0503020204020204" charset="-122"/>
                </a:defRPr>
              </a:lvl5pPr>
              <a:lvl6pPr marL="2514600" indent="-228600" defTabSz="1216025"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6pPr>
              <a:lvl7pPr marL="2971800" indent="-228600" defTabSz="1216025"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7pPr>
              <a:lvl8pPr marL="3429000" indent="-228600" defTabSz="1216025"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8pPr>
              <a:lvl9pPr marL="3886200" indent="-228600" defTabSz="1216025"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9pPr>
            </a:lstStyle>
            <a:p>
              <a:pPr lvl="0" defTabSz="1218565" latinLnBrk="1"/>
              <a:r>
                <a:rPr lang="zh-CN" sz="1600" b="1" kern="300" spc="300" dirty="0">
                  <a:solidFill>
                    <a:prstClr val="black">
                      <a:lumMod val="75000"/>
                      <a:lumOff val="25000"/>
                    </a:prstClr>
                  </a:solidFill>
                  <a:latin typeface="微软雅黑 Light" panose="020B0502040204020203" pitchFamily="34" charset="-122"/>
                  <a:ea typeface="微软雅黑 Light" panose="020B0502040204020203" pitchFamily="34" charset="-122"/>
                  <a:cs typeface="Arial" panose="020B0604020202020204" pitchFamily="34" charset="0"/>
                </a:rPr>
                <a:t>理解</a:t>
              </a:r>
              <a:r>
                <a:rPr lang="en-US" altLang="zh-CN" sz="1600" b="1" kern="300" spc="300" dirty="0">
                  <a:solidFill>
                    <a:prstClr val="black">
                      <a:lumMod val="75000"/>
                      <a:lumOff val="25000"/>
                    </a:prstClr>
                  </a:solidFill>
                  <a:latin typeface="微软雅黑 Light" panose="020B0502040204020203" pitchFamily="34" charset="-122"/>
                  <a:ea typeface="微软雅黑 Light" panose="020B0502040204020203" pitchFamily="34" charset="-122"/>
                  <a:cs typeface="Arial" panose="020B0604020202020204" pitchFamily="34" charset="0"/>
                </a:rPr>
                <a:t>HTML</a:t>
              </a:r>
              <a:r>
                <a:rPr lang="zh-CN" altLang="en-US" sz="1600" b="1" kern="300" spc="300" dirty="0">
                  <a:solidFill>
                    <a:prstClr val="black">
                      <a:lumMod val="75000"/>
                      <a:lumOff val="25000"/>
                    </a:prstClr>
                  </a:solidFill>
                  <a:latin typeface="微软雅黑 Light" panose="020B0502040204020203" pitchFamily="34" charset="-122"/>
                  <a:ea typeface="微软雅黑 Light" panose="020B0502040204020203" pitchFamily="34" charset="-122"/>
                  <a:cs typeface="Arial" panose="020B0604020202020204" pitchFamily="34" charset="0"/>
                </a:rPr>
                <a:t>基础</a:t>
              </a:r>
              <a:endParaRPr lang="zh-CN" altLang="en-US" sz="1600" b="1" kern="300" spc="300" dirty="0">
                <a:solidFill>
                  <a:prstClr val="black">
                    <a:lumMod val="75000"/>
                    <a:lumOff val="25000"/>
                  </a:prstClr>
                </a:solidFill>
                <a:latin typeface="微软雅黑 Light" panose="020B0502040204020203" pitchFamily="34" charset="-122"/>
                <a:ea typeface="微软雅黑 Light" panose="020B0502040204020203" pitchFamily="34" charset="-122"/>
                <a:cs typeface="Arial" panose="020B0604020202020204" pitchFamily="34" charset="0"/>
              </a:endParaRPr>
            </a:p>
          </p:txBody>
        </p:sp>
      </p:grpSp>
      <p:grpSp>
        <p:nvGrpSpPr>
          <p:cNvPr id="39" name="组合 38"/>
          <p:cNvGrpSpPr/>
          <p:nvPr/>
        </p:nvGrpSpPr>
        <p:grpSpPr>
          <a:xfrm>
            <a:off x="6214272" y="2759623"/>
            <a:ext cx="4326255" cy="790607"/>
            <a:chOff x="6214272" y="2759623"/>
            <a:chExt cx="4326255" cy="790607"/>
          </a:xfrm>
        </p:grpSpPr>
        <p:sp>
          <p:nvSpPr>
            <p:cNvPr id="4" name="稻壳儿小白白(http://dwz.cn/Wu2UP)"/>
            <p:cNvSpPr>
              <a:spLocks noChangeArrowheads="1"/>
            </p:cNvSpPr>
            <p:nvPr/>
          </p:nvSpPr>
          <p:spPr bwMode="auto">
            <a:xfrm>
              <a:off x="6214272" y="2759623"/>
              <a:ext cx="789227" cy="790607"/>
            </a:xfrm>
            <a:prstGeom prst="ellipse">
              <a:avLst/>
            </a:prstGeom>
            <a:gradFill flip="none" rotWithShape="1">
              <a:gsLst>
                <a:gs pos="0">
                  <a:srgbClr val="FF4D75"/>
                </a:gs>
                <a:gs pos="100000">
                  <a:srgbClr val="9443E2">
                    <a:alpha val="58000"/>
                  </a:srgbClr>
                </a:gs>
              </a:gsLst>
              <a:lin ang="5400000" scaled="1"/>
              <a:tileRect/>
            </a:gra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charset="-122"/>
                </a:defRPr>
              </a:lvl1pPr>
              <a:lvl2pPr marL="742950" indent="-285750">
                <a:defRPr>
                  <a:solidFill>
                    <a:schemeClr val="tx1"/>
                  </a:solidFill>
                  <a:latin typeface="Arial" panose="020B0604020202020204" pitchFamily="34" charset="0"/>
                  <a:ea typeface="微软雅黑" panose="020B0503020204020204" charset="-122"/>
                </a:defRPr>
              </a:lvl2pPr>
              <a:lvl3pPr marL="1143000" indent="-228600">
                <a:defRPr>
                  <a:solidFill>
                    <a:schemeClr val="tx1"/>
                  </a:solidFill>
                  <a:latin typeface="Arial" panose="020B0604020202020204" pitchFamily="34" charset="0"/>
                  <a:ea typeface="微软雅黑" panose="020B0503020204020204" charset="-122"/>
                </a:defRPr>
              </a:lvl3pPr>
              <a:lvl4pPr marL="1600200" indent="-228600">
                <a:defRPr>
                  <a:solidFill>
                    <a:schemeClr val="tx1"/>
                  </a:solidFill>
                  <a:latin typeface="Arial" panose="020B0604020202020204" pitchFamily="34" charset="0"/>
                  <a:ea typeface="微软雅黑" panose="020B0503020204020204" charset="-122"/>
                </a:defRPr>
              </a:lvl4pPr>
              <a:lvl5pPr marL="2057400" indent="-228600">
                <a:defRPr>
                  <a:solidFill>
                    <a:schemeClr val="tx1"/>
                  </a:solidFill>
                  <a:latin typeface="Arial" panose="020B0604020202020204" pitchFamily="34" charset="0"/>
                  <a:ea typeface="微软雅黑" panose="020B0503020204020204"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zh-CN" sz="1200" b="0" i="0" u="none" strike="noStrike" kern="1200" cap="none" spc="0" normalizeH="0" baseline="0" noProof="0">
                <a:ln>
                  <a:noFill/>
                </a:ln>
                <a:solidFill>
                  <a:srgbClr val="445469"/>
                </a:solidFill>
                <a:effectLst/>
                <a:uLnTx/>
                <a:uFillTx/>
                <a:latin typeface="Arial" panose="020B0604020202020204" pitchFamily="34" charset="0"/>
                <a:ea typeface="微软雅黑" panose="020B0503020204020204" charset="-122"/>
                <a:cs typeface="+mn-cs"/>
                <a:sym typeface="Arial" panose="020B0604020202020204" pitchFamily="34" charset="0"/>
              </a:endParaRPr>
            </a:p>
          </p:txBody>
        </p:sp>
        <p:sp>
          <p:nvSpPr>
            <p:cNvPr id="5" name="稻壳儿小白白(http://dwz.cn/Wu2UP)"/>
            <p:cNvSpPr>
              <a:spLocks noEditPoints="1"/>
            </p:cNvSpPr>
            <p:nvPr/>
          </p:nvSpPr>
          <p:spPr bwMode="auto">
            <a:xfrm>
              <a:off x="6377085" y="2938993"/>
              <a:ext cx="459462" cy="458083"/>
            </a:xfrm>
            <a:custGeom>
              <a:avLst/>
              <a:gdLst>
                <a:gd name="T0" fmla="*/ 151 w 393"/>
                <a:gd name="T1" fmla="*/ 295 h 391"/>
                <a:gd name="T2" fmla="*/ 159 w 393"/>
                <a:gd name="T3" fmla="*/ 266 h 391"/>
                <a:gd name="T4" fmla="*/ 122 w 393"/>
                <a:gd name="T5" fmla="*/ 251 h 391"/>
                <a:gd name="T6" fmla="*/ 108 w 393"/>
                <a:gd name="T7" fmla="*/ 225 h 391"/>
                <a:gd name="T8" fmla="*/ 71 w 393"/>
                <a:gd name="T9" fmla="*/ 241 h 391"/>
                <a:gd name="T10" fmla="*/ 42 w 393"/>
                <a:gd name="T11" fmla="*/ 232 h 391"/>
                <a:gd name="T12" fmla="*/ 27 w 393"/>
                <a:gd name="T13" fmla="*/ 269 h 391"/>
                <a:gd name="T14" fmla="*/ 1 w 393"/>
                <a:gd name="T15" fmla="*/ 283 h 391"/>
                <a:gd name="T16" fmla="*/ 16 w 393"/>
                <a:gd name="T17" fmla="*/ 300 h 391"/>
                <a:gd name="T18" fmla="*/ 3 w 393"/>
                <a:gd name="T19" fmla="*/ 338 h 391"/>
                <a:gd name="T20" fmla="*/ 31 w 393"/>
                <a:gd name="T21" fmla="*/ 350 h 391"/>
                <a:gd name="T22" fmla="*/ 42 w 393"/>
                <a:gd name="T23" fmla="*/ 381 h 391"/>
                <a:gd name="T24" fmla="*/ 68 w 393"/>
                <a:gd name="T25" fmla="*/ 390 h 391"/>
                <a:gd name="T26" fmla="*/ 96 w 393"/>
                <a:gd name="T27" fmla="*/ 375 h 391"/>
                <a:gd name="T28" fmla="*/ 125 w 393"/>
                <a:gd name="T29" fmla="*/ 383 h 391"/>
                <a:gd name="T30" fmla="*/ 140 w 393"/>
                <a:gd name="T31" fmla="*/ 346 h 391"/>
                <a:gd name="T32" fmla="*/ 162 w 393"/>
                <a:gd name="T33" fmla="*/ 343 h 391"/>
                <a:gd name="T34" fmla="*/ 101 w 393"/>
                <a:gd name="T35" fmla="*/ 346 h 391"/>
                <a:gd name="T36" fmla="*/ 66 w 393"/>
                <a:gd name="T37" fmla="*/ 269 h 391"/>
                <a:gd name="T38" fmla="*/ 101 w 393"/>
                <a:gd name="T39" fmla="*/ 346 h 391"/>
                <a:gd name="T40" fmla="*/ 261 w 393"/>
                <a:gd name="T41" fmla="*/ 336 h 391"/>
                <a:gd name="T42" fmla="*/ 266 w 393"/>
                <a:gd name="T43" fmla="*/ 320 h 391"/>
                <a:gd name="T44" fmla="*/ 245 w 393"/>
                <a:gd name="T45" fmla="*/ 312 h 391"/>
                <a:gd name="T46" fmla="*/ 237 w 393"/>
                <a:gd name="T47" fmla="*/ 297 h 391"/>
                <a:gd name="T48" fmla="*/ 217 w 393"/>
                <a:gd name="T49" fmla="*/ 306 h 391"/>
                <a:gd name="T50" fmla="*/ 200 w 393"/>
                <a:gd name="T51" fmla="*/ 301 h 391"/>
                <a:gd name="T52" fmla="*/ 192 w 393"/>
                <a:gd name="T53" fmla="*/ 321 h 391"/>
                <a:gd name="T54" fmla="*/ 177 w 393"/>
                <a:gd name="T55" fmla="*/ 329 h 391"/>
                <a:gd name="T56" fmla="*/ 186 w 393"/>
                <a:gd name="T57" fmla="*/ 339 h 391"/>
                <a:gd name="T58" fmla="*/ 179 w 393"/>
                <a:gd name="T59" fmla="*/ 360 h 391"/>
                <a:gd name="T60" fmla="*/ 194 w 393"/>
                <a:gd name="T61" fmla="*/ 367 h 391"/>
                <a:gd name="T62" fmla="*/ 200 w 393"/>
                <a:gd name="T63" fmla="*/ 384 h 391"/>
                <a:gd name="T64" fmla="*/ 215 w 393"/>
                <a:gd name="T65" fmla="*/ 389 h 391"/>
                <a:gd name="T66" fmla="*/ 230 w 393"/>
                <a:gd name="T67" fmla="*/ 380 h 391"/>
                <a:gd name="T68" fmla="*/ 247 w 393"/>
                <a:gd name="T69" fmla="*/ 385 h 391"/>
                <a:gd name="T70" fmla="*/ 255 w 393"/>
                <a:gd name="T71" fmla="*/ 364 h 391"/>
                <a:gd name="T72" fmla="*/ 267 w 393"/>
                <a:gd name="T73" fmla="*/ 363 h 391"/>
                <a:gd name="T74" fmla="*/ 233 w 393"/>
                <a:gd name="T75" fmla="*/ 364 h 391"/>
                <a:gd name="T76" fmla="*/ 214 w 393"/>
                <a:gd name="T77" fmla="*/ 321 h 391"/>
                <a:gd name="T78" fmla="*/ 233 w 393"/>
                <a:gd name="T79" fmla="*/ 364 h 391"/>
                <a:gd name="T80" fmla="*/ 362 w 393"/>
                <a:gd name="T81" fmla="*/ 122 h 391"/>
                <a:gd name="T82" fmla="*/ 377 w 393"/>
                <a:gd name="T83" fmla="*/ 73 h 391"/>
                <a:gd name="T84" fmla="*/ 314 w 393"/>
                <a:gd name="T85" fmla="*/ 48 h 391"/>
                <a:gd name="T86" fmla="*/ 290 w 393"/>
                <a:gd name="T87" fmla="*/ 3 h 391"/>
                <a:gd name="T88" fmla="*/ 229 w 393"/>
                <a:gd name="T89" fmla="*/ 30 h 391"/>
                <a:gd name="T90" fmla="*/ 180 w 393"/>
                <a:gd name="T91" fmla="*/ 15 h 391"/>
                <a:gd name="T92" fmla="*/ 155 w 393"/>
                <a:gd name="T93" fmla="*/ 78 h 391"/>
                <a:gd name="T94" fmla="*/ 110 w 393"/>
                <a:gd name="T95" fmla="*/ 102 h 391"/>
                <a:gd name="T96" fmla="*/ 136 w 393"/>
                <a:gd name="T97" fmla="*/ 130 h 391"/>
                <a:gd name="T98" fmla="*/ 114 w 393"/>
                <a:gd name="T99" fmla="*/ 194 h 391"/>
                <a:gd name="T100" fmla="*/ 161 w 393"/>
                <a:gd name="T101" fmla="*/ 214 h 391"/>
                <a:gd name="T102" fmla="*/ 180 w 393"/>
                <a:gd name="T103" fmla="*/ 266 h 391"/>
                <a:gd name="T104" fmla="*/ 223 w 393"/>
                <a:gd name="T105" fmla="*/ 281 h 391"/>
                <a:gd name="T106" fmla="*/ 271 w 393"/>
                <a:gd name="T107" fmla="*/ 255 h 391"/>
                <a:gd name="T108" fmla="*/ 319 w 393"/>
                <a:gd name="T109" fmla="*/ 270 h 391"/>
                <a:gd name="T110" fmla="*/ 344 w 393"/>
                <a:gd name="T111" fmla="*/ 207 h 391"/>
                <a:gd name="T112" fmla="*/ 382 w 393"/>
                <a:gd name="T113" fmla="*/ 202 h 391"/>
                <a:gd name="T114" fmla="*/ 279 w 393"/>
                <a:gd name="T115" fmla="*/ 207 h 391"/>
                <a:gd name="T116" fmla="*/ 220 w 393"/>
                <a:gd name="T117" fmla="*/ 78 h 391"/>
                <a:gd name="T118" fmla="*/ 279 w 393"/>
                <a:gd name="T119" fmla="*/ 207 h 39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3"/>
                <a:gd name="T181" fmla="*/ 0 h 391"/>
                <a:gd name="T182" fmla="*/ 393 w 393"/>
                <a:gd name="T183" fmla="*/ 391 h 39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3" h="391">
                  <a:moveTo>
                    <a:pt x="160" y="318"/>
                  </a:moveTo>
                  <a:cubicBezTo>
                    <a:pt x="151" y="315"/>
                    <a:pt x="151" y="315"/>
                    <a:pt x="151" y="315"/>
                  </a:cubicBezTo>
                  <a:cubicBezTo>
                    <a:pt x="152" y="308"/>
                    <a:pt x="152" y="302"/>
                    <a:pt x="151" y="295"/>
                  </a:cubicBezTo>
                  <a:cubicBezTo>
                    <a:pt x="159" y="291"/>
                    <a:pt x="159" y="291"/>
                    <a:pt x="159" y="291"/>
                  </a:cubicBezTo>
                  <a:cubicBezTo>
                    <a:pt x="165" y="289"/>
                    <a:pt x="167" y="282"/>
                    <a:pt x="164" y="277"/>
                  </a:cubicBezTo>
                  <a:cubicBezTo>
                    <a:pt x="159" y="266"/>
                    <a:pt x="159" y="266"/>
                    <a:pt x="159" y="266"/>
                  </a:cubicBezTo>
                  <a:cubicBezTo>
                    <a:pt x="157" y="261"/>
                    <a:pt x="151" y="258"/>
                    <a:pt x="145" y="261"/>
                  </a:cubicBezTo>
                  <a:cubicBezTo>
                    <a:pt x="137" y="265"/>
                    <a:pt x="137" y="265"/>
                    <a:pt x="137" y="265"/>
                  </a:cubicBezTo>
                  <a:cubicBezTo>
                    <a:pt x="132" y="260"/>
                    <a:pt x="128" y="255"/>
                    <a:pt x="122" y="251"/>
                  </a:cubicBezTo>
                  <a:cubicBezTo>
                    <a:pt x="125" y="242"/>
                    <a:pt x="125" y="242"/>
                    <a:pt x="125" y="242"/>
                  </a:cubicBezTo>
                  <a:cubicBezTo>
                    <a:pt x="127" y="237"/>
                    <a:pt x="125" y="231"/>
                    <a:pt x="119" y="229"/>
                  </a:cubicBezTo>
                  <a:cubicBezTo>
                    <a:pt x="108" y="225"/>
                    <a:pt x="108" y="225"/>
                    <a:pt x="108" y="225"/>
                  </a:cubicBezTo>
                  <a:cubicBezTo>
                    <a:pt x="103" y="223"/>
                    <a:pt x="96" y="226"/>
                    <a:pt x="94" y="231"/>
                  </a:cubicBezTo>
                  <a:cubicBezTo>
                    <a:pt x="91" y="240"/>
                    <a:pt x="91" y="240"/>
                    <a:pt x="91" y="240"/>
                  </a:cubicBezTo>
                  <a:cubicBezTo>
                    <a:pt x="84" y="239"/>
                    <a:pt x="78" y="239"/>
                    <a:pt x="71" y="241"/>
                  </a:cubicBezTo>
                  <a:cubicBezTo>
                    <a:pt x="67" y="232"/>
                    <a:pt x="67" y="232"/>
                    <a:pt x="67" y="232"/>
                  </a:cubicBezTo>
                  <a:cubicBezTo>
                    <a:pt x="65" y="227"/>
                    <a:pt x="58" y="224"/>
                    <a:pt x="53" y="227"/>
                  </a:cubicBezTo>
                  <a:cubicBezTo>
                    <a:pt x="42" y="232"/>
                    <a:pt x="42" y="232"/>
                    <a:pt x="42" y="232"/>
                  </a:cubicBezTo>
                  <a:cubicBezTo>
                    <a:pt x="37" y="234"/>
                    <a:pt x="34" y="241"/>
                    <a:pt x="37" y="246"/>
                  </a:cubicBezTo>
                  <a:cubicBezTo>
                    <a:pt x="41" y="254"/>
                    <a:pt x="41" y="254"/>
                    <a:pt x="41" y="254"/>
                  </a:cubicBezTo>
                  <a:cubicBezTo>
                    <a:pt x="36" y="259"/>
                    <a:pt x="31" y="264"/>
                    <a:pt x="27" y="269"/>
                  </a:cubicBezTo>
                  <a:cubicBezTo>
                    <a:pt x="19" y="266"/>
                    <a:pt x="19" y="266"/>
                    <a:pt x="19" y="266"/>
                  </a:cubicBezTo>
                  <a:cubicBezTo>
                    <a:pt x="13" y="264"/>
                    <a:pt x="7" y="267"/>
                    <a:pt x="5" y="272"/>
                  </a:cubicBezTo>
                  <a:cubicBezTo>
                    <a:pt x="1" y="283"/>
                    <a:pt x="1" y="283"/>
                    <a:pt x="1" y="283"/>
                  </a:cubicBezTo>
                  <a:cubicBezTo>
                    <a:pt x="0" y="286"/>
                    <a:pt x="0" y="289"/>
                    <a:pt x="1" y="291"/>
                  </a:cubicBezTo>
                  <a:cubicBezTo>
                    <a:pt x="2" y="294"/>
                    <a:pt x="4" y="296"/>
                    <a:pt x="7" y="297"/>
                  </a:cubicBezTo>
                  <a:cubicBezTo>
                    <a:pt x="16" y="300"/>
                    <a:pt x="16" y="300"/>
                    <a:pt x="16" y="300"/>
                  </a:cubicBezTo>
                  <a:cubicBezTo>
                    <a:pt x="15" y="307"/>
                    <a:pt x="15" y="313"/>
                    <a:pt x="17" y="320"/>
                  </a:cubicBezTo>
                  <a:cubicBezTo>
                    <a:pt x="8" y="324"/>
                    <a:pt x="8" y="324"/>
                    <a:pt x="8" y="324"/>
                  </a:cubicBezTo>
                  <a:cubicBezTo>
                    <a:pt x="3" y="326"/>
                    <a:pt x="0" y="333"/>
                    <a:pt x="3" y="338"/>
                  </a:cubicBezTo>
                  <a:cubicBezTo>
                    <a:pt x="8" y="349"/>
                    <a:pt x="8" y="349"/>
                    <a:pt x="8" y="349"/>
                  </a:cubicBezTo>
                  <a:cubicBezTo>
                    <a:pt x="10" y="354"/>
                    <a:pt x="17" y="357"/>
                    <a:pt x="22" y="354"/>
                  </a:cubicBezTo>
                  <a:cubicBezTo>
                    <a:pt x="31" y="350"/>
                    <a:pt x="31" y="350"/>
                    <a:pt x="31" y="350"/>
                  </a:cubicBezTo>
                  <a:cubicBezTo>
                    <a:pt x="35" y="356"/>
                    <a:pt x="40" y="360"/>
                    <a:pt x="45" y="364"/>
                  </a:cubicBezTo>
                  <a:cubicBezTo>
                    <a:pt x="42" y="373"/>
                    <a:pt x="42" y="373"/>
                    <a:pt x="42" y="373"/>
                  </a:cubicBezTo>
                  <a:cubicBezTo>
                    <a:pt x="41" y="375"/>
                    <a:pt x="41" y="378"/>
                    <a:pt x="42" y="381"/>
                  </a:cubicBezTo>
                  <a:cubicBezTo>
                    <a:pt x="43" y="383"/>
                    <a:pt x="45" y="385"/>
                    <a:pt x="48" y="386"/>
                  </a:cubicBezTo>
                  <a:cubicBezTo>
                    <a:pt x="59" y="390"/>
                    <a:pt x="59" y="390"/>
                    <a:pt x="59" y="390"/>
                  </a:cubicBezTo>
                  <a:cubicBezTo>
                    <a:pt x="62" y="391"/>
                    <a:pt x="65" y="391"/>
                    <a:pt x="68" y="390"/>
                  </a:cubicBezTo>
                  <a:cubicBezTo>
                    <a:pt x="70" y="389"/>
                    <a:pt x="72" y="387"/>
                    <a:pt x="73" y="384"/>
                  </a:cubicBezTo>
                  <a:cubicBezTo>
                    <a:pt x="76" y="375"/>
                    <a:pt x="76" y="375"/>
                    <a:pt x="76" y="375"/>
                  </a:cubicBezTo>
                  <a:cubicBezTo>
                    <a:pt x="83" y="376"/>
                    <a:pt x="90" y="376"/>
                    <a:pt x="96" y="375"/>
                  </a:cubicBezTo>
                  <a:cubicBezTo>
                    <a:pt x="100" y="383"/>
                    <a:pt x="100" y="383"/>
                    <a:pt x="100" y="383"/>
                  </a:cubicBezTo>
                  <a:cubicBezTo>
                    <a:pt x="103" y="388"/>
                    <a:pt x="109" y="391"/>
                    <a:pt x="114" y="388"/>
                  </a:cubicBezTo>
                  <a:cubicBezTo>
                    <a:pt x="125" y="383"/>
                    <a:pt x="125" y="383"/>
                    <a:pt x="125" y="383"/>
                  </a:cubicBezTo>
                  <a:cubicBezTo>
                    <a:pt x="131" y="381"/>
                    <a:pt x="133" y="374"/>
                    <a:pt x="130" y="369"/>
                  </a:cubicBezTo>
                  <a:cubicBezTo>
                    <a:pt x="126" y="361"/>
                    <a:pt x="126" y="361"/>
                    <a:pt x="126" y="361"/>
                  </a:cubicBezTo>
                  <a:cubicBezTo>
                    <a:pt x="132" y="356"/>
                    <a:pt x="136" y="351"/>
                    <a:pt x="140" y="346"/>
                  </a:cubicBezTo>
                  <a:cubicBezTo>
                    <a:pt x="149" y="349"/>
                    <a:pt x="149" y="349"/>
                    <a:pt x="149" y="349"/>
                  </a:cubicBezTo>
                  <a:cubicBezTo>
                    <a:pt x="151" y="350"/>
                    <a:pt x="154" y="350"/>
                    <a:pt x="157" y="349"/>
                  </a:cubicBezTo>
                  <a:cubicBezTo>
                    <a:pt x="159" y="348"/>
                    <a:pt x="161" y="346"/>
                    <a:pt x="162" y="343"/>
                  </a:cubicBezTo>
                  <a:cubicBezTo>
                    <a:pt x="167" y="332"/>
                    <a:pt x="167" y="332"/>
                    <a:pt x="167" y="332"/>
                  </a:cubicBezTo>
                  <a:cubicBezTo>
                    <a:pt x="169" y="326"/>
                    <a:pt x="166" y="320"/>
                    <a:pt x="160" y="318"/>
                  </a:cubicBezTo>
                  <a:close/>
                  <a:moveTo>
                    <a:pt x="101" y="346"/>
                  </a:moveTo>
                  <a:cubicBezTo>
                    <a:pt x="96" y="349"/>
                    <a:pt x="90" y="350"/>
                    <a:pt x="84" y="350"/>
                  </a:cubicBezTo>
                  <a:cubicBezTo>
                    <a:pt x="67" y="350"/>
                    <a:pt x="52" y="340"/>
                    <a:pt x="45" y="325"/>
                  </a:cubicBezTo>
                  <a:cubicBezTo>
                    <a:pt x="35" y="304"/>
                    <a:pt x="45" y="279"/>
                    <a:pt x="66" y="269"/>
                  </a:cubicBezTo>
                  <a:cubicBezTo>
                    <a:pt x="72" y="266"/>
                    <a:pt x="77" y="265"/>
                    <a:pt x="84" y="265"/>
                  </a:cubicBezTo>
                  <a:cubicBezTo>
                    <a:pt x="100" y="265"/>
                    <a:pt x="115" y="275"/>
                    <a:pt x="122" y="290"/>
                  </a:cubicBezTo>
                  <a:cubicBezTo>
                    <a:pt x="132" y="311"/>
                    <a:pt x="123" y="336"/>
                    <a:pt x="101" y="346"/>
                  </a:cubicBezTo>
                  <a:close/>
                  <a:moveTo>
                    <a:pt x="266" y="349"/>
                  </a:moveTo>
                  <a:cubicBezTo>
                    <a:pt x="261" y="347"/>
                    <a:pt x="261" y="347"/>
                    <a:pt x="261" y="347"/>
                  </a:cubicBezTo>
                  <a:cubicBezTo>
                    <a:pt x="262" y="343"/>
                    <a:pt x="261" y="340"/>
                    <a:pt x="261" y="336"/>
                  </a:cubicBezTo>
                  <a:cubicBezTo>
                    <a:pt x="266" y="334"/>
                    <a:pt x="266" y="334"/>
                    <a:pt x="266" y="334"/>
                  </a:cubicBezTo>
                  <a:cubicBezTo>
                    <a:pt x="269" y="332"/>
                    <a:pt x="270" y="329"/>
                    <a:pt x="269" y="326"/>
                  </a:cubicBezTo>
                  <a:cubicBezTo>
                    <a:pt x="266" y="320"/>
                    <a:pt x="266" y="320"/>
                    <a:pt x="266" y="320"/>
                  </a:cubicBezTo>
                  <a:cubicBezTo>
                    <a:pt x="264" y="317"/>
                    <a:pt x="261" y="315"/>
                    <a:pt x="258" y="317"/>
                  </a:cubicBezTo>
                  <a:cubicBezTo>
                    <a:pt x="253" y="319"/>
                    <a:pt x="253" y="319"/>
                    <a:pt x="253" y="319"/>
                  </a:cubicBezTo>
                  <a:cubicBezTo>
                    <a:pt x="251" y="316"/>
                    <a:pt x="248" y="314"/>
                    <a:pt x="245" y="312"/>
                  </a:cubicBezTo>
                  <a:cubicBezTo>
                    <a:pt x="247" y="307"/>
                    <a:pt x="247" y="307"/>
                    <a:pt x="247" y="307"/>
                  </a:cubicBezTo>
                  <a:cubicBezTo>
                    <a:pt x="248" y="304"/>
                    <a:pt x="246" y="300"/>
                    <a:pt x="243" y="299"/>
                  </a:cubicBezTo>
                  <a:cubicBezTo>
                    <a:pt x="237" y="297"/>
                    <a:pt x="237" y="297"/>
                    <a:pt x="237" y="297"/>
                  </a:cubicBezTo>
                  <a:cubicBezTo>
                    <a:pt x="234" y="296"/>
                    <a:pt x="230" y="297"/>
                    <a:pt x="229" y="300"/>
                  </a:cubicBezTo>
                  <a:cubicBezTo>
                    <a:pt x="228" y="305"/>
                    <a:pt x="228" y="305"/>
                    <a:pt x="228" y="305"/>
                  </a:cubicBezTo>
                  <a:cubicBezTo>
                    <a:pt x="224" y="305"/>
                    <a:pt x="220" y="305"/>
                    <a:pt x="217" y="306"/>
                  </a:cubicBezTo>
                  <a:cubicBezTo>
                    <a:pt x="214" y="301"/>
                    <a:pt x="214" y="301"/>
                    <a:pt x="214" y="301"/>
                  </a:cubicBezTo>
                  <a:cubicBezTo>
                    <a:pt x="213" y="298"/>
                    <a:pt x="209" y="296"/>
                    <a:pt x="206" y="298"/>
                  </a:cubicBezTo>
                  <a:cubicBezTo>
                    <a:pt x="200" y="301"/>
                    <a:pt x="200" y="301"/>
                    <a:pt x="200" y="301"/>
                  </a:cubicBezTo>
                  <a:cubicBezTo>
                    <a:pt x="197" y="302"/>
                    <a:pt x="196" y="306"/>
                    <a:pt x="197" y="309"/>
                  </a:cubicBezTo>
                  <a:cubicBezTo>
                    <a:pt x="200" y="313"/>
                    <a:pt x="200" y="313"/>
                    <a:pt x="200" y="313"/>
                  </a:cubicBezTo>
                  <a:cubicBezTo>
                    <a:pt x="197" y="316"/>
                    <a:pt x="194" y="318"/>
                    <a:pt x="192" y="321"/>
                  </a:cubicBezTo>
                  <a:cubicBezTo>
                    <a:pt x="187" y="320"/>
                    <a:pt x="187" y="320"/>
                    <a:pt x="187" y="320"/>
                  </a:cubicBezTo>
                  <a:cubicBezTo>
                    <a:pt x="184" y="318"/>
                    <a:pt x="181" y="320"/>
                    <a:pt x="180" y="323"/>
                  </a:cubicBezTo>
                  <a:cubicBezTo>
                    <a:pt x="177" y="329"/>
                    <a:pt x="177" y="329"/>
                    <a:pt x="177" y="329"/>
                  </a:cubicBezTo>
                  <a:cubicBezTo>
                    <a:pt x="177" y="331"/>
                    <a:pt x="177" y="332"/>
                    <a:pt x="177" y="334"/>
                  </a:cubicBezTo>
                  <a:cubicBezTo>
                    <a:pt x="178" y="335"/>
                    <a:pt x="179" y="336"/>
                    <a:pt x="181" y="337"/>
                  </a:cubicBezTo>
                  <a:cubicBezTo>
                    <a:pt x="186" y="339"/>
                    <a:pt x="186" y="339"/>
                    <a:pt x="186" y="339"/>
                  </a:cubicBezTo>
                  <a:cubicBezTo>
                    <a:pt x="185" y="342"/>
                    <a:pt x="186" y="346"/>
                    <a:pt x="186" y="350"/>
                  </a:cubicBezTo>
                  <a:cubicBezTo>
                    <a:pt x="181" y="352"/>
                    <a:pt x="181" y="352"/>
                    <a:pt x="181" y="352"/>
                  </a:cubicBezTo>
                  <a:cubicBezTo>
                    <a:pt x="178" y="353"/>
                    <a:pt x="177" y="357"/>
                    <a:pt x="179" y="360"/>
                  </a:cubicBezTo>
                  <a:cubicBezTo>
                    <a:pt x="181" y="366"/>
                    <a:pt x="181" y="366"/>
                    <a:pt x="181" y="366"/>
                  </a:cubicBezTo>
                  <a:cubicBezTo>
                    <a:pt x="183" y="369"/>
                    <a:pt x="186" y="370"/>
                    <a:pt x="189" y="369"/>
                  </a:cubicBezTo>
                  <a:cubicBezTo>
                    <a:pt x="194" y="367"/>
                    <a:pt x="194" y="367"/>
                    <a:pt x="194" y="367"/>
                  </a:cubicBezTo>
                  <a:cubicBezTo>
                    <a:pt x="196" y="370"/>
                    <a:pt x="199" y="372"/>
                    <a:pt x="202" y="374"/>
                  </a:cubicBezTo>
                  <a:cubicBezTo>
                    <a:pt x="200" y="379"/>
                    <a:pt x="200" y="379"/>
                    <a:pt x="200" y="379"/>
                  </a:cubicBezTo>
                  <a:cubicBezTo>
                    <a:pt x="200" y="381"/>
                    <a:pt x="200" y="382"/>
                    <a:pt x="200" y="384"/>
                  </a:cubicBezTo>
                  <a:cubicBezTo>
                    <a:pt x="201" y="385"/>
                    <a:pt x="202" y="386"/>
                    <a:pt x="204" y="387"/>
                  </a:cubicBezTo>
                  <a:cubicBezTo>
                    <a:pt x="210" y="389"/>
                    <a:pt x="210" y="389"/>
                    <a:pt x="210" y="389"/>
                  </a:cubicBezTo>
                  <a:cubicBezTo>
                    <a:pt x="212" y="390"/>
                    <a:pt x="213" y="390"/>
                    <a:pt x="215" y="389"/>
                  </a:cubicBezTo>
                  <a:cubicBezTo>
                    <a:pt x="216" y="388"/>
                    <a:pt x="217" y="387"/>
                    <a:pt x="218" y="386"/>
                  </a:cubicBezTo>
                  <a:cubicBezTo>
                    <a:pt x="219" y="381"/>
                    <a:pt x="219" y="381"/>
                    <a:pt x="219" y="381"/>
                  </a:cubicBezTo>
                  <a:cubicBezTo>
                    <a:pt x="223" y="381"/>
                    <a:pt x="227" y="381"/>
                    <a:pt x="230" y="380"/>
                  </a:cubicBezTo>
                  <a:cubicBezTo>
                    <a:pt x="233" y="385"/>
                    <a:pt x="233" y="385"/>
                    <a:pt x="233" y="385"/>
                  </a:cubicBezTo>
                  <a:cubicBezTo>
                    <a:pt x="234" y="388"/>
                    <a:pt x="238" y="389"/>
                    <a:pt x="241" y="388"/>
                  </a:cubicBezTo>
                  <a:cubicBezTo>
                    <a:pt x="247" y="385"/>
                    <a:pt x="247" y="385"/>
                    <a:pt x="247" y="385"/>
                  </a:cubicBezTo>
                  <a:cubicBezTo>
                    <a:pt x="250" y="384"/>
                    <a:pt x="251" y="380"/>
                    <a:pt x="250" y="377"/>
                  </a:cubicBezTo>
                  <a:cubicBezTo>
                    <a:pt x="247" y="372"/>
                    <a:pt x="247" y="372"/>
                    <a:pt x="247" y="372"/>
                  </a:cubicBezTo>
                  <a:cubicBezTo>
                    <a:pt x="250" y="370"/>
                    <a:pt x="253" y="367"/>
                    <a:pt x="255" y="364"/>
                  </a:cubicBezTo>
                  <a:cubicBezTo>
                    <a:pt x="260" y="366"/>
                    <a:pt x="260" y="366"/>
                    <a:pt x="260" y="366"/>
                  </a:cubicBezTo>
                  <a:cubicBezTo>
                    <a:pt x="261" y="367"/>
                    <a:pt x="263" y="367"/>
                    <a:pt x="264" y="366"/>
                  </a:cubicBezTo>
                  <a:cubicBezTo>
                    <a:pt x="266" y="365"/>
                    <a:pt x="267" y="364"/>
                    <a:pt x="267" y="363"/>
                  </a:cubicBezTo>
                  <a:cubicBezTo>
                    <a:pt x="270" y="356"/>
                    <a:pt x="270" y="356"/>
                    <a:pt x="270" y="356"/>
                  </a:cubicBezTo>
                  <a:cubicBezTo>
                    <a:pt x="271" y="353"/>
                    <a:pt x="269" y="350"/>
                    <a:pt x="266" y="349"/>
                  </a:cubicBezTo>
                  <a:close/>
                  <a:moveTo>
                    <a:pt x="233" y="364"/>
                  </a:moveTo>
                  <a:cubicBezTo>
                    <a:pt x="230" y="366"/>
                    <a:pt x="227" y="366"/>
                    <a:pt x="224" y="366"/>
                  </a:cubicBezTo>
                  <a:cubicBezTo>
                    <a:pt x="214" y="366"/>
                    <a:pt x="206" y="361"/>
                    <a:pt x="202" y="353"/>
                  </a:cubicBezTo>
                  <a:cubicBezTo>
                    <a:pt x="197" y="341"/>
                    <a:pt x="202" y="327"/>
                    <a:pt x="214" y="321"/>
                  </a:cubicBezTo>
                  <a:cubicBezTo>
                    <a:pt x="217" y="320"/>
                    <a:pt x="220" y="319"/>
                    <a:pt x="223" y="319"/>
                  </a:cubicBezTo>
                  <a:cubicBezTo>
                    <a:pt x="233" y="319"/>
                    <a:pt x="241" y="325"/>
                    <a:pt x="245" y="333"/>
                  </a:cubicBezTo>
                  <a:cubicBezTo>
                    <a:pt x="250" y="345"/>
                    <a:pt x="245" y="359"/>
                    <a:pt x="233" y="364"/>
                  </a:cubicBezTo>
                  <a:close/>
                  <a:moveTo>
                    <a:pt x="378" y="160"/>
                  </a:moveTo>
                  <a:cubicBezTo>
                    <a:pt x="364" y="155"/>
                    <a:pt x="364" y="155"/>
                    <a:pt x="364" y="155"/>
                  </a:cubicBezTo>
                  <a:cubicBezTo>
                    <a:pt x="365" y="144"/>
                    <a:pt x="364" y="133"/>
                    <a:pt x="362" y="122"/>
                  </a:cubicBezTo>
                  <a:cubicBezTo>
                    <a:pt x="377" y="115"/>
                    <a:pt x="377" y="115"/>
                    <a:pt x="377" y="115"/>
                  </a:cubicBezTo>
                  <a:cubicBezTo>
                    <a:pt x="386" y="111"/>
                    <a:pt x="390" y="100"/>
                    <a:pt x="386" y="91"/>
                  </a:cubicBezTo>
                  <a:cubicBezTo>
                    <a:pt x="377" y="73"/>
                    <a:pt x="377" y="73"/>
                    <a:pt x="377" y="73"/>
                  </a:cubicBezTo>
                  <a:cubicBezTo>
                    <a:pt x="373" y="64"/>
                    <a:pt x="362" y="60"/>
                    <a:pt x="353" y="64"/>
                  </a:cubicBezTo>
                  <a:cubicBezTo>
                    <a:pt x="339" y="71"/>
                    <a:pt x="339" y="71"/>
                    <a:pt x="339" y="71"/>
                  </a:cubicBezTo>
                  <a:cubicBezTo>
                    <a:pt x="332" y="62"/>
                    <a:pt x="323" y="54"/>
                    <a:pt x="314" y="48"/>
                  </a:cubicBezTo>
                  <a:cubicBezTo>
                    <a:pt x="320" y="33"/>
                    <a:pt x="320" y="33"/>
                    <a:pt x="320" y="33"/>
                  </a:cubicBezTo>
                  <a:cubicBezTo>
                    <a:pt x="323" y="24"/>
                    <a:pt x="319" y="13"/>
                    <a:pt x="309" y="10"/>
                  </a:cubicBezTo>
                  <a:cubicBezTo>
                    <a:pt x="290" y="3"/>
                    <a:pt x="290" y="3"/>
                    <a:pt x="290" y="3"/>
                  </a:cubicBezTo>
                  <a:cubicBezTo>
                    <a:pt x="281" y="0"/>
                    <a:pt x="271" y="5"/>
                    <a:pt x="267" y="14"/>
                  </a:cubicBezTo>
                  <a:cubicBezTo>
                    <a:pt x="262" y="29"/>
                    <a:pt x="262" y="29"/>
                    <a:pt x="262" y="29"/>
                  </a:cubicBezTo>
                  <a:cubicBezTo>
                    <a:pt x="251" y="27"/>
                    <a:pt x="240" y="28"/>
                    <a:pt x="229" y="30"/>
                  </a:cubicBezTo>
                  <a:cubicBezTo>
                    <a:pt x="222" y="15"/>
                    <a:pt x="222" y="15"/>
                    <a:pt x="222" y="15"/>
                  </a:cubicBezTo>
                  <a:cubicBezTo>
                    <a:pt x="218" y="6"/>
                    <a:pt x="207" y="2"/>
                    <a:pt x="198" y="7"/>
                  </a:cubicBezTo>
                  <a:cubicBezTo>
                    <a:pt x="180" y="15"/>
                    <a:pt x="180" y="15"/>
                    <a:pt x="180" y="15"/>
                  </a:cubicBezTo>
                  <a:cubicBezTo>
                    <a:pt x="171" y="19"/>
                    <a:pt x="167" y="30"/>
                    <a:pt x="171" y="39"/>
                  </a:cubicBezTo>
                  <a:cubicBezTo>
                    <a:pt x="178" y="53"/>
                    <a:pt x="178" y="53"/>
                    <a:pt x="178" y="53"/>
                  </a:cubicBezTo>
                  <a:cubicBezTo>
                    <a:pt x="169" y="60"/>
                    <a:pt x="161" y="69"/>
                    <a:pt x="155" y="78"/>
                  </a:cubicBezTo>
                  <a:cubicBezTo>
                    <a:pt x="140" y="72"/>
                    <a:pt x="140" y="72"/>
                    <a:pt x="140" y="72"/>
                  </a:cubicBezTo>
                  <a:cubicBezTo>
                    <a:pt x="131" y="69"/>
                    <a:pt x="120" y="74"/>
                    <a:pt x="117" y="83"/>
                  </a:cubicBezTo>
                  <a:cubicBezTo>
                    <a:pt x="110" y="102"/>
                    <a:pt x="110" y="102"/>
                    <a:pt x="110" y="102"/>
                  </a:cubicBezTo>
                  <a:cubicBezTo>
                    <a:pt x="109" y="106"/>
                    <a:pt x="109" y="111"/>
                    <a:pt x="111" y="116"/>
                  </a:cubicBezTo>
                  <a:cubicBezTo>
                    <a:pt x="113" y="120"/>
                    <a:pt x="116" y="123"/>
                    <a:pt x="121" y="125"/>
                  </a:cubicBezTo>
                  <a:cubicBezTo>
                    <a:pt x="136" y="130"/>
                    <a:pt x="136" y="130"/>
                    <a:pt x="136" y="130"/>
                  </a:cubicBezTo>
                  <a:cubicBezTo>
                    <a:pt x="135" y="141"/>
                    <a:pt x="135" y="152"/>
                    <a:pt x="137" y="163"/>
                  </a:cubicBezTo>
                  <a:cubicBezTo>
                    <a:pt x="123" y="170"/>
                    <a:pt x="123" y="170"/>
                    <a:pt x="123" y="170"/>
                  </a:cubicBezTo>
                  <a:cubicBezTo>
                    <a:pt x="114" y="174"/>
                    <a:pt x="110" y="185"/>
                    <a:pt x="114" y="194"/>
                  </a:cubicBezTo>
                  <a:cubicBezTo>
                    <a:pt x="122" y="212"/>
                    <a:pt x="122" y="212"/>
                    <a:pt x="122" y="212"/>
                  </a:cubicBezTo>
                  <a:cubicBezTo>
                    <a:pt x="126" y="221"/>
                    <a:pt x="137" y="225"/>
                    <a:pt x="146" y="221"/>
                  </a:cubicBezTo>
                  <a:cubicBezTo>
                    <a:pt x="161" y="214"/>
                    <a:pt x="161" y="214"/>
                    <a:pt x="161" y="214"/>
                  </a:cubicBezTo>
                  <a:cubicBezTo>
                    <a:pt x="168" y="223"/>
                    <a:pt x="176" y="231"/>
                    <a:pt x="185" y="237"/>
                  </a:cubicBezTo>
                  <a:cubicBezTo>
                    <a:pt x="179" y="252"/>
                    <a:pt x="179" y="252"/>
                    <a:pt x="179" y="252"/>
                  </a:cubicBezTo>
                  <a:cubicBezTo>
                    <a:pt x="178" y="256"/>
                    <a:pt x="178" y="261"/>
                    <a:pt x="180" y="266"/>
                  </a:cubicBezTo>
                  <a:cubicBezTo>
                    <a:pt x="182" y="270"/>
                    <a:pt x="185" y="273"/>
                    <a:pt x="190" y="275"/>
                  </a:cubicBezTo>
                  <a:cubicBezTo>
                    <a:pt x="209" y="282"/>
                    <a:pt x="209" y="282"/>
                    <a:pt x="209" y="282"/>
                  </a:cubicBezTo>
                  <a:cubicBezTo>
                    <a:pt x="213" y="284"/>
                    <a:pt x="218" y="283"/>
                    <a:pt x="223" y="281"/>
                  </a:cubicBezTo>
                  <a:cubicBezTo>
                    <a:pt x="227" y="279"/>
                    <a:pt x="230" y="276"/>
                    <a:pt x="232" y="271"/>
                  </a:cubicBezTo>
                  <a:cubicBezTo>
                    <a:pt x="238" y="256"/>
                    <a:pt x="238" y="256"/>
                    <a:pt x="238" y="256"/>
                  </a:cubicBezTo>
                  <a:cubicBezTo>
                    <a:pt x="248" y="258"/>
                    <a:pt x="260" y="257"/>
                    <a:pt x="271" y="255"/>
                  </a:cubicBezTo>
                  <a:cubicBezTo>
                    <a:pt x="277" y="270"/>
                    <a:pt x="277" y="270"/>
                    <a:pt x="277" y="270"/>
                  </a:cubicBezTo>
                  <a:cubicBezTo>
                    <a:pt x="281" y="279"/>
                    <a:pt x="292" y="283"/>
                    <a:pt x="301" y="278"/>
                  </a:cubicBezTo>
                  <a:cubicBezTo>
                    <a:pt x="319" y="270"/>
                    <a:pt x="319" y="270"/>
                    <a:pt x="319" y="270"/>
                  </a:cubicBezTo>
                  <a:cubicBezTo>
                    <a:pt x="328" y="266"/>
                    <a:pt x="332" y="255"/>
                    <a:pt x="328" y="246"/>
                  </a:cubicBezTo>
                  <a:cubicBezTo>
                    <a:pt x="322" y="232"/>
                    <a:pt x="322" y="232"/>
                    <a:pt x="322" y="232"/>
                  </a:cubicBezTo>
                  <a:cubicBezTo>
                    <a:pt x="330" y="225"/>
                    <a:pt x="338" y="216"/>
                    <a:pt x="344" y="207"/>
                  </a:cubicBezTo>
                  <a:cubicBezTo>
                    <a:pt x="359" y="213"/>
                    <a:pt x="359" y="213"/>
                    <a:pt x="359" y="213"/>
                  </a:cubicBezTo>
                  <a:cubicBezTo>
                    <a:pt x="364" y="215"/>
                    <a:pt x="368" y="214"/>
                    <a:pt x="373" y="212"/>
                  </a:cubicBezTo>
                  <a:cubicBezTo>
                    <a:pt x="377" y="210"/>
                    <a:pt x="380" y="207"/>
                    <a:pt x="382" y="202"/>
                  </a:cubicBezTo>
                  <a:cubicBezTo>
                    <a:pt x="389" y="183"/>
                    <a:pt x="389" y="183"/>
                    <a:pt x="389" y="183"/>
                  </a:cubicBezTo>
                  <a:cubicBezTo>
                    <a:pt x="393" y="174"/>
                    <a:pt x="388" y="164"/>
                    <a:pt x="378" y="160"/>
                  </a:cubicBezTo>
                  <a:close/>
                  <a:moveTo>
                    <a:pt x="279" y="207"/>
                  </a:moveTo>
                  <a:cubicBezTo>
                    <a:pt x="270" y="212"/>
                    <a:pt x="260" y="214"/>
                    <a:pt x="250" y="214"/>
                  </a:cubicBezTo>
                  <a:cubicBezTo>
                    <a:pt x="222" y="214"/>
                    <a:pt x="197" y="197"/>
                    <a:pt x="185" y="172"/>
                  </a:cubicBezTo>
                  <a:cubicBezTo>
                    <a:pt x="169" y="137"/>
                    <a:pt x="184" y="94"/>
                    <a:pt x="220" y="78"/>
                  </a:cubicBezTo>
                  <a:cubicBezTo>
                    <a:pt x="229" y="74"/>
                    <a:pt x="239" y="71"/>
                    <a:pt x="250" y="71"/>
                  </a:cubicBezTo>
                  <a:cubicBezTo>
                    <a:pt x="277" y="71"/>
                    <a:pt x="303" y="88"/>
                    <a:pt x="314" y="113"/>
                  </a:cubicBezTo>
                  <a:cubicBezTo>
                    <a:pt x="331" y="148"/>
                    <a:pt x="315" y="191"/>
                    <a:pt x="279" y="20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charset="-122"/>
                </a:defRPr>
              </a:lvl1pPr>
              <a:lvl2pPr marL="742950" indent="-285750">
                <a:defRPr>
                  <a:solidFill>
                    <a:schemeClr val="tx1"/>
                  </a:solidFill>
                  <a:latin typeface="Arial" panose="020B0604020202020204" pitchFamily="34" charset="0"/>
                  <a:ea typeface="微软雅黑" panose="020B0503020204020204" charset="-122"/>
                </a:defRPr>
              </a:lvl2pPr>
              <a:lvl3pPr marL="1143000" indent="-228600">
                <a:defRPr>
                  <a:solidFill>
                    <a:schemeClr val="tx1"/>
                  </a:solidFill>
                  <a:latin typeface="Arial" panose="020B0604020202020204" pitchFamily="34" charset="0"/>
                  <a:ea typeface="微软雅黑" panose="020B0503020204020204" charset="-122"/>
                </a:defRPr>
              </a:lvl3pPr>
              <a:lvl4pPr marL="1600200" indent="-228600">
                <a:defRPr>
                  <a:solidFill>
                    <a:schemeClr val="tx1"/>
                  </a:solidFill>
                  <a:latin typeface="Arial" panose="020B0604020202020204" pitchFamily="34" charset="0"/>
                  <a:ea typeface="微软雅黑" panose="020B0503020204020204" charset="-122"/>
                </a:defRPr>
              </a:lvl4pPr>
              <a:lvl5pPr marL="2057400" indent="-228600">
                <a:defRPr>
                  <a:solidFill>
                    <a:schemeClr val="tx1"/>
                  </a:solidFill>
                  <a:latin typeface="Arial" panose="020B0604020202020204" pitchFamily="34" charset="0"/>
                  <a:ea typeface="微软雅黑" panose="020B0503020204020204"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445469"/>
                </a:solidFill>
                <a:effectLst/>
                <a:uLnTx/>
                <a:uFillTx/>
                <a:latin typeface="Arial" panose="020B0604020202020204" pitchFamily="34" charset="0"/>
                <a:ea typeface="微软雅黑" panose="020B0503020204020204" charset="-122"/>
                <a:cs typeface="+mn-cs"/>
              </a:endParaRPr>
            </a:p>
          </p:txBody>
        </p:sp>
        <p:sp>
          <p:nvSpPr>
            <p:cNvPr id="25" name="稻壳儿小白白(http://dwz.cn/Wu2UP)"/>
            <p:cNvSpPr txBox="1">
              <a:spLocks noChangeArrowheads="1"/>
            </p:cNvSpPr>
            <p:nvPr/>
          </p:nvSpPr>
          <p:spPr bwMode="auto">
            <a:xfrm>
              <a:off x="7119147" y="2865668"/>
              <a:ext cx="3421380" cy="337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1216025">
                <a:defRPr>
                  <a:solidFill>
                    <a:schemeClr val="tx1"/>
                  </a:solidFill>
                  <a:latin typeface="Arial" panose="020B0604020202020204" pitchFamily="34" charset="0"/>
                  <a:ea typeface="微软雅黑" panose="020B0503020204020204" charset="-122"/>
                </a:defRPr>
              </a:lvl1pPr>
              <a:lvl2pPr marL="742950" indent="-285750" defTabSz="1216025">
                <a:defRPr>
                  <a:solidFill>
                    <a:schemeClr val="tx1"/>
                  </a:solidFill>
                  <a:latin typeface="Arial" panose="020B0604020202020204" pitchFamily="34" charset="0"/>
                  <a:ea typeface="微软雅黑" panose="020B0503020204020204" charset="-122"/>
                </a:defRPr>
              </a:lvl2pPr>
              <a:lvl3pPr marL="1143000" indent="-228600" defTabSz="1216025">
                <a:defRPr>
                  <a:solidFill>
                    <a:schemeClr val="tx1"/>
                  </a:solidFill>
                  <a:latin typeface="Arial" panose="020B0604020202020204" pitchFamily="34" charset="0"/>
                  <a:ea typeface="微软雅黑" panose="020B0503020204020204" charset="-122"/>
                </a:defRPr>
              </a:lvl3pPr>
              <a:lvl4pPr marL="1600200" indent="-228600" defTabSz="1216025">
                <a:defRPr>
                  <a:solidFill>
                    <a:schemeClr val="tx1"/>
                  </a:solidFill>
                  <a:latin typeface="Arial" panose="020B0604020202020204" pitchFamily="34" charset="0"/>
                  <a:ea typeface="微软雅黑" panose="020B0503020204020204" charset="-122"/>
                </a:defRPr>
              </a:lvl4pPr>
              <a:lvl5pPr marL="2057400" indent="-228600" defTabSz="1216025">
                <a:defRPr>
                  <a:solidFill>
                    <a:schemeClr val="tx1"/>
                  </a:solidFill>
                  <a:latin typeface="Arial" panose="020B0604020202020204" pitchFamily="34" charset="0"/>
                  <a:ea typeface="微软雅黑" panose="020B0503020204020204" charset="-122"/>
                </a:defRPr>
              </a:lvl5pPr>
              <a:lvl6pPr marL="2514600" indent="-228600" defTabSz="1216025"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6pPr>
              <a:lvl7pPr marL="2971800" indent="-228600" defTabSz="1216025"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7pPr>
              <a:lvl8pPr marL="3429000" indent="-228600" defTabSz="1216025"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8pPr>
              <a:lvl9pPr marL="3886200" indent="-228600" defTabSz="1216025"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9pPr>
            </a:lstStyle>
            <a:p>
              <a:pPr lvl="0" defTabSz="1218565" latinLnBrk="1"/>
              <a:r>
                <a:rPr lang="zh-CN" sz="1600" b="1" kern="300" spc="300" dirty="0">
                  <a:solidFill>
                    <a:prstClr val="black">
                      <a:lumMod val="75000"/>
                      <a:lumOff val="25000"/>
                    </a:prstClr>
                  </a:solidFill>
                  <a:latin typeface="微软雅黑 Light" panose="020B0502040204020203" pitchFamily="34" charset="-122"/>
                  <a:ea typeface="微软雅黑 Light" panose="020B0502040204020203" pitchFamily="34" charset="-122"/>
                  <a:cs typeface="Arial" panose="020B0604020202020204" pitchFamily="34" charset="0"/>
                </a:rPr>
                <a:t>了解</a:t>
              </a:r>
              <a:r>
                <a:rPr sz="1600" b="1" kern="300" spc="300" dirty="0">
                  <a:solidFill>
                    <a:prstClr val="black">
                      <a:lumMod val="75000"/>
                      <a:lumOff val="25000"/>
                    </a:prstClr>
                  </a:solidFill>
                  <a:latin typeface="微软雅黑 Light" panose="020B0502040204020203" pitchFamily="34" charset="-122"/>
                  <a:ea typeface="微软雅黑 Light" panose="020B0502040204020203" pitchFamily="34" charset="-122"/>
                  <a:cs typeface="Arial" panose="020B0604020202020204" pitchFamily="34" charset="0"/>
                </a:rPr>
                <a:t>Bootstrap框架</a:t>
              </a:r>
              <a:endParaRPr sz="1600" b="1" kern="300" spc="300" dirty="0">
                <a:solidFill>
                  <a:prstClr val="black">
                    <a:lumMod val="75000"/>
                    <a:lumOff val="25000"/>
                  </a:prstClr>
                </a:solidFill>
                <a:latin typeface="微软雅黑 Light" panose="020B0502040204020203" pitchFamily="34" charset="-122"/>
                <a:ea typeface="微软雅黑 Light" panose="020B0502040204020203" pitchFamily="34" charset="-122"/>
                <a:cs typeface="Arial" panose="020B0604020202020204" pitchFamily="34" charset="0"/>
              </a:endParaRPr>
            </a:p>
          </p:txBody>
        </p:sp>
      </p:grpSp>
      <p:grpSp>
        <p:nvGrpSpPr>
          <p:cNvPr id="40" name="组合 39"/>
          <p:cNvGrpSpPr/>
          <p:nvPr/>
        </p:nvGrpSpPr>
        <p:grpSpPr>
          <a:xfrm>
            <a:off x="6214272" y="3935185"/>
            <a:ext cx="3957955" cy="790607"/>
            <a:chOff x="6214272" y="3935185"/>
            <a:chExt cx="3957955" cy="790607"/>
          </a:xfrm>
        </p:grpSpPr>
        <p:sp>
          <p:nvSpPr>
            <p:cNvPr id="16" name="稻壳儿小白白(http://dwz.cn/Wu2UP)"/>
            <p:cNvSpPr>
              <a:spLocks noChangeArrowheads="1"/>
            </p:cNvSpPr>
            <p:nvPr/>
          </p:nvSpPr>
          <p:spPr bwMode="auto">
            <a:xfrm>
              <a:off x="6214272" y="3935185"/>
              <a:ext cx="789227" cy="790607"/>
            </a:xfrm>
            <a:prstGeom prst="ellipse">
              <a:avLst/>
            </a:prstGeom>
            <a:gradFill flip="none" rotWithShape="1">
              <a:gsLst>
                <a:gs pos="0">
                  <a:srgbClr val="FF4D75"/>
                </a:gs>
                <a:gs pos="100000">
                  <a:srgbClr val="9443E2">
                    <a:alpha val="58000"/>
                  </a:srgbClr>
                </a:gs>
              </a:gsLst>
              <a:lin ang="10800000" scaled="1"/>
              <a:tileRect/>
            </a:gra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charset="-122"/>
                </a:defRPr>
              </a:lvl1pPr>
              <a:lvl2pPr marL="742950" indent="-285750">
                <a:defRPr>
                  <a:solidFill>
                    <a:schemeClr val="tx1"/>
                  </a:solidFill>
                  <a:latin typeface="Arial" panose="020B0604020202020204" pitchFamily="34" charset="0"/>
                  <a:ea typeface="微软雅黑" panose="020B0503020204020204" charset="-122"/>
                </a:defRPr>
              </a:lvl2pPr>
              <a:lvl3pPr marL="1143000" indent="-228600">
                <a:defRPr>
                  <a:solidFill>
                    <a:schemeClr val="tx1"/>
                  </a:solidFill>
                  <a:latin typeface="Arial" panose="020B0604020202020204" pitchFamily="34" charset="0"/>
                  <a:ea typeface="微软雅黑" panose="020B0503020204020204" charset="-122"/>
                </a:defRPr>
              </a:lvl3pPr>
              <a:lvl4pPr marL="1600200" indent="-228600">
                <a:defRPr>
                  <a:solidFill>
                    <a:schemeClr val="tx1"/>
                  </a:solidFill>
                  <a:latin typeface="Arial" panose="020B0604020202020204" pitchFamily="34" charset="0"/>
                  <a:ea typeface="微软雅黑" panose="020B0503020204020204" charset="-122"/>
                </a:defRPr>
              </a:lvl4pPr>
              <a:lvl5pPr marL="2057400" indent="-228600">
                <a:defRPr>
                  <a:solidFill>
                    <a:schemeClr val="tx1"/>
                  </a:solidFill>
                  <a:latin typeface="Arial" panose="020B0604020202020204" pitchFamily="34" charset="0"/>
                  <a:ea typeface="微软雅黑" panose="020B0503020204020204"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zh-CN" sz="1200" b="0" i="0" u="none" strike="noStrike" kern="1200" cap="none" spc="0" normalizeH="0" baseline="0" noProof="0">
                <a:ln>
                  <a:noFill/>
                </a:ln>
                <a:solidFill>
                  <a:srgbClr val="445469"/>
                </a:solidFill>
                <a:effectLst/>
                <a:uLnTx/>
                <a:uFillTx/>
                <a:latin typeface="Arial" panose="020B0604020202020204" pitchFamily="34" charset="0"/>
                <a:ea typeface="微软雅黑" panose="020B0503020204020204" charset="-122"/>
                <a:cs typeface="+mn-cs"/>
                <a:sym typeface="Arial" panose="020B0604020202020204" pitchFamily="34" charset="0"/>
              </a:endParaRPr>
            </a:p>
          </p:txBody>
        </p:sp>
        <p:sp>
          <p:nvSpPr>
            <p:cNvPr id="17" name="稻壳儿小白白(http://dwz.cn/Wu2UP)"/>
            <p:cNvSpPr>
              <a:spLocks noEditPoints="1"/>
            </p:cNvSpPr>
            <p:nvPr/>
          </p:nvSpPr>
          <p:spPr bwMode="auto">
            <a:xfrm>
              <a:off x="6379844" y="4151809"/>
              <a:ext cx="453943" cy="357360"/>
            </a:xfrm>
            <a:custGeom>
              <a:avLst/>
              <a:gdLst>
                <a:gd name="T0" fmla="*/ 969 w 1152"/>
                <a:gd name="T1" fmla="*/ 520 h 908"/>
                <a:gd name="T2" fmla="*/ 1145 w 1152"/>
                <a:gd name="T3" fmla="*/ 882 h 908"/>
                <a:gd name="T4" fmla="*/ 1128 w 1152"/>
                <a:gd name="T5" fmla="*/ 908 h 908"/>
                <a:gd name="T6" fmla="*/ 24 w 1152"/>
                <a:gd name="T7" fmla="*/ 908 h 908"/>
                <a:gd name="T8" fmla="*/ 7 w 1152"/>
                <a:gd name="T9" fmla="*/ 882 h 908"/>
                <a:gd name="T10" fmla="*/ 183 w 1152"/>
                <a:gd name="T11" fmla="*/ 520 h 908"/>
                <a:gd name="T12" fmla="*/ 200 w 1152"/>
                <a:gd name="T13" fmla="*/ 510 h 908"/>
                <a:gd name="T14" fmla="*/ 351 w 1152"/>
                <a:gd name="T15" fmla="*/ 510 h 908"/>
                <a:gd name="T16" fmla="*/ 365 w 1152"/>
                <a:gd name="T17" fmla="*/ 516 h 908"/>
                <a:gd name="T18" fmla="*/ 396 w 1152"/>
                <a:gd name="T19" fmla="*/ 551 h 908"/>
                <a:gd name="T20" fmla="*/ 426 w 1152"/>
                <a:gd name="T21" fmla="*/ 584 h 908"/>
                <a:gd name="T22" fmla="*/ 246 w 1152"/>
                <a:gd name="T23" fmla="*/ 584 h 908"/>
                <a:gd name="T24" fmla="*/ 230 w 1152"/>
                <a:gd name="T25" fmla="*/ 594 h 908"/>
                <a:gd name="T26" fmla="*/ 113 w 1152"/>
                <a:gd name="T27" fmla="*/ 834 h 908"/>
                <a:gd name="T28" fmla="*/ 1039 w 1152"/>
                <a:gd name="T29" fmla="*/ 834 h 908"/>
                <a:gd name="T30" fmla="*/ 922 w 1152"/>
                <a:gd name="T31" fmla="*/ 594 h 908"/>
                <a:gd name="T32" fmla="*/ 906 w 1152"/>
                <a:gd name="T33" fmla="*/ 584 h 908"/>
                <a:gd name="T34" fmla="*/ 726 w 1152"/>
                <a:gd name="T35" fmla="*/ 584 h 908"/>
                <a:gd name="T36" fmla="*/ 756 w 1152"/>
                <a:gd name="T37" fmla="*/ 551 h 908"/>
                <a:gd name="T38" fmla="*/ 787 w 1152"/>
                <a:gd name="T39" fmla="*/ 516 h 908"/>
                <a:gd name="T40" fmla="*/ 801 w 1152"/>
                <a:gd name="T41" fmla="*/ 510 h 908"/>
                <a:gd name="T42" fmla="*/ 952 w 1152"/>
                <a:gd name="T43" fmla="*/ 510 h 908"/>
                <a:gd name="T44" fmla="*/ 969 w 1152"/>
                <a:gd name="T45" fmla="*/ 520 h 908"/>
                <a:gd name="T46" fmla="*/ 835 w 1152"/>
                <a:gd name="T47" fmla="*/ 273 h 908"/>
                <a:gd name="T48" fmla="*/ 593 w 1152"/>
                <a:gd name="T49" fmla="*/ 697 h 908"/>
                <a:gd name="T50" fmla="*/ 559 w 1152"/>
                <a:gd name="T51" fmla="*/ 697 h 908"/>
                <a:gd name="T52" fmla="*/ 321 w 1152"/>
                <a:gd name="T53" fmla="*/ 327 h 908"/>
                <a:gd name="T54" fmla="*/ 551 w 1152"/>
                <a:gd name="T55" fmla="*/ 15 h 908"/>
                <a:gd name="T56" fmla="*/ 835 w 1152"/>
                <a:gd name="T57" fmla="*/ 273 h 908"/>
                <a:gd name="T58" fmla="*/ 713 w 1152"/>
                <a:gd name="T59" fmla="*/ 273 h 908"/>
                <a:gd name="T60" fmla="*/ 576 w 1152"/>
                <a:gd name="T61" fmla="*/ 136 h 908"/>
                <a:gd name="T62" fmla="*/ 439 w 1152"/>
                <a:gd name="T63" fmla="*/ 273 h 908"/>
                <a:gd name="T64" fmla="*/ 576 w 1152"/>
                <a:gd name="T65" fmla="*/ 410 h 908"/>
                <a:gd name="T66" fmla="*/ 713 w 1152"/>
                <a:gd name="T67" fmla="*/ 273 h 908"/>
                <a:gd name="T68" fmla="*/ 713 w 1152"/>
                <a:gd name="T69" fmla="*/ 273 h 908"/>
                <a:gd name="T70" fmla="*/ 713 w 1152"/>
                <a:gd name="T71" fmla="*/ 273 h 9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52"/>
                <a:gd name="T109" fmla="*/ 0 h 908"/>
                <a:gd name="T110" fmla="*/ 1152 w 1152"/>
                <a:gd name="T111" fmla="*/ 908 h 9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52" h="908">
                  <a:moveTo>
                    <a:pt x="969" y="520"/>
                  </a:moveTo>
                  <a:cubicBezTo>
                    <a:pt x="1145" y="882"/>
                    <a:pt x="1145" y="882"/>
                    <a:pt x="1145" y="882"/>
                  </a:cubicBezTo>
                  <a:cubicBezTo>
                    <a:pt x="1152" y="896"/>
                    <a:pt x="1145" y="908"/>
                    <a:pt x="1128" y="908"/>
                  </a:cubicBezTo>
                  <a:cubicBezTo>
                    <a:pt x="24" y="908"/>
                    <a:pt x="24" y="908"/>
                    <a:pt x="24" y="908"/>
                  </a:cubicBezTo>
                  <a:cubicBezTo>
                    <a:pt x="7" y="908"/>
                    <a:pt x="0" y="896"/>
                    <a:pt x="7" y="882"/>
                  </a:cubicBezTo>
                  <a:cubicBezTo>
                    <a:pt x="183" y="520"/>
                    <a:pt x="183" y="520"/>
                    <a:pt x="183" y="520"/>
                  </a:cubicBezTo>
                  <a:cubicBezTo>
                    <a:pt x="186" y="514"/>
                    <a:pt x="193" y="510"/>
                    <a:pt x="200" y="510"/>
                  </a:cubicBezTo>
                  <a:cubicBezTo>
                    <a:pt x="351" y="510"/>
                    <a:pt x="351" y="510"/>
                    <a:pt x="351" y="510"/>
                  </a:cubicBezTo>
                  <a:cubicBezTo>
                    <a:pt x="355" y="510"/>
                    <a:pt x="362" y="512"/>
                    <a:pt x="365" y="516"/>
                  </a:cubicBezTo>
                  <a:cubicBezTo>
                    <a:pt x="375" y="528"/>
                    <a:pt x="385" y="539"/>
                    <a:pt x="396" y="551"/>
                  </a:cubicBezTo>
                  <a:cubicBezTo>
                    <a:pt x="406" y="562"/>
                    <a:pt x="416" y="573"/>
                    <a:pt x="426" y="584"/>
                  </a:cubicBezTo>
                  <a:cubicBezTo>
                    <a:pt x="246" y="584"/>
                    <a:pt x="246" y="584"/>
                    <a:pt x="246" y="584"/>
                  </a:cubicBezTo>
                  <a:cubicBezTo>
                    <a:pt x="240" y="584"/>
                    <a:pt x="232" y="589"/>
                    <a:pt x="230" y="594"/>
                  </a:cubicBezTo>
                  <a:cubicBezTo>
                    <a:pt x="113" y="834"/>
                    <a:pt x="113" y="834"/>
                    <a:pt x="113" y="834"/>
                  </a:cubicBezTo>
                  <a:cubicBezTo>
                    <a:pt x="1039" y="834"/>
                    <a:pt x="1039" y="834"/>
                    <a:pt x="1039" y="834"/>
                  </a:cubicBezTo>
                  <a:cubicBezTo>
                    <a:pt x="922" y="594"/>
                    <a:pt x="922" y="594"/>
                    <a:pt x="922" y="594"/>
                  </a:cubicBezTo>
                  <a:cubicBezTo>
                    <a:pt x="920" y="589"/>
                    <a:pt x="912" y="584"/>
                    <a:pt x="906" y="584"/>
                  </a:cubicBezTo>
                  <a:cubicBezTo>
                    <a:pt x="726" y="584"/>
                    <a:pt x="726" y="584"/>
                    <a:pt x="726" y="584"/>
                  </a:cubicBezTo>
                  <a:cubicBezTo>
                    <a:pt x="736" y="573"/>
                    <a:pt x="746" y="562"/>
                    <a:pt x="756" y="551"/>
                  </a:cubicBezTo>
                  <a:cubicBezTo>
                    <a:pt x="766" y="539"/>
                    <a:pt x="777" y="528"/>
                    <a:pt x="787" y="516"/>
                  </a:cubicBezTo>
                  <a:cubicBezTo>
                    <a:pt x="790" y="512"/>
                    <a:pt x="796" y="510"/>
                    <a:pt x="801" y="510"/>
                  </a:cubicBezTo>
                  <a:cubicBezTo>
                    <a:pt x="952" y="510"/>
                    <a:pt x="952" y="510"/>
                    <a:pt x="952" y="510"/>
                  </a:cubicBezTo>
                  <a:cubicBezTo>
                    <a:pt x="959" y="510"/>
                    <a:pt x="966" y="514"/>
                    <a:pt x="969" y="520"/>
                  </a:cubicBezTo>
                  <a:close/>
                  <a:moveTo>
                    <a:pt x="835" y="273"/>
                  </a:moveTo>
                  <a:cubicBezTo>
                    <a:pt x="835" y="470"/>
                    <a:pt x="670" y="508"/>
                    <a:pt x="593" y="697"/>
                  </a:cubicBezTo>
                  <a:cubicBezTo>
                    <a:pt x="587" y="713"/>
                    <a:pt x="565" y="713"/>
                    <a:pt x="559" y="697"/>
                  </a:cubicBezTo>
                  <a:cubicBezTo>
                    <a:pt x="489" y="526"/>
                    <a:pt x="348" y="479"/>
                    <a:pt x="321" y="327"/>
                  </a:cubicBezTo>
                  <a:cubicBezTo>
                    <a:pt x="295" y="176"/>
                    <a:pt x="399" y="29"/>
                    <a:pt x="551" y="15"/>
                  </a:cubicBezTo>
                  <a:cubicBezTo>
                    <a:pt x="705" y="0"/>
                    <a:pt x="835" y="121"/>
                    <a:pt x="835" y="273"/>
                  </a:cubicBezTo>
                  <a:close/>
                  <a:moveTo>
                    <a:pt x="713" y="273"/>
                  </a:moveTo>
                  <a:cubicBezTo>
                    <a:pt x="713" y="197"/>
                    <a:pt x="651" y="136"/>
                    <a:pt x="576" y="136"/>
                  </a:cubicBezTo>
                  <a:cubicBezTo>
                    <a:pt x="500" y="136"/>
                    <a:pt x="439" y="197"/>
                    <a:pt x="439" y="273"/>
                  </a:cubicBezTo>
                  <a:cubicBezTo>
                    <a:pt x="439" y="348"/>
                    <a:pt x="500" y="410"/>
                    <a:pt x="576" y="410"/>
                  </a:cubicBezTo>
                  <a:cubicBezTo>
                    <a:pt x="651" y="410"/>
                    <a:pt x="713" y="348"/>
                    <a:pt x="713" y="273"/>
                  </a:cubicBezTo>
                  <a:close/>
                  <a:moveTo>
                    <a:pt x="713" y="273"/>
                  </a:moveTo>
                  <a:cubicBezTo>
                    <a:pt x="713" y="273"/>
                    <a:pt x="713" y="273"/>
                    <a:pt x="713" y="273"/>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charset="-122"/>
                </a:defRPr>
              </a:lvl1pPr>
              <a:lvl2pPr marL="742950" indent="-285750">
                <a:defRPr>
                  <a:solidFill>
                    <a:schemeClr val="tx1"/>
                  </a:solidFill>
                  <a:latin typeface="Arial" panose="020B0604020202020204" pitchFamily="34" charset="0"/>
                  <a:ea typeface="微软雅黑" panose="020B0503020204020204" charset="-122"/>
                </a:defRPr>
              </a:lvl2pPr>
              <a:lvl3pPr marL="1143000" indent="-228600">
                <a:defRPr>
                  <a:solidFill>
                    <a:schemeClr val="tx1"/>
                  </a:solidFill>
                  <a:latin typeface="Arial" panose="020B0604020202020204" pitchFamily="34" charset="0"/>
                  <a:ea typeface="微软雅黑" panose="020B0503020204020204" charset="-122"/>
                </a:defRPr>
              </a:lvl3pPr>
              <a:lvl4pPr marL="1600200" indent="-228600">
                <a:defRPr>
                  <a:solidFill>
                    <a:schemeClr val="tx1"/>
                  </a:solidFill>
                  <a:latin typeface="Arial" panose="020B0604020202020204" pitchFamily="34" charset="0"/>
                  <a:ea typeface="微软雅黑" panose="020B0503020204020204" charset="-122"/>
                </a:defRPr>
              </a:lvl4pPr>
              <a:lvl5pPr marL="2057400" indent="-228600">
                <a:defRPr>
                  <a:solidFill>
                    <a:schemeClr val="tx1"/>
                  </a:solidFill>
                  <a:latin typeface="Arial" panose="020B0604020202020204" pitchFamily="34" charset="0"/>
                  <a:ea typeface="微软雅黑" panose="020B0503020204020204"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445469"/>
                </a:solidFill>
                <a:effectLst/>
                <a:uLnTx/>
                <a:uFillTx/>
                <a:latin typeface="Arial" panose="020B0604020202020204" pitchFamily="34" charset="0"/>
                <a:ea typeface="微软雅黑" panose="020B0503020204020204" charset="-122"/>
                <a:cs typeface="+mn-cs"/>
              </a:endParaRPr>
            </a:p>
          </p:txBody>
        </p:sp>
        <p:sp>
          <p:nvSpPr>
            <p:cNvPr id="27" name="稻壳儿小白白(http://dwz.cn/Wu2UP)"/>
            <p:cNvSpPr txBox="1">
              <a:spLocks noChangeArrowheads="1"/>
            </p:cNvSpPr>
            <p:nvPr/>
          </p:nvSpPr>
          <p:spPr bwMode="auto">
            <a:xfrm>
              <a:off x="7119147" y="4089490"/>
              <a:ext cx="3053080" cy="337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1216025">
                <a:defRPr>
                  <a:solidFill>
                    <a:schemeClr val="tx1"/>
                  </a:solidFill>
                  <a:latin typeface="Arial" panose="020B0604020202020204" pitchFamily="34" charset="0"/>
                  <a:ea typeface="微软雅黑" panose="020B0503020204020204" charset="-122"/>
                </a:defRPr>
              </a:lvl1pPr>
              <a:lvl2pPr marL="742950" indent="-285750" defTabSz="1216025">
                <a:defRPr>
                  <a:solidFill>
                    <a:schemeClr val="tx1"/>
                  </a:solidFill>
                  <a:latin typeface="Arial" panose="020B0604020202020204" pitchFamily="34" charset="0"/>
                  <a:ea typeface="微软雅黑" panose="020B0503020204020204" charset="-122"/>
                </a:defRPr>
              </a:lvl2pPr>
              <a:lvl3pPr marL="1143000" indent="-228600" defTabSz="1216025">
                <a:defRPr>
                  <a:solidFill>
                    <a:schemeClr val="tx1"/>
                  </a:solidFill>
                  <a:latin typeface="Arial" panose="020B0604020202020204" pitchFamily="34" charset="0"/>
                  <a:ea typeface="微软雅黑" panose="020B0503020204020204" charset="-122"/>
                </a:defRPr>
              </a:lvl3pPr>
              <a:lvl4pPr marL="1600200" indent="-228600" defTabSz="1216025">
                <a:defRPr>
                  <a:solidFill>
                    <a:schemeClr val="tx1"/>
                  </a:solidFill>
                  <a:latin typeface="Arial" panose="020B0604020202020204" pitchFamily="34" charset="0"/>
                  <a:ea typeface="微软雅黑" panose="020B0503020204020204" charset="-122"/>
                </a:defRPr>
              </a:lvl4pPr>
              <a:lvl5pPr marL="2057400" indent="-228600" defTabSz="1216025">
                <a:defRPr>
                  <a:solidFill>
                    <a:schemeClr val="tx1"/>
                  </a:solidFill>
                  <a:latin typeface="Arial" panose="020B0604020202020204" pitchFamily="34" charset="0"/>
                  <a:ea typeface="微软雅黑" panose="020B0503020204020204" charset="-122"/>
                </a:defRPr>
              </a:lvl5pPr>
              <a:lvl6pPr marL="2514600" indent="-228600" defTabSz="1216025"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6pPr>
              <a:lvl7pPr marL="2971800" indent="-228600" defTabSz="1216025"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7pPr>
              <a:lvl8pPr marL="3429000" indent="-228600" defTabSz="1216025"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8pPr>
              <a:lvl9pPr marL="3886200" indent="-228600" defTabSz="1216025"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9pPr>
            </a:lstStyle>
            <a:p>
              <a:pPr lvl="0" defTabSz="1218565" latinLnBrk="1"/>
              <a:r>
                <a:rPr lang="zh-CN" sz="1600" b="1" kern="300" spc="300" dirty="0">
                  <a:solidFill>
                    <a:prstClr val="black">
                      <a:lumMod val="75000"/>
                      <a:lumOff val="25000"/>
                    </a:prstClr>
                  </a:solidFill>
                  <a:latin typeface="微软雅黑 Light" panose="020B0502040204020203" pitchFamily="34" charset="-122"/>
                  <a:ea typeface="微软雅黑 Light" panose="020B0502040204020203" pitchFamily="34" charset="-122"/>
                  <a:cs typeface="Arial" panose="020B0604020202020204" pitchFamily="34" charset="0"/>
                </a:rPr>
                <a:t>使用框架编写响应式页面</a:t>
              </a:r>
              <a:endParaRPr lang="zh-CN" sz="1600" b="1" kern="300" spc="300" dirty="0">
                <a:solidFill>
                  <a:prstClr val="black">
                    <a:lumMod val="75000"/>
                    <a:lumOff val="25000"/>
                  </a:prstClr>
                </a:solidFill>
                <a:latin typeface="微软雅黑 Light" panose="020B0502040204020203" pitchFamily="34" charset="-122"/>
                <a:ea typeface="Arial Unicode MS"/>
                <a:cs typeface="Arial" panose="020B0604020202020204" pitchFamily="34" charset="0"/>
              </a:endParaRPr>
            </a:p>
          </p:txBody>
        </p:sp>
      </p:grpSp>
      <p:sp>
        <p:nvSpPr>
          <p:cNvPr id="35" name="Title 1"/>
          <p:cNvSpPr txBox="1"/>
          <p:nvPr/>
        </p:nvSpPr>
        <p:spPr>
          <a:xfrm>
            <a:off x="1790700" y="1042859"/>
            <a:ext cx="8610600" cy="49548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dirty="0">
                <a:latin typeface="微软雅黑 Light" panose="020B0502040204020203" pitchFamily="34" charset="-122"/>
                <a:ea typeface="微软雅黑 Light" panose="020B0502040204020203" pitchFamily="34" charset="-122"/>
              </a:rPr>
              <a:t>学习目标</a:t>
            </a:r>
            <a:endParaRPr lang="zh-CN" dirty="0">
              <a:latin typeface="微软雅黑 Light" panose="020B0502040204020203" pitchFamily="34" charset="-122"/>
              <a:ea typeface="微软雅黑 Light" panose="020B0502040204020203" pitchFamily="34" charset="-122"/>
            </a:endParaRPr>
          </a:p>
        </p:txBody>
      </p:sp>
      <p:grpSp>
        <p:nvGrpSpPr>
          <p:cNvPr id="41" name="组合 40"/>
          <p:cNvGrpSpPr/>
          <p:nvPr/>
        </p:nvGrpSpPr>
        <p:grpSpPr>
          <a:xfrm>
            <a:off x="6214272" y="5112127"/>
            <a:ext cx="2774713" cy="790608"/>
            <a:chOff x="6214272" y="5112127"/>
            <a:chExt cx="2774713" cy="790608"/>
          </a:xfrm>
        </p:grpSpPr>
        <p:sp>
          <p:nvSpPr>
            <p:cNvPr id="18" name="稻壳儿小白白(http://dwz.cn/Wu2UP)"/>
            <p:cNvSpPr>
              <a:spLocks noChangeArrowheads="1"/>
            </p:cNvSpPr>
            <p:nvPr/>
          </p:nvSpPr>
          <p:spPr bwMode="auto">
            <a:xfrm>
              <a:off x="6214272" y="5112127"/>
              <a:ext cx="789227" cy="790608"/>
            </a:xfrm>
            <a:prstGeom prst="ellipse">
              <a:avLst/>
            </a:prstGeom>
            <a:gradFill flip="none" rotWithShape="1">
              <a:gsLst>
                <a:gs pos="0">
                  <a:srgbClr val="FF4D75"/>
                </a:gs>
                <a:gs pos="100000">
                  <a:srgbClr val="9443E2">
                    <a:alpha val="58000"/>
                  </a:srgbClr>
                </a:gs>
              </a:gsLst>
              <a:lin ang="2700000" scaled="1"/>
              <a:tileRect/>
            </a:gra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charset="-122"/>
                </a:defRPr>
              </a:lvl1pPr>
              <a:lvl2pPr marL="742950" indent="-285750">
                <a:defRPr>
                  <a:solidFill>
                    <a:schemeClr val="tx1"/>
                  </a:solidFill>
                  <a:latin typeface="Arial" panose="020B0604020202020204" pitchFamily="34" charset="0"/>
                  <a:ea typeface="微软雅黑" panose="020B0503020204020204" charset="-122"/>
                </a:defRPr>
              </a:lvl2pPr>
              <a:lvl3pPr marL="1143000" indent="-228600">
                <a:defRPr>
                  <a:solidFill>
                    <a:schemeClr val="tx1"/>
                  </a:solidFill>
                  <a:latin typeface="Arial" panose="020B0604020202020204" pitchFamily="34" charset="0"/>
                  <a:ea typeface="微软雅黑" panose="020B0503020204020204" charset="-122"/>
                </a:defRPr>
              </a:lvl3pPr>
              <a:lvl4pPr marL="1600200" indent="-228600">
                <a:defRPr>
                  <a:solidFill>
                    <a:schemeClr val="tx1"/>
                  </a:solidFill>
                  <a:latin typeface="Arial" panose="020B0604020202020204" pitchFamily="34" charset="0"/>
                  <a:ea typeface="微软雅黑" panose="020B0503020204020204" charset="-122"/>
                </a:defRPr>
              </a:lvl4pPr>
              <a:lvl5pPr marL="2057400" indent="-228600">
                <a:defRPr>
                  <a:solidFill>
                    <a:schemeClr val="tx1"/>
                  </a:solidFill>
                  <a:latin typeface="Arial" panose="020B0604020202020204" pitchFamily="34" charset="0"/>
                  <a:ea typeface="微软雅黑" panose="020B0503020204020204"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zh-CN" sz="1200" b="0" i="0" u="none" strike="noStrike" kern="1200" cap="none" spc="0" normalizeH="0" baseline="0" noProof="0">
                <a:ln>
                  <a:noFill/>
                </a:ln>
                <a:solidFill>
                  <a:srgbClr val="445469"/>
                </a:solidFill>
                <a:effectLst/>
                <a:uLnTx/>
                <a:uFillTx/>
                <a:latin typeface="Arial" panose="020B0604020202020204" pitchFamily="34" charset="0"/>
                <a:ea typeface="微软雅黑" panose="020B0503020204020204" charset="-122"/>
                <a:cs typeface="+mn-cs"/>
                <a:sym typeface="Arial" panose="020B0604020202020204" pitchFamily="34" charset="0"/>
              </a:endParaRPr>
            </a:p>
          </p:txBody>
        </p:sp>
        <p:sp>
          <p:nvSpPr>
            <p:cNvPr id="19" name="稻壳儿小白白(http://dwz.cn/Wu2UP)"/>
            <p:cNvSpPr>
              <a:spLocks noEditPoints="1"/>
            </p:cNvSpPr>
            <p:nvPr/>
          </p:nvSpPr>
          <p:spPr bwMode="auto">
            <a:xfrm>
              <a:off x="6407439" y="5291497"/>
              <a:ext cx="398752" cy="362880"/>
            </a:xfrm>
            <a:custGeom>
              <a:avLst/>
              <a:gdLst>
                <a:gd name="T0" fmla="*/ 872 w 929"/>
                <a:gd name="T1" fmla="*/ 232 h 850"/>
                <a:gd name="T2" fmla="*/ 814 w 929"/>
                <a:gd name="T3" fmla="*/ 177 h 850"/>
                <a:gd name="T4" fmla="*/ 512 w 929"/>
                <a:gd name="T5" fmla="*/ 491 h 850"/>
                <a:gd name="T6" fmla="*/ 484 w 929"/>
                <a:gd name="T7" fmla="*/ 504 h 850"/>
                <a:gd name="T8" fmla="*/ 484 w 929"/>
                <a:gd name="T9" fmla="*/ 504 h 850"/>
                <a:gd name="T10" fmla="*/ 455 w 929"/>
                <a:gd name="T11" fmla="*/ 491 h 850"/>
                <a:gd name="T12" fmla="*/ 297 w 929"/>
                <a:gd name="T13" fmla="*/ 328 h 850"/>
                <a:gd name="T14" fmla="*/ 73 w 929"/>
                <a:gd name="T15" fmla="*/ 564 h 850"/>
                <a:gd name="T16" fmla="*/ 44 w 929"/>
                <a:gd name="T17" fmla="*/ 577 h 850"/>
                <a:gd name="T18" fmla="*/ 17 w 929"/>
                <a:gd name="T19" fmla="*/ 566 h 850"/>
                <a:gd name="T20" fmla="*/ 15 w 929"/>
                <a:gd name="T21" fmla="*/ 509 h 850"/>
                <a:gd name="T22" fmla="*/ 268 w 929"/>
                <a:gd name="T23" fmla="*/ 243 h 850"/>
                <a:gd name="T24" fmla="*/ 297 w 929"/>
                <a:gd name="T25" fmla="*/ 231 h 850"/>
                <a:gd name="T26" fmla="*/ 297 w 929"/>
                <a:gd name="T27" fmla="*/ 231 h 850"/>
                <a:gd name="T28" fmla="*/ 326 w 929"/>
                <a:gd name="T29" fmla="*/ 243 h 850"/>
                <a:gd name="T30" fmla="*/ 484 w 929"/>
                <a:gd name="T31" fmla="*/ 406 h 850"/>
                <a:gd name="T32" fmla="*/ 757 w 929"/>
                <a:gd name="T33" fmla="*/ 122 h 850"/>
                <a:gd name="T34" fmla="*/ 699 w 929"/>
                <a:gd name="T35" fmla="*/ 67 h 850"/>
                <a:gd name="T36" fmla="*/ 929 w 929"/>
                <a:gd name="T37" fmla="*/ 0 h 850"/>
                <a:gd name="T38" fmla="*/ 872 w 929"/>
                <a:gd name="T39" fmla="*/ 232 h 850"/>
                <a:gd name="T40" fmla="*/ 44 w 929"/>
                <a:gd name="T41" fmla="*/ 630 h 850"/>
                <a:gd name="T42" fmla="*/ 18 w 929"/>
                <a:gd name="T43" fmla="*/ 626 h 850"/>
                <a:gd name="T44" fmla="*/ 18 w 929"/>
                <a:gd name="T45" fmla="*/ 850 h 850"/>
                <a:gd name="T46" fmla="*/ 138 w 929"/>
                <a:gd name="T47" fmla="*/ 850 h 850"/>
                <a:gd name="T48" fmla="*/ 138 w 929"/>
                <a:gd name="T49" fmla="*/ 574 h 850"/>
                <a:gd name="T50" fmla="*/ 112 w 929"/>
                <a:gd name="T51" fmla="*/ 601 h 850"/>
                <a:gd name="T52" fmla="*/ 44 w 929"/>
                <a:gd name="T53" fmla="*/ 630 h 850"/>
                <a:gd name="T54" fmla="*/ 164 w 929"/>
                <a:gd name="T55" fmla="*/ 850 h 850"/>
                <a:gd name="T56" fmla="*/ 284 w 929"/>
                <a:gd name="T57" fmla="*/ 850 h 850"/>
                <a:gd name="T58" fmla="*/ 284 w 929"/>
                <a:gd name="T59" fmla="*/ 420 h 850"/>
                <a:gd name="T60" fmla="*/ 164 w 929"/>
                <a:gd name="T61" fmla="*/ 546 h 850"/>
                <a:gd name="T62" fmla="*/ 164 w 929"/>
                <a:gd name="T63" fmla="*/ 850 h 850"/>
                <a:gd name="T64" fmla="*/ 417 w 929"/>
                <a:gd name="T65" fmla="*/ 528 h 850"/>
                <a:gd name="T66" fmla="*/ 311 w 929"/>
                <a:gd name="T67" fmla="*/ 418 h 850"/>
                <a:gd name="T68" fmla="*/ 311 w 929"/>
                <a:gd name="T69" fmla="*/ 850 h 850"/>
                <a:gd name="T70" fmla="*/ 430 w 929"/>
                <a:gd name="T71" fmla="*/ 850 h 850"/>
                <a:gd name="T72" fmla="*/ 430 w 929"/>
                <a:gd name="T73" fmla="*/ 540 h 850"/>
                <a:gd name="T74" fmla="*/ 417 w 929"/>
                <a:gd name="T75" fmla="*/ 528 h 850"/>
                <a:gd name="T76" fmla="*/ 484 w 929"/>
                <a:gd name="T77" fmla="*/ 557 h 850"/>
                <a:gd name="T78" fmla="*/ 457 w 929"/>
                <a:gd name="T79" fmla="*/ 553 h 850"/>
                <a:gd name="T80" fmla="*/ 457 w 929"/>
                <a:gd name="T81" fmla="*/ 850 h 850"/>
                <a:gd name="T82" fmla="*/ 577 w 929"/>
                <a:gd name="T83" fmla="*/ 850 h 850"/>
                <a:gd name="T84" fmla="*/ 577 w 929"/>
                <a:gd name="T85" fmla="*/ 501 h 850"/>
                <a:gd name="T86" fmla="*/ 551 w 929"/>
                <a:gd name="T87" fmla="*/ 528 h 850"/>
                <a:gd name="T88" fmla="*/ 484 w 929"/>
                <a:gd name="T89" fmla="*/ 557 h 850"/>
                <a:gd name="T90" fmla="*/ 603 w 929"/>
                <a:gd name="T91" fmla="*/ 473 h 850"/>
                <a:gd name="T92" fmla="*/ 603 w 929"/>
                <a:gd name="T93" fmla="*/ 850 h 850"/>
                <a:gd name="T94" fmla="*/ 723 w 929"/>
                <a:gd name="T95" fmla="*/ 850 h 850"/>
                <a:gd name="T96" fmla="*/ 723 w 929"/>
                <a:gd name="T97" fmla="*/ 349 h 850"/>
                <a:gd name="T98" fmla="*/ 603 w 929"/>
                <a:gd name="T99" fmla="*/ 473 h 850"/>
                <a:gd name="T100" fmla="*/ 816 w 929"/>
                <a:gd name="T101" fmla="*/ 252 h 850"/>
                <a:gd name="T102" fmla="*/ 750 w 929"/>
                <a:gd name="T103" fmla="*/ 321 h 850"/>
                <a:gd name="T104" fmla="*/ 750 w 929"/>
                <a:gd name="T105" fmla="*/ 850 h 850"/>
                <a:gd name="T106" fmla="*/ 870 w 929"/>
                <a:gd name="T107" fmla="*/ 850 h 850"/>
                <a:gd name="T108" fmla="*/ 870 w 929"/>
                <a:gd name="T109" fmla="*/ 304 h 850"/>
                <a:gd name="T110" fmla="*/ 816 w 929"/>
                <a:gd name="T111" fmla="*/ 252 h 850"/>
                <a:gd name="T112" fmla="*/ 816 w 929"/>
                <a:gd name="T113" fmla="*/ 252 h 850"/>
                <a:gd name="T114" fmla="*/ 816 w 929"/>
                <a:gd name="T115" fmla="*/ 252 h 85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29"/>
                <a:gd name="T175" fmla="*/ 0 h 850"/>
                <a:gd name="T176" fmla="*/ 929 w 929"/>
                <a:gd name="T177" fmla="*/ 850 h 85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29" h="850">
                  <a:moveTo>
                    <a:pt x="872" y="232"/>
                  </a:moveTo>
                  <a:cubicBezTo>
                    <a:pt x="814" y="177"/>
                    <a:pt x="814" y="177"/>
                    <a:pt x="814" y="177"/>
                  </a:cubicBezTo>
                  <a:cubicBezTo>
                    <a:pt x="512" y="491"/>
                    <a:pt x="512" y="491"/>
                    <a:pt x="512" y="491"/>
                  </a:cubicBezTo>
                  <a:cubicBezTo>
                    <a:pt x="505" y="499"/>
                    <a:pt x="494" y="504"/>
                    <a:pt x="484" y="504"/>
                  </a:cubicBezTo>
                  <a:cubicBezTo>
                    <a:pt x="484" y="504"/>
                    <a:pt x="484" y="504"/>
                    <a:pt x="484" y="504"/>
                  </a:cubicBezTo>
                  <a:cubicBezTo>
                    <a:pt x="473" y="504"/>
                    <a:pt x="462" y="499"/>
                    <a:pt x="455" y="491"/>
                  </a:cubicBezTo>
                  <a:cubicBezTo>
                    <a:pt x="297" y="328"/>
                    <a:pt x="297" y="328"/>
                    <a:pt x="297" y="328"/>
                  </a:cubicBezTo>
                  <a:cubicBezTo>
                    <a:pt x="73" y="564"/>
                    <a:pt x="73" y="564"/>
                    <a:pt x="73" y="564"/>
                  </a:cubicBezTo>
                  <a:cubicBezTo>
                    <a:pt x="65" y="573"/>
                    <a:pt x="55" y="577"/>
                    <a:pt x="44" y="577"/>
                  </a:cubicBezTo>
                  <a:cubicBezTo>
                    <a:pt x="34" y="577"/>
                    <a:pt x="25" y="573"/>
                    <a:pt x="17" y="566"/>
                  </a:cubicBezTo>
                  <a:cubicBezTo>
                    <a:pt x="1" y="551"/>
                    <a:pt x="0" y="525"/>
                    <a:pt x="15" y="509"/>
                  </a:cubicBezTo>
                  <a:cubicBezTo>
                    <a:pt x="268" y="243"/>
                    <a:pt x="268" y="243"/>
                    <a:pt x="268" y="243"/>
                  </a:cubicBezTo>
                  <a:cubicBezTo>
                    <a:pt x="276" y="235"/>
                    <a:pt x="286" y="231"/>
                    <a:pt x="297" y="231"/>
                  </a:cubicBezTo>
                  <a:cubicBezTo>
                    <a:pt x="297" y="231"/>
                    <a:pt x="297" y="231"/>
                    <a:pt x="297" y="231"/>
                  </a:cubicBezTo>
                  <a:cubicBezTo>
                    <a:pt x="308" y="231"/>
                    <a:pt x="318" y="235"/>
                    <a:pt x="326" y="243"/>
                  </a:cubicBezTo>
                  <a:cubicBezTo>
                    <a:pt x="484" y="406"/>
                    <a:pt x="484" y="406"/>
                    <a:pt x="484" y="406"/>
                  </a:cubicBezTo>
                  <a:cubicBezTo>
                    <a:pt x="757" y="122"/>
                    <a:pt x="757" y="122"/>
                    <a:pt x="757" y="122"/>
                  </a:cubicBezTo>
                  <a:cubicBezTo>
                    <a:pt x="699" y="67"/>
                    <a:pt x="699" y="67"/>
                    <a:pt x="699" y="67"/>
                  </a:cubicBezTo>
                  <a:cubicBezTo>
                    <a:pt x="929" y="0"/>
                    <a:pt x="929" y="0"/>
                    <a:pt x="929" y="0"/>
                  </a:cubicBezTo>
                  <a:lnTo>
                    <a:pt x="872" y="232"/>
                  </a:lnTo>
                  <a:close/>
                  <a:moveTo>
                    <a:pt x="44" y="630"/>
                  </a:moveTo>
                  <a:cubicBezTo>
                    <a:pt x="35" y="630"/>
                    <a:pt x="26" y="629"/>
                    <a:pt x="18" y="626"/>
                  </a:cubicBezTo>
                  <a:cubicBezTo>
                    <a:pt x="18" y="850"/>
                    <a:pt x="18" y="850"/>
                    <a:pt x="18" y="850"/>
                  </a:cubicBezTo>
                  <a:cubicBezTo>
                    <a:pt x="138" y="850"/>
                    <a:pt x="138" y="850"/>
                    <a:pt x="138" y="850"/>
                  </a:cubicBezTo>
                  <a:cubicBezTo>
                    <a:pt x="138" y="574"/>
                    <a:pt x="138" y="574"/>
                    <a:pt x="138" y="574"/>
                  </a:cubicBezTo>
                  <a:cubicBezTo>
                    <a:pt x="112" y="601"/>
                    <a:pt x="112" y="601"/>
                    <a:pt x="112" y="601"/>
                  </a:cubicBezTo>
                  <a:cubicBezTo>
                    <a:pt x="94" y="619"/>
                    <a:pt x="70" y="630"/>
                    <a:pt x="44" y="630"/>
                  </a:cubicBezTo>
                  <a:close/>
                  <a:moveTo>
                    <a:pt x="164" y="850"/>
                  </a:moveTo>
                  <a:cubicBezTo>
                    <a:pt x="284" y="850"/>
                    <a:pt x="284" y="850"/>
                    <a:pt x="284" y="850"/>
                  </a:cubicBezTo>
                  <a:cubicBezTo>
                    <a:pt x="284" y="420"/>
                    <a:pt x="284" y="420"/>
                    <a:pt x="284" y="420"/>
                  </a:cubicBezTo>
                  <a:cubicBezTo>
                    <a:pt x="164" y="546"/>
                    <a:pt x="164" y="546"/>
                    <a:pt x="164" y="546"/>
                  </a:cubicBezTo>
                  <a:lnTo>
                    <a:pt x="164" y="850"/>
                  </a:lnTo>
                  <a:close/>
                  <a:moveTo>
                    <a:pt x="417" y="528"/>
                  </a:moveTo>
                  <a:cubicBezTo>
                    <a:pt x="311" y="418"/>
                    <a:pt x="311" y="418"/>
                    <a:pt x="311" y="418"/>
                  </a:cubicBezTo>
                  <a:cubicBezTo>
                    <a:pt x="311" y="850"/>
                    <a:pt x="311" y="850"/>
                    <a:pt x="311" y="850"/>
                  </a:cubicBezTo>
                  <a:cubicBezTo>
                    <a:pt x="430" y="850"/>
                    <a:pt x="430" y="850"/>
                    <a:pt x="430" y="850"/>
                  </a:cubicBezTo>
                  <a:cubicBezTo>
                    <a:pt x="430" y="540"/>
                    <a:pt x="430" y="540"/>
                    <a:pt x="430" y="540"/>
                  </a:cubicBezTo>
                  <a:cubicBezTo>
                    <a:pt x="425" y="537"/>
                    <a:pt x="421" y="533"/>
                    <a:pt x="417" y="528"/>
                  </a:cubicBezTo>
                  <a:close/>
                  <a:moveTo>
                    <a:pt x="484" y="557"/>
                  </a:moveTo>
                  <a:cubicBezTo>
                    <a:pt x="474" y="557"/>
                    <a:pt x="466" y="555"/>
                    <a:pt x="457" y="553"/>
                  </a:cubicBezTo>
                  <a:cubicBezTo>
                    <a:pt x="457" y="850"/>
                    <a:pt x="457" y="850"/>
                    <a:pt x="457" y="850"/>
                  </a:cubicBezTo>
                  <a:cubicBezTo>
                    <a:pt x="577" y="850"/>
                    <a:pt x="577" y="850"/>
                    <a:pt x="577" y="850"/>
                  </a:cubicBezTo>
                  <a:cubicBezTo>
                    <a:pt x="577" y="501"/>
                    <a:pt x="577" y="501"/>
                    <a:pt x="577" y="501"/>
                  </a:cubicBezTo>
                  <a:cubicBezTo>
                    <a:pt x="551" y="528"/>
                    <a:pt x="551" y="528"/>
                    <a:pt x="551" y="528"/>
                  </a:cubicBezTo>
                  <a:cubicBezTo>
                    <a:pt x="533" y="546"/>
                    <a:pt x="509" y="557"/>
                    <a:pt x="484" y="557"/>
                  </a:cubicBezTo>
                  <a:close/>
                  <a:moveTo>
                    <a:pt x="603" y="473"/>
                  </a:moveTo>
                  <a:cubicBezTo>
                    <a:pt x="603" y="850"/>
                    <a:pt x="603" y="850"/>
                    <a:pt x="603" y="850"/>
                  </a:cubicBezTo>
                  <a:cubicBezTo>
                    <a:pt x="723" y="850"/>
                    <a:pt x="723" y="850"/>
                    <a:pt x="723" y="850"/>
                  </a:cubicBezTo>
                  <a:cubicBezTo>
                    <a:pt x="723" y="349"/>
                    <a:pt x="723" y="349"/>
                    <a:pt x="723" y="349"/>
                  </a:cubicBezTo>
                  <a:lnTo>
                    <a:pt x="603" y="473"/>
                  </a:lnTo>
                  <a:close/>
                  <a:moveTo>
                    <a:pt x="816" y="252"/>
                  </a:moveTo>
                  <a:cubicBezTo>
                    <a:pt x="750" y="321"/>
                    <a:pt x="750" y="321"/>
                    <a:pt x="750" y="321"/>
                  </a:cubicBezTo>
                  <a:cubicBezTo>
                    <a:pt x="750" y="850"/>
                    <a:pt x="750" y="850"/>
                    <a:pt x="750" y="850"/>
                  </a:cubicBezTo>
                  <a:cubicBezTo>
                    <a:pt x="870" y="850"/>
                    <a:pt x="870" y="850"/>
                    <a:pt x="870" y="850"/>
                  </a:cubicBezTo>
                  <a:cubicBezTo>
                    <a:pt x="870" y="304"/>
                    <a:pt x="870" y="304"/>
                    <a:pt x="870" y="304"/>
                  </a:cubicBezTo>
                  <a:lnTo>
                    <a:pt x="816" y="252"/>
                  </a:lnTo>
                  <a:close/>
                  <a:moveTo>
                    <a:pt x="816" y="252"/>
                  </a:moveTo>
                  <a:cubicBezTo>
                    <a:pt x="816" y="252"/>
                    <a:pt x="816" y="252"/>
                    <a:pt x="816" y="252"/>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Arial" panose="020B0604020202020204" pitchFamily="34" charset="0"/>
                  <a:ea typeface="微软雅黑" panose="020B0503020204020204" charset="-122"/>
                </a:defRPr>
              </a:lvl1pPr>
              <a:lvl2pPr marL="742950" indent="-285750">
                <a:defRPr>
                  <a:solidFill>
                    <a:schemeClr val="tx1"/>
                  </a:solidFill>
                  <a:latin typeface="Arial" panose="020B0604020202020204" pitchFamily="34" charset="0"/>
                  <a:ea typeface="微软雅黑" panose="020B0503020204020204" charset="-122"/>
                </a:defRPr>
              </a:lvl2pPr>
              <a:lvl3pPr marL="1143000" indent="-228600">
                <a:defRPr>
                  <a:solidFill>
                    <a:schemeClr val="tx1"/>
                  </a:solidFill>
                  <a:latin typeface="Arial" panose="020B0604020202020204" pitchFamily="34" charset="0"/>
                  <a:ea typeface="微软雅黑" panose="020B0503020204020204" charset="-122"/>
                </a:defRPr>
              </a:lvl3pPr>
              <a:lvl4pPr marL="1600200" indent="-228600">
                <a:defRPr>
                  <a:solidFill>
                    <a:schemeClr val="tx1"/>
                  </a:solidFill>
                  <a:latin typeface="Arial" panose="020B0604020202020204" pitchFamily="34" charset="0"/>
                  <a:ea typeface="微软雅黑" panose="020B0503020204020204" charset="-122"/>
                </a:defRPr>
              </a:lvl4pPr>
              <a:lvl5pPr marL="2057400" indent="-228600">
                <a:defRPr>
                  <a:solidFill>
                    <a:schemeClr val="tx1"/>
                  </a:solidFill>
                  <a:latin typeface="Arial" panose="020B0604020202020204" pitchFamily="34" charset="0"/>
                  <a:ea typeface="微软雅黑" panose="020B0503020204020204"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445469"/>
                </a:solidFill>
                <a:effectLst/>
                <a:uLnTx/>
                <a:uFillTx/>
                <a:latin typeface="Arial" panose="020B0604020202020204" pitchFamily="34" charset="0"/>
                <a:ea typeface="微软雅黑" panose="020B0503020204020204" charset="-122"/>
                <a:cs typeface="+mn-cs"/>
              </a:endParaRPr>
            </a:p>
          </p:txBody>
        </p:sp>
        <p:sp>
          <p:nvSpPr>
            <p:cNvPr id="29" name="稻壳儿小白白(http://dwz.cn/Wu2UP)"/>
            <p:cNvSpPr txBox="1">
              <a:spLocks noChangeArrowheads="1"/>
            </p:cNvSpPr>
            <p:nvPr/>
          </p:nvSpPr>
          <p:spPr bwMode="auto">
            <a:xfrm>
              <a:off x="7119400" y="5197673"/>
              <a:ext cx="1869585" cy="337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1216025">
                <a:defRPr>
                  <a:solidFill>
                    <a:schemeClr val="tx1"/>
                  </a:solidFill>
                  <a:latin typeface="Arial" panose="020B0604020202020204" pitchFamily="34" charset="0"/>
                  <a:ea typeface="微软雅黑" panose="020B0503020204020204" charset="-122"/>
                </a:defRPr>
              </a:lvl1pPr>
              <a:lvl2pPr marL="742950" indent="-285750" defTabSz="1216025">
                <a:defRPr>
                  <a:solidFill>
                    <a:schemeClr val="tx1"/>
                  </a:solidFill>
                  <a:latin typeface="Arial" panose="020B0604020202020204" pitchFamily="34" charset="0"/>
                  <a:ea typeface="微软雅黑" panose="020B0503020204020204" charset="-122"/>
                </a:defRPr>
              </a:lvl2pPr>
              <a:lvl3pPr marL="1143000" indent="-228600" defTabSz="1216025">
                <a:defRPr>
                  <a:solidFill>
                    <a:schemeClr val="tx1"/>
                  </a:solidFill>
                  <a:latin typeface="Arial" panose="020B0604020202020204" pitchFamily="34" charset="0"/>
                  <a:ea typeface="微软雅黑" panose="020B0503020204020204" charset="-122"/>
                </a:defRPr>
              </a:lvl3pPr>
              <a:lvl4pPr marL="1600200" indent="-228600" defTabSz="1216025">
                <a:defRPr>
                  <a:solidFill>
                    <a:schemeClr val="tx1"/>
                  </a:solidFill>
                  <a:latin typeface="Arial" panose="020B0604020202020204" pitchFamily="34" charset="0"/>
                  <a:ea typeface="微软雅黑" panose="020B0503020204020204" charset="-122"/>
                </a:defRPr>
              </a:lvl4pPr>
              <a:lvl5pPr marL="2057400" indent="-228600" defTabSz="1216025">
                <a:defRPr>
                  <a:solidFill>
                    <a:schemeClr val="tx1"/>
                  </a:solidFill>
                  <a:latin typeface="Arial" panose="020B0604020202020204" pitchFamily="34" charset="0"/>
                  <a:ea typeface="微软雅黑" panose="020B0503020204020204" charset="-122"/>
                </a:defRPr>
              </a:lvl5pPr>
              <a:lvl6pPr marL="2514600" indent="-228600" defTabSz="1216025"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6pPr>
              <a:lvl7pPr marL="2971800" indent="-228600" defTabSz="1216025"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7pPr>
              <a:lvl8pPr marL="3429000" indent="-228600" defTabSz="1216025"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8pPr>
              <a:lvl9pPr marL="3886200" indent="-228600" defTabSz="1216025"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charset="-122"/>
                </a:defRPr>
              </a:lvl9pPr>
            </a:lstStyle>
            <a:p>
              <a:pPr lvl="0" defTabSz="1218565" latinLnBrk="1"/>
              <a:r>
                <a:rPr lang="zh-CN" altLang="ko-KR" sz="1600" b="1" kern="300" spc="300" dirty="0">
                  <a:solidFill>
                    <a:prstClr val="black">
                      <a:lumMod val="75000"/>
                      <a:lumOff val="25000"/>
                    </a:prstClr>
                  </a:solidFill>
                  <a:latin typeface="微软雅黑 Light" panose="020B0502040204020203" pitchFamily="34" charset="-122"/>
                  <a:ea typeface="宋体" panose="02010600030101010101" pitchFamily="2" charset="-122"/>
                  <a:cs typeface="Arial" panose="020B0604020202020204" pitchFamily="34" charset="0"/>
                </a:rPr>
                <a:t>页面优化</a:t>
              </a:r>
              <a:endParaRPr lang="zh-CN" altLang="ko-KR" sz="1600" b="1" kern="300" spc="300" dirty="0">
                <a:solidFill>
                  <a:prstClr val="black">
                    <a:lumMod val="75000"/>
                    <a:lumOff val="25000"/>
                  </a:prstClr>
                </a:solidFill>
                <a:latin typeface="微软雅黑 Light" panose="020B0502040204020203" pitchFamily="34" charset="-122"/>
                <a:ea typeface="宋体" panose="02010600030101010101" pitchFamily="2" charset="-122"/>
                <a:cs typeface="Arial" panose="020B0604020202020204" pitchFamily="34" charset="0"/>
              </a:endParaRPr>
            </a:p>
          </p:txBody>
        </p:sp>
      </p:gr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4" fill="hold"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heel(4)">
                                      <p:cBhvr>
                                        <p:cTn id="7" dur="1000"/>
                                        <p:tgtEl>
                                          <p:spTgt spid="36"/>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37"/>
                                        </p:tgtEl>
                                        <p:attrNameLst>
                                          <p:attrName>style.visibility</p:attrName>
                                        </p:attrNameLst>
                                      </p:cBhvr>
                                      <p:to>
                                        <p:strVal val="visible"/>
                                      </p:to>
                                    </p:set>
                                    <p:animEffect transition="in" filter="wipe(left)">
                                      <p:cBhvr>
                                        <p:cTn id="11" dur="500"/>
                                        <p:tgtEl>
                                          <p:spTgt spid="37"/>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38"/>
                                        </p:tgtEl>
                                        <p:attrNameLst>
                                          <p:attrName>style.visibility</p:attrName>
                                        </p:attrNameLst>
                                      </p:cBhvr>
                                      <p:to>
                                        <p:strVal val="visible"/>
                                      </p:to>
                                    </p:set>
                                    <p:animEffect transition="in" filter="fade">
                                      <p:cBhvr>
                                        <p:cTn id="15" dur="500"/>
                                        <p:tgtEl>
                                          <p:spTgt spid="38"/>
                                        </p:tgtEl>
                                      </p:cBhvr>
                                    </p:animEffect>
                                  </p:childTnLst>
                                </p:cTn>
                              </p:par>
                            </p:childTnLst>
                          </p:cTn>
                        </p:par>
                        <p:par>
                          <p:cTn id="16" fill="hold">
                            <p:stCondLst>
                              <p:cond delay="2000"/>
                            </p:stCondLst>
                            <p:childTnLst>
                              <p:par>
                                <p:cTn id="17" presetID="10" presetClass="entr" presetSubtype="0" fill="hold" nodeType="after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childTnLst>
                          </p:cTn>
                        </p:par>
                        <p:par>
                          <p:cTn id="20" fill="hold">
                            <p:stCondLst>
                              <p:cond delay="2500"/>
                            </p:stCondLst>
                            <p:childTnLst>
                              <p:par>
                                <p:cTn id="21" presetID="10" presetClass="entr" presetSubtype="0" fill="hold" nodeType="afterEffect">
                                  <p:stCondLst>
                                    <p:cond delay="0"/>
                                  </p:stCondLst>
                                  <p:childTnLst>
                                    <p:set>
                                      <p:cBhvr>
                                        <p:cTn id="22" dur="1" fill="hold">
                                          <p:stCondLst>
                                            <p:cond delay="0"/>
                                          </p:stCondLst>
                                        </p:cTn>
                                        <p:tgtEl>
                                          <p:spTgt spid="40"/>
                                        </p:tgtEl>
                                        <p:attrNameLst>
                                          <p:attrName>style.visibility</p:attrName>
                                        </p:attrNameLst>
                                      </p:cBhvr>
                                      <p:to>
                                        <p:strVal val="visible"/>
                                      </p:to>
                                    </p:set>
                                    <p:animEffect transition="in" filter="fade">
                                      <p:cBhvr>
                                        <p:cTn id="23" dur="500"/>
                                        <p:tgtEl>
                                          <p:spTgt spid="40"/>
                                        </p:tgtEl>
                                      </p:cBhvr>
                                    </p:animEffect>
                                  </p:childTnLst>
                                </p:cTn>
                              </p:par>
                            </p:childTnLst>
                          </p:cTn>
                        </p:par>
                        <p:par>
                          <p:cTn id="24" fill="hold">
                            <p:stCondLst>
                              <p:cond delay="3000"/>
                            </p:stCondLst>
                            <p:childTnLst>
                              <p:par>
                                <p:cTn id="25" presetID="10" presetClass="entr" presetSubtype="0" fill="hold" nodeType="afterEffect">
                                  <p:stCondLst>
                                    <p:cond delay="0"/>
                                  </p:stCondLst>
                                  <p:childTnLst>
                                    <p:set>
                                      <p:cBhvr>
                                        <p:cTn id="26" dur="1" fill="hold">
                                          <p:stCondLst>
                                            <p:cond delay="0"/>
                                          </p:stCondLst>
                                        </p:cTn>
                                        <p:tgtEl>
                                          <p:spTgt spid="41"/>
                                        </p:tgtEl>
                                        <p:attrNameLst>
                                          <p:attrName>style.visibility</p:attrName>
                                        </p:attrNameLst>
                                      </p:cBhvr>
                                      <p:to>
                                        <p:strVal val="visible"/>
                                      </p:to>
                                    </p:set>
                                    <p:animEffect transition="in" filter="fade">
                                      <p:cBhvr>
                                        <p:cTn id="27"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custDataLst>
              <p:tags r:id="rId1"/>
            </p:custDataLst>
          </p:nvPr>
        </p:nvSpPr>
        <p:spPr>
          <a:xfrm>
            <a:off x="1524000" y="857250"/>
            <a:ext cx="9144900" cy="5143500"/>
          </a:xfrm>
          <a:prstGeom prst="rect">
            <a:avLst/>
          </a:prstGeom>
          <a:pattFill prst="dkUpDiag">
            <a:fgClr>
              <a:schemeClr val="bg1"/>
            </a:fgClr>
            <a:bgClr>
              <a:schemeClr val="bg1">
                <a:lumMod val="9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200" b="1" dirty="0">
              <a:solidFill>
                <a:schemeClr val="bg1"/>
              </a:solidFill>
              <a:latin typeface="+mn-ea"/>
            </a:endParaRPr>
          </a:p>
        </p:txBody>
      </p:sp>
      <p:sp>
        <p:nvSpPr>
          <p:cNvPr id="12" name="任意多边形: 形状 11"/>
          <p:cNvSpPr/>
          <p:nvPr>
            <p:custDataLst>
              <p:tags r:id="rId2"/>
            </p:custDataLst>
          </p:nvPr>
        </p:nvSpPr>
        <p:spPr>
          <a:xfrm>
            <a:off x="1523999" y="857250"/>
            <a:ext cx="2196812" cy="2237874"/>
          </a:xfrm>
          <a:custGeom>
            <a:avLst/>
            <a:gdLst>
              <a:gd name="connsiteX0" fmla="*/ 1450664 w 2717800"/>
              <a:gd name="connsiteY0" fmla="*/ 0 h 2768600"/>
              <a:gd name="connsiteX1" fmla="*/ 2693901 w 2717800"/>
              <a:gd name="connsiteY1" fmla="*/ 0 h 2768600"/>
              <a:gd name="connsiteX2" fmla="*/ 2705178 w 2717800"/>
              <a:gd name="connsiteY2" fmla="*/ 73889 h 2768600"/>
              <a:gd name="connsiteX3" fmla="*/ 2717800 w 2717800"/>
              <a:gd name="connsiteY3" fmla="*/ 323850 h 2768600"/>
              <a:gd name="connsiteX4" fmla="*/ 273050 w 2717800"/>
              <a:gd name="connsiteY4" fmla="*/ 2768600 h 2768600"/>
              <a:gd name="connsiteX5" fmla="*/ 23089 w 2717800"/>
              <a:gd name="connsiteY5" fmla="*/ 2755978 h 2768600"/>
              <a:gd name="connsiteX6" fmla="*/ 0 w 2717800"/>
              <a:gd name="connsiteY6" fmla="*/ 2752454 h 2768600"/>
              <a:gd name="connsiteX7" fmla="*/ 0 w 2717800"/>
              <a:gd name="connsiteY7" fmla="*/ 1514526 h 2768600"/>
              <a:gd name="connsiteX8" fmla="*/ 26699 w 2717800"/>
              <a:gd name="connsiteY8" fmla="*/ 1521391 h 2768600"/>
              <a:gd name="connsiteX9" fmla="*/ 273050 w 2717800"/>
              <a:gd name="connsiteY9" fmla="*/ 1546225 h 2768600"/>
              <a:gd name="connsiteX10" fmla="*/ 1495425 w 2717800"/>
              <a:gd name="connsiteY10" fmla="*/ 323850 h 2768600"/>
              <a:gd name="connsiteX11" fmla="*/ 1470591 w 2717800"/>
              <a:gd name="connsiteY11" fmla="*/ 77499 h 276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17800" h="2768600">
                <a:moveTo>
                  <a:pt x="1450664" y="0"/>
                </a:moveTo>
                <a:lnTo>
                  <a:pt x="2693901" y="0"/>
                </a:lnTo>
                <a:lnTo>
                  <a:pt x="2705178" y="73889"/>
                </a:lnTo>
                <a:cubicBezTo>
                  <a:pt x="2713524" y="156074"/>
                  <a:pt x="2717800" y="239463"/>
                  <a:pt x="2717800" y="323850"/>
                </a:cubicBezTo>
                <a:cubicBezTo>
                  <a:pt x="2717800" y="1674048"/>
                  <a:pt x="1623248" y="2768600"/>
                  <a:pt x="273050" y="2768600"/>
                </a:cubicBezTo>
                <a:cubicBezTo>
                  <a:pt x="188663" y="2768600"/>
                  <a:pt x="105274" y="2764325"/>
                  <a:pt x="23089" y="2755978"/>
                </a:cubicBezTo>
                <a:lnTo>
                  <a:pt x="0" y="2752454"/>
                </a:lnTo>
                <a:lnTo>
                  <a:pt x="0" y="1514526"/>
                </a:lnTo>
                <a:lnTo>
                  <a:pt x="26699" y="1521391"/>
                </a:lnTo>
                <a:cubicBezTo>
                  <a:pt x="106273" y="1537674"/>
                  <a:pt x="188663" y="1546225"/>
                  <a:pt x="273050" y="1546225"/>
                </a:cubicBezTo>
                <a:cubicBezTo>
                  <a:pt x="948149" y="1546225"/>
                  <a:pt x="1495425" y="998949"/>
                  <a:pt x="1495425" y="323850"/>
                </a:cubicBezTo>
                <a:cubicBezTo>
                  <a:pt x="1495425" y="239463"/>
                  <a:pt x="1486874" y="157073"/>
                  <a:pt x="1470591" y="77499"/>
                </a:cubicBez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200" b="1">
              <a:solidFill>
                <a:schemeClr val="bg1"/>
              </a:solidFill>
              <a:latin typeface="+mn-ea"/>
            </a:endParaRPr>
          </a:p>
        </p:txBody>
      </p:sp>
      <p:sp>
        <p:nvSpPr>
          <p:cNvPr id="13" name="圆: 空心 12"/>
          <p:cNvSpPr/>
          <p:nvPr>
            <p:custDataLst>
              <p:tags r:id="rId3"/>
            </p:custDataLst>
          </p:nvPr>
        </p:nvSpPr>
        <p:spPr>
          <a:xfrm>
            <a:off x="8983078" y="4765354"/>
            <a:ext cx="902870" cy="902870"/>
          </a:xfrm>
          <a:prstGeom prst="donu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200" b="1">
              <a:solidFill>
                <a:schemeClr val="bg1"/>
              </a:solidFill>
              <a:latin typeface="+mn-ea"/>
            </a:endParaRPr>
          </a:p>
        </p:txBody>
      </p:sp>
      <p:sp>
        <p:nvSpPr>
          <p:cNvPr id="7" name="矩形 6"/>
          <p:cNvSpPr/>
          <p:nvPr>
            <p:custDataLst>
              <p:tags r:id="rId4"/>
            </p:custDataLst>
          </p:nvPr>
        </p:nvSpPr>
        <p:spPr>
          <a:xfrm>
            <a:off x="2253615" y="1031240"/>
            <a:ext cx="8324850" cy="5282565"/>
          </a:xfrm>
          <a:prstGeom prst="rect">
            <a:avLst/>
          </a:prstGeom>
          <a:no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fontAlgn="base"/>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2" name="文本框 1"/>
          <p:cNvSpPr txBox="1"/>
          <p:nvPr>
            <p:custDataLst>
              <p:tags r:id="rId5"/>
            </p:custDataLst>
          </p:nvPr>
        </p:nvSpPr>
        <p:spPr>
          <a:xfrm>
            <a:off x="2488565" y="1198880"/>
            <a:ext cx="6799580" cy="4947285"/>
          </a:xfrm>
          <a:prstGeom prst="rect">
            <a:avLst/>
          </a:prstGeom>
          <a:noFill/>
        </p:spPr>
        <p:txBody>
          <a:bodyPr wrap="square" lIns="76200" tIns="0" rIns="61912" bIns="0" rtlCol="0">
            <a:noAutofit/>
            <a:scene3d>
              <a:camera prst="orthographicFront"/>
              <a:lightRig rig="threePt" dir="t"/>
            </a:scene3d>
          </a:bodyPr>
          <a:lstStyle>
            <a:defPPr>
              <a:defRPr lang="zh-CN"/>
            </a:defPPr>
            <a:lvl1pPr fontAlgn="auto">
              <a:lnSpc>
                <a:spcPct val="130000"/>
              </a:lnSpc>
              <a:spcAft>
                <a:spcPts val="1000"/>
              </a:spcAft>
              <a:defRPr sz="1600" spc="150"/>
            </a:lvl1pPr>
          </a:lstStyle>
          <a:p>
            <a:pPr marL="360045" indent="-360045" fontAlgn="ctr">
              <a:spcBef>
                <a:spcPts val="1000"/>
              </a:spcBef>
              <a:spcAft>
                <a:spcPts val="0"/>
              </a:spcAft>
              <a:buClr>
                <a:schemeClr val="tx2">
                  <a:lumMod val="60000"/>
                  <a:lumOff val="40000"/>
                </a:schemeClr>
              </a:buClr>
              <a:buSzPct val="100000"/>
              <a:buFont typeface="WPS-Bullets" pitchFamily="2" charset="0"/>
              <a:buChar char=""/>
            </a:pPr>
            <a:r>
              <a:rPr lang="zh-CN" altLang="en-US" sz="2400"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常用颜色</a:t>
            </a:r>
            <a:endParaRPr lang="zh-CN" altLang="en-US" sz="2400" dirty="0">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marL="360045" indent="-360045" fontAlgn="ctr">
              <a:spcBef>
                <a:spcPts val="1000"/>
              </a:spcBef>
              <a:spcAft>
                <a:spcPts val="0"/>
              </a:spcAft>
              <a:buClr>
                <a:schemeClr val="tx2">
                  <a:lumMod val="60000"/>
                  <a:lumOff val="40000"/>
                </a:schemeClr>
              </a:buClr>
              <a:buSzPct val="100000"/>
              <a:buFont typeface="WPS-Bullets" pitchFamily="2" charset="0"/>
              <a:buChar char=""/>
            </a:pPr>
            <a:r>
              <a:rPr lang="zh-CN" altLang="en-US" sz="2400" dirty="0">
                <a:solidFill>
                  <a:srgbClr val="FF0000"/>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f44336  </a:t>
            </a:r>
            <a:r>
              <a:rPr lang="zh-CN" altLang="en-US" sz="2400" dirty="0">
                <a:solidFill>
                  <a:srgbClr val="FF4D75"/>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 #e91e63  </a:t>
            </a:r>
            <a:r>
              <a:rPr lang="zh-CN" altLang="en-US" sz="2400" dirty="0">
                <a:solidFill>
                  <a:srgbClr val="FF0000"/>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 </a:t>
            </a:r>
            <a:r>
              <a:rPr lang="zh-CN" altLang="en-US" sz="2400" dirty="0">
                <a:solidFill>
                  <a:srgbClr val="9443E2"/>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9c27b0 </a:t>
            </a:r>
            <a:endParaRPr lang="zh-CN" altLang="en-US" sz="2400" dirty="0">
              <a:solidFill>
                <a:srgbClr val="9443E2"/>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marL="360045" indent="-360045" fontAlgn="ctr">
              <a:spcBef>
                <a:spcPts val="1000"/>
              </a:spcBef>
              <a:spcAft>
                <a:spcPts val="0"/>
              </a:spcAft>
              <a:buClr>
                <a:schemeClr val="tx2">
                  <a:lumMod val="60000"/>
                  <a:lumOff val="40000"/>
                </a:schemeClr>
              </a:buClr>
              <a:buSzPct val="100000"/>
              <a:buFont typeface="WPS-Bullets" pitchFamily="2" charset="0"/>
              <a:buChar char=""/>
            </a:pPr>
            <a:r>
              <a:rPr lang="zh-CN" altLang="en-US" sz="2400" dirty="0">
                <a:solidFill>
                  <a:srgbClr val="7030A0"/>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673ab7  </a:t>
            </a:r>
            <a:r>
              <a:rPr lang="zh-CN" altLang="en-US" sz="2400" dirty="0">
                <a:solidFill>
                  <a:srgbClr val="0070C0"/>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3f51b5  </a:t>
            </a:r>
            <a:r>
              <a:rPr lang="zh-CN" altLang="en-US" sz="2400" dirty="0">
                <a:solidFill>
                  <a:srgbClr val="00B0F0"/>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  #2196f3</a:t>
            </a:r>
            <a:endParaRPr lang="zh-CN" altLang="en-US" sz="2400" dirty="0">
              <a:solidFill>
                <a:srgbClr val="00B0F0"/>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marL="360045" indent="-360045" fontAlgn="ctr">
              <a:spcBef>
                <a:spcPts val="1000"/>
              </a:spcBef>
              <a:spcAft>
                <a:spcPts val="0"/>
              </a:spcAft>
              <a:buClr>
                <a:schemeClr val="tx2">
                  <a:lumMod val="60000"/>
                  <a:lumOff val="40000"/>
                </a:schemeClr>
              </a:buClr>
              <a:buSzPct val="100000"/>
              <a:buFont typeface="WPS-Bullets" pitchFamily="2" charset="0"/>
              <a:buChar char=""/>
            </a:pPr>
            <a:r>
              <a:rPr lang="zh-CN" altLang="en-US" sz="2400" dirty="0">
                <a:solidFill>
                  <a:srgbClr val="03A9F4"/>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03a9f4</a:t>
            </a:r>
            <a:r>
              <a:rPr lang="zh-CN" altLang="en-US" sz="2400" dirty="0">
                <a:solidFill>
                  <a:srgbClr val="00BCD4"/>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   </a:t>
            </a:r>
            <a:r>
              <a:rPr lang="zh-CN" altLang="en-US" sz="2400" dirty="0">
                <a:solidFill>
                  <a:srgbClr val="00BCD4"/>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sym typeface="+mn-ea"/>
              </a:rPr>
              <a:t>#00bcd4</a:t>
            </a:r>
            <a:r>
              <a:rPr lang="zh-CN" altLang="en-US" sz="2400" dirty="0">
                <a:solidFill>
                  <a:srgbClr val="00BCD4"/>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  </a:t>
            </a:r>
            <a:r>
              <a:rPr lang="zh-CN" altLang="en-US" sz="2400" dirty="0">
                <a:solidFill>
                  <a:srgbClr val="009688"/>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 #009688</a:t>
            </a:r>
            <a:endParaRPr lang="zh-CN" altLang="en-US" sz="2400" dirty="0">
              <a:solidFill>
                <a:srgbClr val="009688"/>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marL="360045" indent="-360045" fontAlgn="ctr">
              <a:spcBef>
                <a:spcPts val="1000"/>
              </a:spcBef>
              <a:spcAft>
                <a:spcPts val="0"/>
              </a:spcAft>
              <a:buClr>
                <a:schemeClr val="tx2">
                  <a:lumMod val="60000"/>
                  <a:lumOff val="40000"/>
                </a:schemeClr>
              </a:buClr>
              <a:buSzPct val="100000"/>
              <a:buFont typeface="WPS-Bullets" pitchFamily="2" charset="0"/>
              <a:buChar char=""/>
            </a:pPr>
            <a:r>
              <a:rPr lang="zh-CN" altLang="en-US" sz="2400" dirty="0">
                <a:solidFill>
                  <a:srgbClr val="4CAF50"/>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4caf50</a:t>
            </a:r>
            <a:r>
              <a:rPr lang="zh-CN" altLang="en-US" sz="2400" dirty="0">
                <a:solidFill>
                  <a:srgbClr val="00BCD4"/>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   </a:t>
            </a:r>
            <a:r>
              <a:rPr lang="zh-CN" altLang="en-US" sz="2400" dirty="0">
                <a:solidFill>
                  <a:srgbClr val="8BC34A"/>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8bc34a </a:t>
            </a:r>
            <a:r>
              <a:rPr lang="zh-CN" altLang="en-US" sz="2400" dirty="0">
                <a:solidFill>
                  <a:srgbClr val="00BCD4"/>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  </a:t>
            </a:r>
            <a:r>
              <a:rPr lang="zh-CN" altLang="en-US" sz="2400" dirty="0">
                <a:solidFill>
                  <a:srgbClr val="CDDC39"/>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cddc39</a:t>
            </a:r>
            <a:endParaRPr lang="zh-CN" altLang="en-US" sz="2400" dirty="0">
              <a:solidFill>
                <a:srgbClr val="00BCD4"/>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marL="360045" indent="-360045" fontAlgn="ctr">
              <a:spcBef>
                <a:spcPts val="1000"/>
              </a:spcBef>
              <a:spcAft>
                <a:spcPts val="0"/>
              </a:spcAft>
              <a:buClr>
                <a:schemeClr val="tx2">
                  <a:lumMod val="60000"/>
                  <a:lumOff val="40000"/>
                </a:schemeClr>
              </a:buClr>
              <a:buSzPct val="100000"/>
              <a:buFont typeface="WPS-Bullets" pitchFamily="2" charset="0"/>
              <a:buChar char=""/>
            </a:pPr>
            <a:r>
              <a:rPr lang="zh-CN" altLang="en-US" sz="2400" dirty="0">
                <a:solidFill>
                  <a:srgbClr val="FFEB3B"/>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ffeb3b</a:t>
            </a:r>
            <a:r>
              <a:rPr lang="zh-CN" altLang="en-US" sz="2400" dirty="0">
                <a:solidFill>
                  <a:srgbClr val="00BCD4"/>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    </a:t>
            </a:r>
            <a:r>
              <a:rPr lang="zh-CN" altLang="en-US" sz="2400" dirty="0">
                <a:solidFill>
                  <a:srgbClr val="FFC107"/>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ffc107</a:t>
            </a:r>
            <a:r>
              <a:rPr lang="zh-CN" altLang="en-US" sz="2400" dirty="0">
                <a:solidFill>
                  <a:srgbClr val="00BCD4"/>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    </a:t>
            </a:r>
            <a:r>
              <a:rPr lang="zh-CN" altLang="en-US" sz="2400" dirty="0">
                <a:solidFill>
                  <a:srgbClr val="FF9800"/>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ff9800</a:t>
            </a:r>
            <a:endParaRPr lang="zh-CN" altLang="en-US" sz="2400" dirty="0">
              <a:solidFill>
                <a:srgbClr val="00BCD4"/>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marL="360045" indent="-360045" fontAlgn="ctr">
              <a:spcBef>
                <a:spcPts val="1000"/>
              </a:spcBef>
              <a:spcAft>
                <a:spcPts val="0"/>
              </a:spcAft>
              <a:buClr>
                <a:schemeClr val="tx2">
                  <a:lumMod val="60000"/>
                  <a:lumOff val="40000"/>
                </a:schemeClr>
              </a:buClr>
              <a:buSzPct val="100000"/>
              <a:buFont typeface="WPS-Bullets" pitchFamily="2" charset="0"/>
              <a:buChar char=""/>
            </a:pPr>
            <a:r>
              <a:rPr lang="zh-CN" altLang="en-US" sz="2400" dirty="0">
                <a:solidFill>
                  <a:srgbClr val="FF5722"/>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ff5722 </a:t>
            </a:r>
            <a:r>
              <a:rPr lang="zh-CN" altLang="en-US" sz="2400" dirty="0">
                <a:solidFill>
                  <a:srgbClr val="00BCD4"/>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  </a:t>
            </a:r>
            <a:r>
              <a:rPr lang="zh-CN" altLang="en-US" sz="2400" dirty="0">
                <a:solidFill>
                  <a:srgbClr val="795548"/>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 #795548</a:t>
            </a:r>
            <a:r>
              <a:rPr lang="zh-CN" altLang="en-US" sz="2400" dirty="0">
                <a:solidFill>
                  <a:srgbClr val="00BCD4"/>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 </a:t>
            </a:r>
            <a:r>
              <a:rPr lang="zh-CN" altLang="en-US" sz="2400" dirty="0">
                <a:solidFill>
                  <a:srgbClr val="9E9E9E"/>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  #9e9e9e</a:t>
            </a:r>
            <a:endParaRPr lang="zh-CN" altLang="en-US" sz="2400" dirty="0">
              <a:solidFill>
                <a:srgbClr val="00BCD4"/>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marL="360045" indent="-360045" fontAlgn="ctr">
              <a:spcBef>
                <a:spcPts val="1000"/>
              </a:spcBef>
              <a:spcAft>
                <a:spcPts val="0"/>
              </a:spcAft>
              <a:buClr>
                <a:schemeClr val="tx2">
                  <a:lumMod val="60000"/>
                  <a:lumOff val="40000"/>
                </a:schemeClr>
              </a:buClr>
              <a:buSzPct val="100000"/>
              <a:buFont typeface="WPS-Bullets" pitchFamily="2" charset="0"/>
              <a:buChar char=""/>
            </a:pPr>
            <a:r>
              <a:rPr lang="zh-CN" altLang="en-US" sz="2400" dirty="0">
                <a:solidFill>
                  <a:srgbClr val="607D8B"/>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607d8b</a:t>
            </a:r>
            <a:endParaRPr lang="zh-CN" altLang="en-US" sz="2400" dirty="0">
              <a:solidFill>
                <a:srgbClr val="607D8B"/>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p:txBody>
      </p:sp>
      <p:pic>
        <p:nvPicPr>
          <p:cNvPr id="3" name="图片 2"/>
          <p:cNvPicPr>
            <a:picLocks noChangeAspect="1"/>
          </p:cNvPicPr>
          <p:nvPr/>
        </p:nvPicPr>
        <p:blipFill>
          <a:blip r:embed="rId6"/>
          <a:stretch>
            <a:fillRect/>
          </a:stretch>
        </p:blipFill>
        <p:spPr>
          <a:xfrm>
            <a:off x="7545070" y="5086985"/>
            <a:ext cx="2186940" cy="769620"/>
          </a:xfrm>
          <a:prstGeom prst="rect">
            <a:avLst/>
          </a:prstGeom>
        </p:spPr>
      </p:pic>
    </p:spTree>
    <p:custDataLst>
      <p:tags r:id="rId7"/>
    </p:custData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3963955" y="1296955"/>
            <a:ext cx="4264090" cy="4264090"/>
          </a:xfrm>
          <a:prstGeom prst="ellipse">
            <a:avLst/>
          </a:prstGeom>
          <a:noFill/>
          <a:ln w="28575">
            <a:solidFill>
              <a:srgbClr val="A1A2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椭圆 2"/>
          <p:cNvSpPr/>
          <p:nvPr/>
        </p:nvSpPr>
        <p:spPr>
          <a:xfrm>
            <a:off x="6789895" y="1211178"/>
            <a:ext cx="848717" cy="848717"/>
          </a:xfrm>
          <a:prstGeom prst="ellipse">
            <a:avLst/>
          </a:prstGeom>
          <a:solidFill>
            <a:srgbClr val="F3F4EE"/>
          </a:solidFill>
          <a:ln w="19050">
            <a:solidFill>
              <a:srgbClr val="A1A2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6934374" y="1355657"/>
            <a:ext cx="559761" cy="559761"/>
          </a:xfrm>
          <a:prstGeom prst="rect">
            <a:avLst/>
          </a:prstGeom>
        </p:spPr>
      </p:pic>
      <p:sp>
        <p:nvSpPr>
          <p:cNvPr id="5" name="矩形 4"/>
          <p:cNvSpPr/>
          <p:nvPr/>
        </p:nvSpPr>
        <p:spPr>
          <a:xfrm>
            <a:off x="4333338" y="2569134"/>
            <a:ext cx="3525324" cy="1015663"/>
          </a:xfrm>
          <a:prstGeom prst="rect">
            <a:avLst/>
          </a:prstGeom>
        </p:spPr>
        <p:txBody>
          <a:bodyPr wrap="none">
            <a:spAutoFit/>
          </a:bodyPr>
          <a:lstStyle/>
          <a:p>
            <a:pPr algn="ctr"/>
            <a:r>
              <a:rPr lang="en-US" altLang="zh-CN" sz="6000" b="1" dirty="0">
                <a:solidFill>
                  <a:srgbClr val="3891EE"/>
                </a:solidFill>
                <a:latin typeface="微软雅黑" panose="020B0503020204020204" charset="-122"/>
                <a:ea typeface="微软雅黑" panose="020B0503020204020204" charset="-122"/>
              </a:rPr>
              <a:t>THANKS</a:t>
            </a:r>
            <a:endParaRPr lang="en-US" altLang="zh-CN" sz="6000" b="1" dirty="0">
              <a:solidFill>
                <a:srgbClr val="3891EE"/>
              </a:solidFill>
              <a:latin typeface="微软雅黑" panose="020B0503020204020204" charset="-122"/>
              <a:ea typeface="微软雅黑" panose="020B0503020204020204" charset="-122"/>
            </a:endParaRPr>
          </a:p>
        </p:txBody>
      </p:sp>
      <p:cxnSp>
        <p:nvCxnSpPr>
          <p:cNvPr id="7" name="直接连接符 6"/>
          <p:cNvCxnSpPr/>
          <p:nvPr/>
        </p:nvCxnSpPr>
        <p:spPr>
          <a:xfrm>
            <a:off x="4327570" y="3619235"/>
            <a:ext cx="3551048" cy="0"/>
          </a:xfrm>
          <a:prstGeom prst="line">
            <a:avLst/>
          </a:prstGeom>
          <a:ln w="19050">
            <a:solidFill>
              <a:srgbClr val="82837E"/>
            </a:solidFill>
          </a:ln>
        </p:spPr>
        <p:style>
          <a:lnRef idx="1">
            <a:schemeClr val="accent1"/>
          </a:lnRef>
          <a:fillRef idx="0">
            <a:schemeClr val="accent1"/>
          </a:fillRef>
          <a:effectRef idx="0">
            <a:schemeClr val="accent1"/>
          </a:effectRef>
          <a:fontRef idx="minor">
            <a:schemeClr val="tx1"/>
          </a:fontRef>
        </p:style>
      </p:cxnSp>
      <p:pic>
        <p:nvPicPr>
          <p:cNvPr id="10" name="图片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10679" y="3705013"/>
            <a:ext cx="1584829" cy="694887"/>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5" name="矩形 14"/>
          <p:cNvSpPr/>
          <p:nvPr>
            <p:custDataLst>
              <p:tags r:id="rId1"/>
            </p:custDataLst>
          </p:nvPr>
        </p:nvSpPr>
        <p:spPr>
          <a:xfrm>
            <a:off x="1524000" y="857250"/>
            <a:ext cx="9144000" cy="5143500"/>
          </a:xfrm>
          <a:prstGeom prst="rect">
            <a:avLst/>
          </a:prstGeom>
          <a:pattFill prst="smCheck">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r>
              <a:rPr kumimoji="1" lang="en-US" altLang="zh-CN" sz="1200" b="1" strike="noStrike" noProof="1" dirty="0">
                <a:solidFill>
                  <a:schemeClr val="bg1"/>
                </a:solidFill>
                <a:latin typeface="微软雅黑" panose="020B0503020204020204" charset="-122"/>
                <a:ea typeface="微软雅黑" panose="020B0503020204020204" charset="-122"/>
              </a:rPr>
              <a:t>·</a:t>
            </a:r>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5" name="矩形 4"/>
          <p:cNvSpPr/>
          <p:nvPr>
            <p:custDataLst>
              <p:tags r:id="rId2"/>
            </p:custDataLst>
          </p:nvPr>
        </p:nvSpPr>
        <p:spPr>
          <a:xfrm>
            <a:off x="2025650" y="1484313"/>
            <a:ext cx="7435850" cy="4175125"/>
          </a:xfrm>
          <a:prstGeom prst="rect">
            <a:avLst/>
          </a:prstGeom>
          <a:solidFill>
            <a:schemeClr val="bg1">
              <a:lumMod val="85000"/>
              <a:alpha val="50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6" name="矩形 5"/>
          <p:cNvSpPr/>
          <p:nvPr>
            <p:custDataLst>
              <p:tags r:id="rId3"/>
            </p:custDataLst>
          </p:nvPr>
        </p:nvSpPr>
        <p:spPr>
          <a:xfrm>
            <a:off x="2025650" y="1144588"/>
            <a:ext cx="228600" cy="228600"/>
          </a:xfrm>
          <a:prstGeom prst="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微软雅黑" panose="020B0503020204020204" charset="-122"/>
              <a:ea typeface="微软雅黑" panose="020B0503020204020204" charset="-122"/>
            </a:endParaRPr>
          </a:p>
        </p:txBody>
      </p:sp>
      <p:sp>
        <p:nvSpPr>
          <p:cNvPr id="7" name="矩形 6"/>
          <p:cNvSpPr/>
          <p:nvPr>
            <p:custDataLst>
              <p:tags r:id="rId4"/>
            </p:custDataLst>
          </p:nvPr>
        </p:nvSpPr>
        <p:spPr>
          <a:xfrm>
            <a:off x="2478088" y="1149350"/>
            <a:ext cx="7440613" cy="4175125"/>
          </a:xfrm>
          <a:prstGeom prst="rect">
            <a:avLst/>
          </a:prstGeom>
          <a:no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10" name="文本框 9"/>
          <p:cNvSpPr txBox="1"/>
          <p:nvPr>
            <p:custDataLst>
              <p:tags r:id="rId5"/>
            </p:custDataLst>
          </p:nvPr>
        </p:nvSpPr>
        <p:spPr>
          <a:xfrm>
            <a:off x="2863850" y="1585913"/>
            <a:ext cx="5324475" cy="468313"/>
          </a:xfrm>
          <a:prstGeom prst="rect">
            <a:avLst/>
          </a:prstGeom>
          <a:noFill/>
        </p:spPr>
        <p:txBody>
          <a:bodyPr wrap="square" lIns="76200" tIns="28575" rIns="47625" bIns="28575" rtlCol="0">
            <a:noAutofit/>
          </a:bodyPr>
          <a:lstStyle/>
          <a:p>
            <a:r>
              <a:rPr lang="en-US" sz="2700" b="1" spc="300" noProof="1" dirty="0">
                <a:solidFill>
                  <a:schemeClr val="tx1">
                    <a:lumMod val="75000"/>
                    <a:lumOff val="25000"/>
                  </a:schemeClr>
                </a:solidFill>
                <a:latin typeface="微软雅黑" panose="020B0503020204020204" charset="-122"/>
                <a:ea typeface="微软雅黑" panose="020B0503020204020204" charset="-122"/>
                <a:cs typeface="+mn-cs"/>
              </a:rPr>
              <a:t>HTML5</a:t>
            </a:r>
            <a:r>
              <a:rPr lang="zh-CN" altLang="en-US" sz="2700" b="1" spc="300" noProof="1" dirty="0">
                <a:solidFill>
                  <a:schemeClr val="tx1">
                    <a:lumMod val="75000"/>
                    <a:lumOff val="25000"/>
                  </a:schemeClr>
                </a:solidFill>
                <a:latin typeface="微软雅黑" panose="020B0503020204020204" charset="-122"/>
                <a:ea typeface="微软雅黑" panose="020B0503020204020204" charset="-122"/>
                <a:cs typeface="+mn-cs"/>
              </a:rPr>
              <a:t>文档结构</a:t>
            </a:r>
            <a:endParaRPr lang="zh-CN" altLang="en-US" sz="2700" b="1" spc="300" noProof="1" dirty="0">
              <a:solidFill>
                <a:schemeClr val="tx1">
                  <a:lumMod val="75000"/>
                  <a:lumOff val="25000"/>
                </a:schemeClr>
              </a:solidFill>
              <a:latin typeface="微软雅黑" panose="020B0503020204020204" charset="-122"/>
              <a:ea typeface="微软雅黑" panose="020B0503020204020204" charset="-122"/>
              <a:cs typeface="+mn-cs"/>
            </a:endParaRPr>
          </a:p>
        </p:txBody>
      </p:sp>
      <p:sp>
        <p:nvSpPr>
          <p:cNvPr id="9" name="矩形 8"/>
          <p:cNvSpPr/>
          <p:nvPr>
            <p:custDataLst>
              <p:tags r:id="rId6"/>
            </p:custDataLst>
          </p:nvPr>
        </p:nvSpPr>
        <p:spPr>
          <a:xfrm>
            <a:off x="10082213" y="3416300"/>
            <a:ext cx="146050" cy="1908175"/>
          </a:xfrm>
          <a:prstGeom prst="rect">
            <a:avLst/>
          </a:prstGeom>
          <a:solidFill>
            <a:schemeClr val="accent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微软雅黑" panose="020B0503020204020204" charset="-122"/>
              <a:ea typeface="微软雅黑" panose="020B0503020204020204" charset="-122"/>
            </a:endParaRPr>
          </a:p>
        </p:txBody>
      </p:sp>
      <p:sp>
        <p:nvSpPr>
          <p:cNvPr id="17" name="任意多边形: 形状 16"/>
          <p:cNvSpPr/>
          <p:nvPr>
            <p:custDataLst>
              <p:tags r:id="rId7"/>
            </p:custDataLst>
          </p:nvPr>
        </p:nvSpPr>
        <p:spPr>
          <a:xfrm rot="10800000">
            <a:off x="8872538" y="1882775"/>
            <a:ext cx="255588" cy="311150"/>
          </a:xfrm>
          <a:custGeom>
            <a:avLst/>
            <a:gdLst>
              <a:gd name="connsiteX0" fmla="*/ 174788 w 340237"/>
              <a:gd name="connsiteY0" fmla="*/ 0 h 415819"/>
              <a:gd name="connsiteX1" fmla="*/ 340237 w 340237"/>
              <a:gd name="connsiteY1" fmla="*/ 0 h 415819"/>
              <a:gd name="connsiteX2" fmla="*/ 241322 w 340237"/>
              <a:gd name="connsiteY2" fmla="*/ 415819 h 415819"/>
              <a:gd name="connsiteX3" fmla="*/ 0 w 340237"/>
              <a:gd name="connsiteY3" fmla="*/ 415819 h 415819"/>
            </a:gdLst>
            <a:ahLst/>
            <a:cxnLst>
              <a:cxn ang="0">
                <a:pos x="connsiteX0" y="connsiteY0"/>
              </a:cxn>
              <a:cxn ang="0">
                <a:pos x="connsiteX1" y="connsiteY1"/>
              </a:cxn>
              <a:cxn ang="0">
                <a:pos x="connsiteX2" y="connsiteY2"/>
              </a:cxn>
              <a:cxn ang="0">
                <a:pos x="connsiteX3" y="connsiteY3"/>
              </a:cxn>
            </a:cxnLst>
            <a:rect l="l" t="t" r="r" b="b"/>
            <a:pathLst>
              <a:path w="340237" h="415819">
                <a:moveTo>
                  <a:pt x="174788" y="0"/>
                </a:moveTo>
                <a:lnTo>
                  <a:pt x="340237" y="0"/>
                </a:lnTo>
                <a:lnTo>
                  <a:pt x="241322" y="415819"/>
                </a:lnTo>
                <a:lnTo>
                  <a:pt x="0" y="415819"/>
                </a:lnTo>
                <a:close/>
              </a:path>
            </a:pathLst>
          </a:cu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endParaRPr lang="zh-CN" altLang="en-US" sz="1350" strike="noStrike" noProof="1">
              <a:ea typeface="微软雅黑" panose="020B0503020204020204" charset="-122"/>
            </a:endParaRPr>
          </a:p>
        </p:txBody>
      </p:sp>
      <p:sp>
        <p:nvSpPr>
          <p:cNvPr id="18" name="任意多边形: 形状 17"/>
          <p:cNvSpPr/>
          <p:nvPr>
            <p:custDataLst>
              <p:tags r:id="rId8"/>
            </p:custDataLst>
          </p:nvPr>
        </p:nvSpPr>
        <p:spPr>
          <a:xfrm rot="10800000">
            <a:off x="8586788" y="1882775"/>
            <a:ext cx="255588" cy="311150"/>
          </a:xfrm>
          <a:custGeom>
            <a:avLst/>
            <a:gdLst>
              <a:gd name="connsiteX0" fmla="*/ 174788 w 340237"/>
              <a:gd name="connsiteY0" fmla="*/ 0 h 415819"/>
              <a:gd name="connsiteX1" fmla="*/ 340237 w 340237"/>
              <a:gd name="connsiteY1" fmla="*/ 0 h 415819"/>
              <a:gd name="connsiteX2" fmla="*/ 241322 w 340237"/>
              <a:gd name="connsiteY2" fmla="*/ 415819 h 415819"/>
              <a:gd name="connsiteX3" fmla="*/ 0 w 340237"/>
              <a:gd name="connsiteY3" fmla="*/ 415819 h 415819"/>
            </a:gdLst>
            <a:ahLst/>
            <a:cxnLst>
              <a:cxn ang="0">
                <a:pos x="connsiteX0" y="connsiteY0"/>
              </a:cxn>
              <a:cxn ang="0">
                <a:pos x="connsiteX1" y="connsiteY1"/>
              </a:cxn>
              <a:cxn ang="0">
                <a:pos x="connsiteX2" y="connsiteY2"/>
              </a:cxn>
              <a:cxn ang="0">
                <a:pos x="connsiteX3" y="connsiteY3"/>
              </a:cxn>
            </a:cxnLst>
            <a:rect l="l" t="t" r="r" b="b"/>
            <a:pathLst>
              <a:path w="340237" h="415819">
                <a:moveTo>
                  <a:pt x="174788" y="0"/>
                </a:moveTo>
                <a:lnTo>
                  <a:pt x="340237" y="0"/>
                </a:lnTo>
                <a:lnTo>
                  <a:pt x="241322" y="415819"/>
                </a:lnTo>
                <a:lnTo>
                  <a:pt x="0" y="415819"/>
                </a:lnTo>
                <a:close/>
              </a:path>
            </a:pathLst>
          </a:cu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endParaRPr lang="zh-CN" altLang="en-US" sz="1350" strike="noStrike" noProof="1">
              <a:ea typeface="微软雅黑" panose="020B0503020204020204" charset="-122"/>
            </a:endParaRPr>
          </a:p>
        </p:txBody>
      </p:sp>
      <p:sp>
        <p:nvSpPr>
          <p:cNvPr id="2" name="TextBox 21"/>
          <p:cNvSpPr txBox="1"/>
          <p:nvPr/>
        </p:nvSpPr>
        <p:spPr>
          <a:xfrm>
            <a:off x="2991485" y="1909445"/>
            <a:ext cx="6209030" cy="3415030"/>
          </a:xfrm>
          <a:prstGeom prst="rect">
            <a:avLst/>
          </a:prstGeom>
          <a:noFill/>
        </p:spPr>
        <p:txBody>
          <a:bodyPr wrap="square" rtlCol="0">
            <a:spAutoFit/>
          </a:bodyPr>
          <a:p>
            <a:pPr lvl="0">
              <a:lnSpc>
                <a:spcPct val="150000"/>
              </a:lnSpc>
              <a:defRPr/>
            </a:pPr>
            <a:r>
              <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rPr>
              <a:t>&lt;!DOCTYPE html&gt;</a:t>
            </a:r>
            <a:endPar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endParaRPr>
          </a:p>
          <a:p>
            <a:pPr lvl="0">
              <a:lnSpc>
                <a:spcPct val="150000"/>
              </a:lnSpc>
              <a:defRPr/>
            </a:pPr>
            <a:r>
              <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rPr>
              <a:t>&lt;html&gt;</a:t>
            </a:r>
            <a:endPar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endParaRPr>
          </a:p>
          <a:p>
            <a:pPr lvl="0">
              <a:lnSpc>
                <a:spcPct val="150000"/>
              </a:lnSpc>
              <a:defRPr/>
            </a:pPr>
            <a:r>
              <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rPr>
              <a:t>	&lt;head&gt;</a:t>
            </a:r>
            <a:endPar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endParaRPr>
          </a:p>
          <a:p>
            <a:pPr lvl="0">
              <a:lnSpc>
                <a:spcPct val="150000"/>
              </a:lnSpc>
              <a:defRPr/>
            </a:pPr>
            <a:r>
              <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rPr>
              <a:t>		&lt;meta charset="utf-8"</a:t>
            </a:r>
            <a:r>
              <a:rPr lang="en-US" altLang="zh-CN"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rPr>
              <a:t>/</a:t>
            </a:r>
            <a:r>
              <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rPr>
              <a:t>&gt;</a:t>
            </a:r>
            <a:endPar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endParaRPr>
          </a:p>
          <a:p>
            <a:pPr lvl="0">
              <a:lnSpc>
                <a:spcPct val="150000"/>
              </a:lnSpc>
              <a:defRPr/>
            </a:pPr>
            <a:r>
              <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rPr>
              <a:t>		&lt;title&gt;页面标题&lt;/title&gt;</a:t>
            </a:r>
            <a:endPar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endParaRPr>
          </a:p>
          <a:p>
            <a:pPr lvl="0">
              <a:lnSpc>
                <a:spcPct val="150000"/>
              </a:lnSpc>
              <a:defRPr/>
            </a:pPr>
            <a:r>
              <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rPr>
              <a:t>	&lt;/head&gt;</a:t>
            </a:r>
            <a:endPar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endParaRPr>
          </a:p>
          <a:p>
            <a:pPr lvl="0">
              <a:lnSpc>
                <a:spcPct val="150000"/>
              </a:lnSpc>
              <a:defRPr/>
            </a:pPr>
            <a:r>
              <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rPr>
              <a:t>	&lt;body&gt;</a:t>
            </a:r>
            <a:endPar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endParaRPr>
          </a:p>
          <a:p>
            <a:pPr lvl="0">
              <a:lnSpc>
                <a:spcPct val="150000"/>
              </a:lnSpc>
              <a:defRPr/>
            </a:pPr>
            <a:r>
              <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rPr>
              <a:t>	&lt;/body&gt;</a:t>
            </a:r>
            <a:endPar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endParaRPr>
          </a:p>
          <a:p>
            <a:pPr lvl="0">
              <a:lnSpc>
                <a:spcPct val="150000"/>
              </a:lnSpc>
              <a:defRPr/>
            </a:pPr>
            <a:r>
              <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rPr>
              <a:t>&lt;/html&gt;</a:t>
            </a:r>
            <a:endParaRPr lang="zh-CN" altLang="en-US" sz="1600" dirty="0">
              <a:solidFill>
                <a:schemeClr val="tx1"/>
              </a:solidFill>
              <a:effectLst>
                <a:outerShdw blurRad="38100" dist="19050" dir="2700000" algn="tl" rotWithShape="0">
                  <a:schemeClr val="dk1">
                    <a:alpha val="40000"/>
                  </a:schemeClr>
                </a:outerShdw>
              </a:effectLst>
              <a:latin typeface="Microsoft YaHei UI" panose="020B0503020204020204" charset="-122"/>
              <a:ea typeface="Microsoft YaHei UI" panose="020B0503020204020204" charset="-122"/>
              <a:cs typeface="Open Sans" panose="020B0606030504020204" pitchFamily="34" charset="0"/>
            </a:endParaRPr>
          </a:p>
        </p:txBody>
      </p:sp>
    </p:spTree>
    <p:custDataLst>
      <p:tags r:id="rId9"/>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000"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9" name="矩形 8"/>
          <p:cNvSpPr/>
          <p:nvPr>
            <p:custDataLst>
              <p:tags r:id="rId1"/>
            </p:custDataLst>
          </p:nvPr>
        </p:nvSpPr>
        <p:spPr>
          <a:xfrm>
            <a:off x="765810" y="519113"/>
            <a:ext cx="1627188" cy="1773238"/>
          </a:xfrm>
          <a:prstGeom prst="rect">
            <a:avLst/>
          </a:prstGeom>
          <a:gradFill>
            <a:gsLst>
              <a:gs pos="0">
                <a:srgbClr val="FF4D75"/>
              </a:gs>
              <a:gs pos="100000">
                <a:srgbClr val="9443E2">
                  <a:alpha val="58000"/>
                </a:srgb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dirty="0">
              <a:solidFill>
                <a:schemeClr val="bg1"/>
              </a:solidFill>
              <a:latin typeface="+mn-ea"/>
            </a:endParaRPr>
          </a:p>
        </p:txBody>
      </p:sp>
      <p:sp>
        <p:nvSpPr>
          <p:cNvPr id="17" name="任意多边形: 形状 16"/>
          <p:cNvSpPr/>
          <p:nvPr>
            <p:custDataLst>
              <p:tags r:id="rId2"/>
            </p:custDataLst>
          </p:nvPr>
        </p:nvSpPr>
        <p:spPr>
          <a:xfrm>
            <a:off x="3008313" y="1960563"/>
            <a:ext cx="7326313" cy="3790950"/>
          </a:xfrm>
          <a:custGeom>
            <a:avLst/>
            <a:gdLst>
              <a:gd name="connsiteX0" fmla="*/ 9384198 w 9768470"/>
              <a:gd name="connsiteY0" fmla="*/ 0 h 5054599"/>
              <a:gd name="connsiteX1" fmla="*/ 9768470 w 9768470"/>
              <a:gd name="connsiteY1" fmla="*/ 0 h 5054599"/>
              <a:gd name="connsiteX2" fmla="*/ 9768470 w 9768470"/>
              <a:gd name="connsiteY2" fmla="*/ 5054599 h 5054599"/>
              <a:gd name="connsiteX3" fmla="*/ 0 w 9768470"/>
              <a:gd name="connsiteY3" fmla="*/ 5054599 h 5054599"/>
              <a:gd name="connsiteX4" fmla="*/ 0 w 9768470"/>
              <a:gd name="connsiteY4" fmla="*/ 4695371 h 5054599"/>
              <a:gd name="connsiteX5" fmla="*/ 9384198 w 9768470"/>
              <a:gd name="connsiteY5" fmla="*/ 4695371 h 5054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68470" h="5054599">
                <a:moveTo>
                  <a:pt x="9384198" y="0"/>
                </a:moveTo>
                <a:lnTo>
                  <a:pt x="9768470" y="0"/>
                </a:lnTo>
                <a:lnTo>
                  <a:pt x="9768470" y="5054599"/>
                </a:lnTo>
                <a:lnTo>
                  <a:pt x="0" y="5054599"/>
                </a:lnTo>
                <a:lnTo>
                  <a:pt x="0" y="4695371"/>
                </a:lnTo>
                <a:lnTo>
                  <a:pt x="9384198" y="4695371"/>
                </a:lnTo>
                <a:close/>
              </a:path>
            </a:pathLst>
          </a:custGeom>
          <a:gradFill>
            <a:gsLst>
              <a:gs pos="0">
                <a:srgbClr val="7B32B2"/>
              </a:gs>
              <a:gs pos="100000">
                <a:srgbClr val="401A5D"/>
              </a:gs>
            </a:gsLst>
            <a:lin ang="8100000" scaled="0"/>
          </a:gra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mn-ea"/>
            </a:endParaRPr>
          </a:p>
        </p:txBody>
      </p:sp>
      <p:sp>
        <p:nvSpPr>
          <p:cNvPr id="5" name="文本框 4"/>
          <p:cNvSpPr txBox="1"/>
          <p:nvPr>
            <p:custDataLst>
              <p:tags r:id="rId3"/>
            </p:custDataLst>
          </p:nvPr>
        </p:nvSpPr>
        <p:spPr>
          <a:xfrm>
            <a:off x="2223770" y="632460"/>
            <a:ext cx="7834630" cy="5593715"/>
          </a:xfrm>
          <a:prstGeom prst="rect">
            <a:avLst/>
          </a:prstGeom>
          <a:noFill/>
        </p:spPr>
        <p:txBody>
          <a:bodyPr wrap="square" lIns="76200" tIns="0" rIns="61912" bIns="0" rtlCol="0">
            <a:noAutofit/>
          </a:bodyPr>
          <a:lstStyle>
            <a:defPPr>
              <a:defRPr lang="zh-CN"/>
            </a:defPPr>
            <a:lvl1pPr fontAlgn="auto">
              <a:lnSpc>
                <a:spcPct val="130000"/>
              </a:lnSpc>
              <a:spcAft>
                <a:spcPts val="1000"/>
              </a:spcAft>
              <a:defRPr sz="1600" spc="150"/>
            </a:lvl1pPr>
          </a:lstStyle>
          <a:p>
            <a:pPr fontAlgn="ctr">
              <a:spcBef>
                <a:spcPts val="1000"/>
              </a:spcBef>
              <a:spcAft>
                <a:spcPts val="0"/>
              </a:spcAft>
              <a:buSzPct val="130000"/>
              <a:buFont typeface="WPS-Numbers" pitchFamily="2" charset="0"/>
            </a:pPr>
            <a:endParaRPr lang="en-US" altLang="zh-CN" sz="1200" strike="noStrike" noProof="1" dirty="0">
              <a:solidFill>
                <a:schemeClr val="tx1">
                  <a:lumMod val="75000"/>
                  <a:lumOff val="25000"/>
                </a:schemeClr>
              </a:solidFill>
              <a:uFillTx/>
              <a:latin typeface="Arial" panose="020B0604020202020204" pitchFamily="34" charset="0"/>
              <a:ea typeface="微软雅黑" panose="020B0503020204020204" charset="-122"/>
            </a:endParaRPr>
          </a:p>
          <a:p>
            <a:pPr fontAlgn="ctr">
              <a:spcBef>
                <a:spcPts val="1000"/>
              </a:spcBef>
              <a:spcAft>
                <a:spcPts val="0"/>
              </a:spcAft>
              <a:buSzPct val="130000"/>
              <a:buFont typeface="WPS-Numbers" pitchFamily="2" charset="0"/>
            </a:pPr>
            <a:r>
              <a:rPr lang="en-US" altLang="zh-CN" strike="noStrike" noProof="1" dirty="0">
                <a:ln/>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lt;head&gt;	定义关于文档的信息。</a:t>
            </a:r>
            <a:endParaRPr lang="en-US" altLang="zh-CN" strike="noStrike" noProof="1" dirty="0">
              <a:ln/>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fontAlgn="ctr">
              <a:spcBef>
                <a:spcPts val="1000"/>
              </a:spcBef>
              <a:spcAft>
                <a:spcPts val="0"/>
              </a:spcAft>
              <a:buSzPct val="130000"/>
              <a:buFont typeface="WPS-Numbers" pitchFamily="2" charset="0"/>
            </a:pPr>
            <a:r>
              <a:rPr lang="en-US" altLang="zh-CN" strike="noStrike" noProof="1" dirty="0">
                <a:ln/>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lt;p&gt;	定义段落。   &lt;table&gt;	定义表格。   &lt;nav&gt;	定义导航链接。</a:t>
            </a:r>
            <a:endParaRPr lang="en-US" altLang="zh-CN" strike="noStrike" noProof="1" dirty="0">
              <a:ln/>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fontAlgn="ctr">
              <a:spcBef>
                <a:spcPts val="1000"/>
              </a:spcBef>
              <a:spcAft>
                <a:spcPts val="0"/>
              </a:spcAft>
              <a:buSzPct val="130000"/>
              <a:buFont typeface="WPS-Numbers" pitchFamily="2" charset="0"/>
            </a:pPr>
            <a:r>
              <a:rPr lang="en-US" altLang="zh-CN" strike="noStrike" noProof="1" dirty="0">
                <a:ln/>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lt;li&gt;	定义列表的项目。&lt;button&gt;	定义按钮 (push button)。 &lt;a&gt;	定义锚。</a:t>
            </a:r>
            <a:endParaRPr lang="en-US" altLang="zh-CN" strike="noStrike" noProof="1" dirty="0">
              <a:ln/>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fontAlgn="ctr">
              <a:spcBef>
                <a:spcPts val="1000"/>
              </a:spcBef>
              <a:spcAft>
                <a:spcPts val="0"/>
              </a:spcAft>
              <a:buSzPct val="130000"/>
              <a:buFont typeface="WPS-Numbers" pitchFamily="2" charset="0"/>
            </a:pPr>
            <a:r>
              <a:rPr lang="en-US" altLang="zh-CN" strike="noStrike" noProof="1" dirty="0">
                <a:ln/>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lt;div&gt;	定义文档中的节。&lt;h1&gt; to &lt;h6&gt;	定义 HTML 标题。 &lt;iframe&gt;	定义内联框架。</a:t>
            </a:r>
            <a:endParaRPr lang="en-US" altLang="zh-CN" strike="noStrike" noProof="1" dirty="0">
              <a:ln/>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fontAlgn="ctr">
              <a:spcBef>
                <a:spcPts val="1000"/>
              </a:spcBef>
              <a:spcAft>
                <a:spcPts val="0"/>
              </a:spcAft>
              <a:buSzPct val="130000"/>
              <a:buFont typeface="WPS-Numbers" pitchFamily="2" charset="0"/>
            </a:pPr>
            <a:r>
              <a:rPr lang="en-US" altLang="zh-CN" strike="noStrike" noProof="1" dirty="0">
                <a:ln/>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lt;img&gt;	定义图像。  &lt;input&gt;	定义输入控件。 &lt;script&gt;   定义客户端脚本。</a:t>
            </a:r>
            <a:endParaRPr lang="en-US" altLang="zh-CN" strike="noStrike" noProof="1" dirty="0">
              <a:ln/>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fontAlgn="ctr">
              <a:spcBef>
                <a:spcPts val="1000"/>
              </a:spcBef>
              <a:spcAft>
                <a:spcPts val="0"/>
              </a:spcAft>
              <a:buSzPct val="130000"/>
              <a:buFont typeface="WPS-Numbers" pitchFamily="2" charset="0"/>
            </a:pPr>
            <a:r>
              <a:rPr lang="en-US" altLang="zh-CN" strike="noStrike" noProof="1" dirty="0">
                <a:ln/>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lt;style&gt;	定义文档的样式信息。 &lt;textarea&gt;	定义多行的文本输入控件。</a:t>
            </a:r>
            <a:endParaRPr lang="en-US" altLang="zh-CN" strike="noStrike" noProof="1" dirty="0">
              <a:ln/>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endParaRPr>
          </a:p>
          <a:p>
            <a:pPr fontAlgn="ctr">
              <a:spcBef>
                <a:spcPts val="1000"/>
              </a:spcBef>
              <a:spcAft>
                <a:spcPts val="0"/>
              </a:spcAft>
              <a:buSzPct val="130000"/>
              <a:buFont typeface="WPS-Numbers" pitchFamily="2" charset="0"/>
            </a:pPr>
            <a:r>
              <a:rPr lang="en-US" altLang="zh-CN" strike="noStrike" noProof="1" dirty="0">
                <a:ln/>
                <a:solidFill>
                  <a:schemeClr val="tx1"/>
                </a:solidFill>
                <a:effectLst>
                  <a:outerShdw blurRad="38100" dist="19050" dir="2700000" algn="tl" rotWithShape="0">
                    <a:schemeClr val="dk1">
                      <a:alpha val="40000"/>
                    </a:schemeClr>
                  </a:outerShdw>
                </a:effectLst>
                <a:uFillTx/>
                <a:latin typeface="Arial" panose="020B0604020202020204" pitchFamily="34" charset="0"/>
                <a:ea typeface="微软雅黑" panose="020B0503020204020204" charset="-122"/>
              </a:rPr>
              <a:t>&lt;footer&gt;	定义 section 或 page 的页脚。</a:t>
            </a:r>
            <a:endParaRPr lang="en-US" altLang="zh-CN" sz="1200" strike="noStrike" noProof="1" dirty="0">
              <a:solidFill>
                <a:schemeClr val="tx1">
                  <a:lumMod val="75000"/>
                  <a:lumOff val="25000"/>
                </a:schemeClr>
              </a:solidFill>
              <a:uFillTx/>
              <a:latin typeface="Arial" panose="020B0604020202020204" pitchFamily="34" charset="0"/>
              <a:ea typeface="微软雅黑" panose="020B0503020204020204" charset="-122"/>
            </a:endParaRPr>
          </a:p>
          <a:p>
            <a:pPr fontAlgn="ctr">
              <a:spcBef>
                <a:spcPts val="1000"/>
              </a:spcBef>
              <a:spcAft>
                <a:spcPts val="0"/>
              </a:spcAft>
              <a:buSzPct val="130000"/>
              <a:buFont typeface="WPS-Numbers" pitchFamily="2" charset="0"/>
            </a:pPr>
            <a:endParaRPr lang="en-US" altLang="zh-CN" sz="1200" strike="noStrike" noProof="1" dirty="0">
              <a:solidFill>
                <a:schemeClr val="tx1">
                  <a:lumMod val="75000"/>
                  <a:lumOff val="25000"/>
                </a:schemeClr>
              </a:solidFill>
              <a:uFillTx/>
              <a:latin typeface="Arial" panose="020B0604020202020204" pitchFamily="34" charset="0"/>
              <a:ea typeface="微软雅黑" panose="020B0503020204020204" charset="-122"/>
            </a:endParaRPr>
          </a:p>
        </p:txBody>
      </p:sp>
      <p:sp>
        <p:nvSpPr>
          <p:cNvPr id="6" name="文本框 5"/>
          <p:cNvSpPr txBox="1"/>
          <p:nvPr>
            <p:custDataLst>
              <p:tags r:id="rId4"/>
            </p:custDataLst>
          </p:nvPr>
        </p:nvSpPr>
        <p:spPr>
          <a:xfrm>
            <a:off x="2223770" y="423545"/>
            <a:ext cx="2995930" cy="551815"/>
          </a:xfrm>
          <a:prstGeom prst="rect">
            <a:avLst/>
          </a:prstGeom>
          <a:noFill/>
        </p:spPr>
        <p:txBody>
          <a:bodyPr wrap="none" lIns="76200" tIns="28575" rIns="47625" bIns="28575" rtlCol="0">
            <a:noAutofit/>
          </a:bodyPr>
          <a:lstStyle/>
          <a:p>
            <a:pPr algn="l"/>
            <a:r>
              <a:rPr lang="en-US" altLang="zh-CN" sz="2700" b="1" spc="300" noProof="1" dirty="0">
                <a:solidFill>
                  <a:schemeClr val="tx1">
                    <a:lumMod val="75000"/>
                    <a:lumOff val="25000"/>
                  </a:schemeClr>
                </a:solidFill>
                <a:latin typeface="Arial" panose="020B0604020202020204" pitchFamily="34" charset="0"/>
                <a:ea typeface="微软雅黑" panose="020B0503020204020204" charset="-122"/>
              </a:rPr>
              <a:t>HTML</a:t>
            </a:r>
            <a:r>
              <a:rPr lang="zh-CN" altLang="en-US" sz="2700" b="1" spc="300" noProof="1" dirty="0">
                <a:solidFill>
                  <a:schemeClr val="tx1">
                    <a:lumMod val="75000"/>
                    <a:lumOff val="25000"/>
                  </a:schemeClr>
                </a:solidFill>
                <a:latin typeface="Arial" panose="020B0604020202020204" pitchFamily="34" charset="0"/>
                <a:ea typeface="微软雅黑" panose="020B0503020204020204" charset="-122"/>
              </a:rPr>
              <a:t>常用标签</a:t>
            </a:r>
            <a:endParaRPr lang="zh-CN" altLang="en-US" sz="2700" b="1" spc="300" noProof="1" dirty="0">
              <a:solidFill>
                <a:schemeClr val="tx1">
                  <a:lumMod val="75000"/>
                  <a:lumOff val="25000"/>
                </a:schemeClr>
              </a:solidFill>
              <a:latin typeface="Arial" panose="020B0604020202020204" pitchFamily="34" charset="0"/>
              <a:ea typeface="微软雅黑" panose="020B0503020204020204" charset="-122"/>
            </a:endParaRPr>
          </a:p>
        </p:txBody>
      </p:sp>
      <p:sp>
        <p:nvSpPr>
          <p:cNvPr id="7" name="矩形 6"/>
          <p:cNvSpPr/>
          <p:nvPr>
            <p:custDataLst>
              <p:tags r:id="rId5"/>
            </p:custDataLst>
          </p:nvPr>
        </p:nvSpPr>
        <p:spPr>
          <a:xfrm>
            <a:off x="1856740" y="1221105"/>
            <a:ext cx="8351520" cy="4530725"/>
          </a:xfrm>
          <a:prstGeom prst="rect">
            <a:avLst/>
          </a:prstGeom>
          <a:no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fontAlgn="base"/>
            <a:endParaRPr lang="zh-CN" altLang="en-US" sz="1200" b="1" spc="300" noProof="1" dirty="0">
              <a:solidFill>
                <a:schemeClr val="tx1">
                  <a:lumMod val="75000"/>
                  <a:lumOff val="25000"/>
                </a:schemeClr>
              </a:solidFill>
              <a:latin typeface="Arial" panose="020B0604020202020204" pitchFamily="34" charset="0"/>
              <a:ea typeface="微软雅黑" panose="020B0503020204020204" charset="-122"/>
            </a:endParaRPr>
          </a:p>
          <a:p>
            <a:pPr algn="ctr" fontAlgn="base"/>
            <a:endParaRPr kumimoji="1" lang="zh-CN" altLang="en-US" sz="1200" b="1" strike="noStrike" spc="300" noProof="1" dirty="0">
              <a:solidFill>
                <a:schemeClr val="tx1">
                  <a:lumMod val="75000"/>
                  <a:lumOff val="25000"/>
                </a:schemeClr>
              </a:solidFill>
              <a:latin typeface="Arial" panose="020B0604020202020204" pitchFamily="34" charset="0"/>
              <a:ea typeface="微软雅黑" panose="020B0503020204020204" charset="-122"/>
            </a:endParaRPr>
          </a:p>
        </p:txBody>
      </p:sp>
    </p:spTree>
    <p:custDataLst>
      <p:tags r:id="rId6"/>
    </p:custData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5" name="矩形 14"/>
          <p:cNvSpPr/>
          <p:nvPr>
            <p:custDataLst>
              <p:tags r:id="rId1"/>
            </p:custDataLst>
          </p:nvPr>
        </p:nvSpPr>
        <p:spPr>
          <a:xfrm>
            <a:off x="1524000" y="857250"/>
            <a:ext cx="9144000" cy="5143500"/>
          </a:xfrm>
          <a:prstGeom prst="rect">
            <a:avLst/>
          </a:prstGeom>
          <a:pattFill prst="smCheck">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r>
              <a:rPr kumimoji="1" lang="en-US" altLang="zh-CN" sz="1200" b="1" strike="noStrike" noProof="1" dirty="0">
                <a:solidFill>
                  <a:schemeClr val="bg1"/>
                </a:solidFill>
                <a:latin typeface="微软雅黑" panose="020B0503020204020204" charset="-122"/>
                <a:ea typeface="微软雅黑" panose="020B0503020204020204" charset="-122"/>
              </a:rPr>
              <a:t>·</a:t>
            </a:r>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5" name="矩形 4"/>
          <p:cNvSpPr/>
          <p:nvPr>
            <p:custDataLst>
              <p:tags r:id="rId2"/>
            </p:custDataLst>
          </p:nvPr>
        </p:nvSpPr>
        <p:spPr>
          <a:xfrm>
            <a:off x="2025650" y="1484313"/>
            <a:ext cx="7435850" cy="4175125"/>
          </a:xfrm>
          <a:prstGeom prst="rect">
            <a:avLst/>
          </a:prstGeom>
          <a:solidFill>
            <a:schemeClr val="bg1">
              <a:lumMod val="85000"/>
              <a:alpha val="50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6" name="矩形 5"/>
          <p:cNvSpPr/>
          <p:nvPr>
            <p:custDataLst>
              <p:tags r:id="rId3"/>
            </p:custDataLst>
          </p:nvPr>
        </p:nvSpPr>
        <p:spPr>
          <a:xfrm>
            <a:off x="2025650" y="1144588"/>
            <a:ext cx="228600" cy="228600"/>
          </a:xfrm>
          <a:prstGeom prst="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微软雅黑" panose="020B0503020204020204" charset="-122"/>
              <a:ea typeface="微软雅黑" panose="020B0503020204020204" charset="-122"/>
            </a:endParaRPr>
          </a:p>
        </p:txBody>
      </p:sp>
      <p:sp>
        <p:nvSpPr>
          <p:cNvPr id="7" name="矩形 6"/>
          <p:cNvSpPr/>
          <p:nvPr>
            <p:custDataLst>
              <p:tags r:id="rId4"/>
            </p:custDataLst>
          </p:nvPr>
        </p:nvSpPr>
        <p:spPr>
          <a:xfrm>
            <a:off x="2478088" y="1149350"/>
            <a:ext cx="7440613" cy="4175125"/>
          </a:xfrm>
          <a:prstGeom prst="rect">
            <a:avLst/>
          </a:prstGeom>
          <a:no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dirty="0">
              <a:solidFill>
                <a:schemeClr val="bg1"/>
              </a:solidFill>
              <a:latin typeface="微软雅黑" panose="020B0503020204020204" charset="-122"/>
              <a:ea typeface="微软雅黑" panose="020B0503020204020204" charset="-122"/>
            </a:endParaRPr>
          </a:p>
        </p:txBody>
      </p:sp>
      <p:sp>
        <p:nvSpPr>
          <p:cNvPr id="10" name="文本框 9"/>
          <p:cNvSpPr txBox="1"/>
          <p:nvPr>
            <p:custDataLst>
              <p:tags r:id="rId5"/>
            </p:custDataLst>
          </p:nvPr>
        </p:nvSpPr>
        <p:spPr>
          <a:xfrm>
            <a:off x="2863850" y="1563688"/>
            <a:ext cx="5324475" cy="468313"/>
          </a:xfrm>
          <a:prstGeom prst="rect">
            <a:avLst/>
          </a:prstGeom>
          <a:noFill/>
        </p:spPr>
        <p:txBody>
          <a:bodyPr wrap="square" lIns="76200" tIns="28575" rIns="47625" bIns="28575" rtlCol="0">
            <a:noAutofit/>
          </a:bodyPr>
          <a:lstStyle/>
          <a:p>
            <a:r>
              <a:rPr lang="en-US" sz="2700" b="1" spc="300" noProof="1" dirty="0">
                <a:solidFill>
                  <a:schemeClr val="tx1">
                    <a:lumMod val="75000"/>
                    <a:lumOff val="25000"/>
                  </a:schemeClr>
                </a:solidFill>
                <a:latin typeface="微软雅黑" panose="020B0503020204020204" charset="-122"/>
                <a:ea typeface="微软雅黑" panose="020B0503020204020204" charset="-122"/>
                <a:cs typeface="+mn-cs"/>
              </a:rPr>
              <a:t>css</a:t>
            </a:r>
            <a:r>
              <a:rPr lang="zh-CN" altLang="en-US" sz="2700" b="1" spc="300" noProof="1" dirty="0">
                <a:solidFill>
                  <a:schemeClr val="tx1">
                    <a:lumMod val="75000"/>
                    <a:lumOff val="25000"/>
                  </a:schemeClr>
                </a:solidFill>
                <a:latin typeface="微软雅黑" panose="020B0503020204020204" charset="-122"/>
                <a:ea typeface="微软雅黑" panose="020B0503020204020204" charset="-122"/>
                <a:cs typeface="+mn-cs"/>
              </a:rPr>
              <a:t>样式表</a:t>
            </a:r>
            <a:endParaRPr lang="zh-CN" altLang="en-US" sz="2700" b="1" spc="300" noProof="1" dirty="0">
              <a:solidFill>
                <a:schemeClr val="tx1">
                  <a:lumMod val="75000"/>
                  <a:lumOff val="25000"/>
                </a:schemeClr>
              </a:solidFill>
              <a:latin typeface="微软雅黑" panose="020B0503020204020204" charset="-122"/>
              <a:ea typeface="微软雅黑" panose="020B0503020204020204" charset="-122"/>
              <a:cs typeface="+mn-cs"/>
            </a:endParaRPr>
          </a:p>
        </p:txBody>
      </p:sp>
      <p:sp>
        <p:nvSpPr>
          <p:cNvPr id="9" name="矩形 8"/>
          <p:cNvSpPr/>
          <p:nvPr>
            <p:custDataLst>
              <p:tags r:id="rId6"/>
            </p:custDataLst>
          </p:nvPr>
        </p:nvSpPr>
        <p:spPr>
          <a:xfrm>
            <a:off x="10082213" y="3416300"/>
            <a:ext cx="146050" cy="1908175"/>
          </a:xfrm>
          <a:prstGeom prst="rect">
            <a:avLst/>
          </a:prstGeom>
          <a:solidFill>
            <a:schemeClr val="accent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kumimoji="1" lang="zh-CN" altLang="en-US" sz="1200" b="1" strike="noStrike" noProof="1">
              <a:solidFill>
                <a:schemeClr val="bg1"/>
              </a:solidFill>
              <a:latin typeface="微软雅黑" panose="020B0503020204020204" charset="-122"/>
              <a:ea typeface="微软雅黑" panose="020B0503020204020204" charset="-122"/>
            </a:endParaRPr>
          </a:p>
        </p:txBody>
      </p:sp>
      <p:sp>
        <p:nvSpPr>
          <p:cNvPr id="13" name="文本框 12"/>
          <p:cNvSpPr txBox="1"/>
          <p:nvPr>
            <p:custDataLst>
              <p:tags r:id="rId7"/>
            </p:custDataLst>
          </p:nvPr>
        </p:nvSpPr>
        <p:spPr>
          <a:xfrm>
            <a:off x="2732088" y="2032000"/>
            <a:ext cx="6140450" cy="2246313"/>
          </a:xfrm>
          <a:prstGeom prst="rect">
            <a:avLst/>
          </a:prstGeom>
          <a:noFill/>
        </p:spPr>
        <p:txBody>
          <a:bodyPr wrap="square" lIns="76200" tIns="0" rIns="61912" bIns="0" rtlCol="0">
            <a:noAutofit/>
          </a:bodyPr>
          <a:lstStyle>
            <a:defPPr>
              <a:defRPr lang="zh-CN"/>
            </a:defPPr>
            <a:lvl1pPr fontAlgn="auto">
              <a:lnSpc>
                <a:spcPct val="130000"/>
              </a:lnSpc>
              <a:spcAft>
                <a:spcPts val="1000"/>
              </a:spcAft>
              <a:defRPr sz="1600" spc="150"/>
            </a:lvl1pPr>
          </a:lstStyle>
          <a:p>
            <a:pPr fontAlgn="ctr">
              <a:spcBef>
                <a:spcPts val="1000"/>
              </a:spcBef>
              <a:spcAft>
                <a:spcPts val="0"/>
              </a:spcAft>
              <a:buClr>
                <a:schemeClr val="accent2"/>
              </a:buClr>
              <a:buSzPct val="80000"/>
              <a:buFont typeface="WPS-Bullets" pitchFamily="2" charset="0"/>
            </a:pPr>
            <a:r>
              <a:rPr sz="1800" strike="noStrike" spc="150" noProof="1" dirty="0">
                <a:solidFill>
                  <a:schemeClr val="tx1">
                    <a:lumMod val="75000"/>
                    <a:lumOff val="25000"/>
                  </a:schemeClr>
                </a:solidFill>
                <a:uFillTx/>
                <a:latin typeface="Arial" panose="020B0604020202020204" pitchFamily="34" charset="0"/>
                <a:ea typeface="微软雅黑" panose="020B0503020204020204" charset="-122"/>
                <a:cs typeface="+mn-cs"/>
              </a:rPr>
              <a:t>层叠样式表(英文全称：Cascading Style Sheets)是一种用来表现HTML（标准通用标记语言的一个应用）或XML（标准通用标记语言的一个子集）等文件样式的计算机语言。CSS不仅可以静态地修饰网页，还可以配合各种脚本语言动态地对网页各元素进行格式化。</a:t>
            </a:r>
            <a:endParaRPr sz="1800" strike="noStrike" spc="150" noProof="1" dirty="0">
              <a:solidFill>
                <a:schemeClr val="tx1">
                  <a:lumMod val="75000"/>
                  <a:lumOff val="25000"/>
                </a:schemeClr>
              </a:solidFill>
              <a:uFillTx/>
              <a:latin typeface="Arial" panose="020B0604020202020204" pitchFamily="34" charset="0"/>
              <a:ea typeface="微软雅黑" panose="020B0503020204020204" charset="-122"/>
              <a:cs typeface="+mn-cs"/>
            </a:endParaRPr>
          </a:p>
        </p:txBody>
      </p:sp>
      <p:sp>
        <p:nvSpPr>
          <p:cNvPr id="17" name="任意多边形: 形状 16"/>
          <p:cNvSpPr/>
          <p:nvPr>
            <p:custDataLst>
              <p:tags r:id="rId8"/>
            </p:custDataLst>
          </p:nvPr>
        </p:nvSpPr>
        <p:spPr>
          <a:xfrm rot="10800000">
            <a:off x="8872538" y="1882775"/>
            <a:ext cx="255588" cy="311150"/>
          </a:xfrm>
          <a:custGeom>
            <a:avLst/>
            <a:gdLst>
              <a:gd name="connsiteX0" fmla="*/ 174788 w 340237"/>
              <a:gd name="connsiteY0" fmla="*/ 0 h 415819"/>
              <a:gd name="connsiteX1" fmla="*/ 340237 w 340237"/>
              <a:gd name="connsiteY1" fmla="*/ 0 h 415819"/>
              <a:gd name="connsiteX2" fmla="*/ 241322 w 340237"/>
              <a:gd name="connsiteY2" fmla="*/ 415819 h 415819"/>
              <a:gd name="connsiteX3" fmla="*/ 0 w 340237"/>
              <a:gd name="connsiteY3" fmla="*/ 415819 h 415819"/>
            </a:gdLst>
            <a:ahLst/>
            <a:cxnLst>
              <a:cxn ang="0">
                <a:pos x="connsiteX0" y="connsiteY0"/>
              </a:cxn>
              <a:cxn ang="0">
                <a:pos x="connsiteX1" y="connsiteY1"/>
              </a:cxn>
              <a:cxn ang="0">
                <a:pos x="connsiteX2" y="connsiteY2"/>
              </a:cxn>
              <a:cxn ang="0">
                <a:pos x="connsiteX3" y="connsiteY3"/>
              </a:cxn>
            </a:cxnLst>
            <a:rect l="l" t="t" r="r" b="b"/>
            <a:pathLst>
              <a:path w="340237" h="415819">
                <a:moveTo>
                  <a:pt x="174788" y="0"/>
                </a:moveTo>
                <a:lnTo>
                  <a:pt x="340237" y="0"/>
                </a:lnTo>
                <a:lnTo>
                  <a:pt x="241322" y="415819"/>
                </a:lnTo>
                <a:lnTo>
                  <a:pt x="0" y="415819"/>
                </a:lnTo>
                <a:close/>
              </a:path>
            </a:pathLst>
          </a:cu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endParaRPr lang="zh-CN" altLang="en-US" sz="1350" strike="noStrike" noProof="1">
              <a:ea typeface="微软雅黑" panose="020B0503020204020204" charset="-122"/>
            </a:endParaRPr>
          </a:p>
        </p:txBody>
      </p:sp>
      <p:sp>
        <p:nvSpPr>
          <p:cNvPr id="18" name="任意多边形: 形状 17"/>
          <p:cNvSpPr/>
          <p:nvPr>
            <p:custDataLst>
              <p:tags r:id="rId9"/>
            </p:custDataLst>
          </p:nvPr>
        </p:nvSpPr>
        <p:spPr>
          <a:xfrm rot="10800000">
            <a:off x="8586788" y="1882775"/>
            <a:ext cx="255588" cy="311150"/>
          </a:xfrm>
          <a:custGeom>
            <a:avLst/>
            <a:gdLst>
              <a:gd name="connsiteX0" fmla="*/ 174788 w 340237"/>
              <a:gd name="connsiteY0" fmla="*/ 0 h 415819"/>
              <a:gd name="connsiteX1" fmla="*/ 340237 w 340237"/>
              <a:gd name="connsiteY1" fmla="*/ 0 h 415819"/>
              <a:gd name="connsiteX2" fmla="*/ 241322 w 340237"/>
              <a:gd name="connsiteY2" fmla="*/ 415819 h 415819"/>
              <a:gd name="connsiteX3" fmla="*/ 0 w 340237"/>
              <a:gd name="connsiteY3" fmla="*/ 415819 h 415819"/>
            </a:gdLst>
            <a:ahLst/>
            <a:cxnLst>
              <a:cxn ang="0">
                <a:pos x="connsiteX0" y="connsiteY0"/>
              </a:cxn>
              <a:cxn ang="0">
                <a:pos x="connsiteX1" y="connsiteY1"/>
              </a:cxn>
              <a:cxn ang="0">
                <a:pos x="connsiteX2" y="connsiteY2"/>
              </a:cxn>
              <a:cxn ang="0">
                <a:pos x="connsiteX3" y="connsiteY3"/>
              </a:cxn>
            </a:cxnLst>
            <a:rect l="l" t="t" r="r" b="b"/>
            <a:pathLst>
              <a:path w="340237" h="415819">
                <a:moveTo>
                  <a:pt x="174788" y="0"/>
                </a:moveTo>
                <a:lnTo>
                  <a:pt x="340237" y="0"/>
                </a:lnTo>
                <a:lnTo>
                  <a:pt x="241322" y="415819"/>
                </a:lnTo>
                <a:lnTo>
                  <a:pt x="0" y="415819"/>
                </a:lnTo>
                <a:close/>
              </a:path>
            </a:pathLst>
          </a:cu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endParaRPr lang="zh-CN" altLang="en-US" sz="1350" strike="noStrike" noProof="1">
              <a:ea typeface="微软雅黑" panose="020B0503020204020204" charset="-122"/>
            </a:endParaRPr>
          </a:p>
        </p:txBody>
      </p:sp>
      <p:sp>
        <p:nvSpPr>
          <p:cNvPr id="21" name="文本框 20"/>
          <p:cNvSpPr txBox="1"/>
          <p:nvPr>
            <p:custDataLst>
              <p:tags r:id="rId10"/>
            </p:custDataLst>
          </p:nvPr>
        </p:nvSpPr>
        <p:spPr>
          <a:xfrm>
            <a:off x="2720975" y="4278313"/>
            <a:ext cx="6140450" cy="919163"/>
          </a:xfrm>
          <a:prstGeom prst="rect">
            <a:avLst/>
          </a:prstGeom>
          <a:noFill/>
        </p:spPr>
        <p:txBody>
          <a:bodyPr wrap="square" lIns="76200" tIns="0" rIns="61912" bIns="0" rtlCol="0">
            <a:noAutofit/>
          </a:bodyPr>
          <a:lstStyle>
            <a:defPPr>
              <a:defRPr lang="zh-CN"/>
            </a:defPPr>
            <a:lvl1pPr fontAlgn="auto">
              <a:lnSpc>
                <a:spcPct val="130000"/>
              </a:lnSpc>
              <a:spcAft>
                <a:spcPts val="1000"/>
              </a:spcAft>
              <a:defRPr sz="1600" spc="150"/>
            </a:lvl1pPr>
          </a:lstStyle>
          <a:p>
            <a:pPr fontAlgn="ctr">
              <a:spcBef>
                <a:spcPts val="1000"/>
              </a:spcBef>
              <a:spcAft>
                <a:spcPts val="0"/>
              </a:spcAft>
              <a:buClr>
                <a:schemeClr val="accent2"/>
              </a:buClr>
              <a:buSzPct val="80000"/>
              <a:buFont typeface="WPS-Bullets" pitchFamily="2" charset="0"/>
            </a:pPr>
            <a:endParaRPr sz="1200" strike="noStrike" spc="150" noProof="1" dirty="0">
              <a:solidFill>
                <a:schemeClr val="tx1">
                  <a:lumMod val="75000"/>
                  <a:lumOff val="25000"/>
                </a:schemeClr>
              </a:solidFill>
              <a:uFillTx/>
              <a:latin typeface="Arial" panose="020B0604020202020204" pitchFamily="34" charset="0"/>
              <a:ea typeface="微软雅黑" panose="020B0503020204020204" charset="-122"/>
              <a:cs typeface="+mn-cs"/>
            </a:endParaRPr>
          </a:p>
          <a:p>
            <a:pPr fontAlgn="ctr">
              <a:spcBef>
                <a:spcPts val="1000"/>
              </a:spcBef>
              <a:spcAft>
                <a:spcPts val="0"/>
              </a:spcAft>
              <a:buClr>
                <a:schemeClr val="accent2"/>
              </a:buClr>
              <a:buSzPct val="80000"/>
              <a:buFont typeface="WPS-Bullets" pitchFamily="2" charset="0"/>
            </a:pPr>
            <a:endParaRPr lang="zh-CN" altLang="en-US" sz="1200" strike="noStrike" spc="150" noProof="1" dirty="0">
              <a:solidFill>
                <a:schemeClr val="tx1">
                  <a:lumMod val="75000"/>
                  <a:lumOff val="25000"/>
                </a:schemeClr>
              </a:solidFill>
              <a:uFillTx/>
              <a:latin typeface="Arial" panose="020B0604020202020204" pitchFamily="34" charset="0"/>
              <a:ea typeface="微软雅黑" panose="020B0503020204020204" charset="-122"/>
            </a:endParaRPr>
          </a:p>
        </p:txBody>
      </p:sp>
    </p:spTree>
    <p:custDataLst>
      <p:tags r:id="rId11"/>
    </p:custDataLst>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4"/>
  <p:tag name="KSO_WM_TEMPLATE_CATEGORY" val="diagram"/>
  <p:tag name="KSO_WM_TEMPLATE_INDEX" val="20194848"/>
  <p:tag name="KSO_WM_UNIT_LAYERLEVEL" val="1"/>
  <p:tag name="KSO_WM_TAG_VERSION" val="1.0"/>
  <p:tag name="KSO_WM_BEAUTIFY_FLAG" val="#wm#"/>
  <p:tag name="KSO_WM_UNIT_TYPE" val="i"/>
  <p:tag name="KSO_WM_UNIT_INDEX" val="4"/>
</p:tagLst>
</file>

<file path=ppt/tags/tag10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3"/>
  <p:tag name="KSO_WM_UNIT_ID" val="diagram20194654_1*i*33"/>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45"/>
  <p:tag name="KSO_WM_UNIT_COLOR_SCHEME_PARENT_PAGE" val="0_1"/>
</p:tagLst>
</file>

<file path=ppt/tags/tag10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4"/>
  <p:tag name="KSO_WM_UNIT_ID" val="diagram20194654_1*i*34"/>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46"/>
  <p:tag name="KSO_WM_UNIT_COLOR_SCHEME_PARENT_PAGE" val="0_1"/>
</p:tagLst>
</file>

<file path=ppt/tags/tag10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5"/>
  <p:tag name="KSO_WM_UNIT_ID" val="diagram20194654_1*i*35"/>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47"/>
  <p:tag name="KSO_WM_UNIT_COLOR_SCHEME_PARENT_PAGE" val="0_1"/>
</p:tagLst>
</file>

<file path=ppt/tags/tag10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6"/>
  <p:tag name="KSO_WM_UNIT_ID" val="diagram20194654_1*i*36"/>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48"/>
  <p:tag name="KSO_WM_UNIT_COLOR_SCHEME_PARENT_PAGE" val="0_1"/>
</p:tagLst>
</file>

<file path=ppt/tags/tag10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7"/>
  <p:tag name="KSO_WM_UNIT_ID" val="diagram20194654_1*i*37"/>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49"/>
  <p:tag name="KSO_WM_UNIT_COLOR_SCHEME_PARENT_PAGE" val="0_1"/>
</p:tagLst>
</file>

<file path=ppt/tags/tag10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8"/>
  <p:tag name="KSO_WM_UNIT_ID" val="diagram20194654_1*i*38"/>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50"/>
  <p:tag name="KSO_WM_UNIT_COLOR_SCHEME_PARENT_PAGE" val="0_1"/>
</p:tagLst>
</file>

<file path=ppt/tags/tag10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9"/>
  <p:tag name="KSO_WM_UNIT_ID" val="diagram20194654_1*i*39"/>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51"/>
  <p:tag name="KSO_WM_UNIT_COLOR_SCHEME_PARENT_PAGE" val="0_1"/>
</p:tagLst>
</file>

<file path=ppt/tags/tag10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0"/>
  <p:tag name="KSO_WM_UNIT_ID" val="diagram20194654_1*i*40"/>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52"/>
  <p:tag name="KSO_WM_UNIT_COLOR_SCHEME_PARENT_PAGE" val="0_1"/>
</p:tagLst>
</file>

<file path=ppt/tags/tag10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1"/>
  <p:tag name="KSO_WM_UNIT_ID" val="diagram20194654_1*i*41"/>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54"/>
  <p:tag name="KSO_WM_UNIT_COLOR_SCHEME_PARENT_PAGE" val="0_1"/>
</p:tagLst>
</file>

<file path=ppt/tags/tag10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2"/>
  <p:tag name="KSO_WM_UNIT_ID" val="diagram20194654_1*i*42"/>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55"/>
  <p:tag name="KSO_WM_UNIT_COLOR_SCHEME_PARENT_PAGE" val="0_1"/>
</p:tagLst>
</file>

<file path=ppt/tags/tag11.xml><?xml version="1.0" encoding="utf-8"?>
<p:tagLst xmlns:p="http://schemas.openxmlformats.org/presentationml/2006/main">
  <p:tag name="KSO_WM_UNIT_ISCONTENTSTITLE" val="0"/>
  <p:tag name="KSO_WM_UNIT_PRESET_TEXT" val="此处可添加您的大标题内容"/>
  <p:tag name="KSO_WM_UNIT_TEXT_PART_ID" val="2-X"/>
  <p:tag name="KSO_WM_UNIT_TEXT_PART_SIZE" val="49.2*559"/>
  <p:tag name="KSO_WM_UNIT_VALUE" val="26"/>
  <p:tag name="KSO_WM_UNIT_HIGHLIGHT" val="0"/>
  <p:tag name="KSO_WM_UNIT_COMPATIBLE" val="0"/>
  <p:tag name="KSO_WM_UNIT_DIAGRAM_ISNUMVISUAL" val="0"/>
  <p:tag name="KSO_WM_UNIT_DIAGRAM_ISREFERUNIT" val="0"/>
  <p:tag name="KSO_WM_UNIT_TYPE" val="a"/>
  <p:tag name="KSO_WM_UNIT_INDEX" val="1"/>
  <p:tag name="KSO_WM_UNIT_ID" val="diagram20194848_1*a*1"/>
  <p:tag name="KSO_WM_TEMPLATE_CATEGORY" val="diagram"/>
  <p:tag name="KSO_WM_TEMPLATE_INDEX" val="20194848"/>
  <p:tag name="KSO_WM_UNIT_LAYERLEVEL" val="1"/>
  <p:tag name="KSO_WM_TAG_VERSION" val="1.0"/>
  <p:tag name="KSO_WM_BEAUTIFY_FLAG" val="#wm#"/>
  <p:tag name="KSO_WM_UNIT_NOCLEAR" val="0"/>
  <p:tag name="KSO_WM_UNIT_TEXT_PART_ID_V2" val="a-3-1"/>
</p:tagLst>
</file>

<file path=ppt/tags/tag11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3"/>
  <p:tag name="KSO_WM_UNIT_ID" val="diagram20194654_1*i*43"/>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56"/>
  <p:tag name="KSO_WM_UNIT_COLOR_SCHEME_PARENT_PAGE" val="0_1"/>
</p:tagLst>
</file>

<file path=ppt/tags/tag11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4"/>
  <p:tag name="KSO_WM_UNIT_ID" val="diagram20194654_1*i*44"/>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57"/>
  <p:tag name="KSO_WM_UNIT_COLOR_SCHEME_PARENT_PAGE" val="0_1"/>
</p:tagLst>
</file>

<file path=ppt/tags/tag11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5"/>
  <p:tag name="KSO_WM_UNIT_ID" val="diagram20194654_1*i*45"/>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58"/>
  <p:tag name="KSO_WM_UNIT_COLOR_SCHEME_PARENT_PAGE" val="0_1"/>
</p:tagLst>
</file>

<file path=ppt/tags/tag11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6"/>
  <p:tag name="KSO_WM_UNIT_ID" val="diagram20194654_1*i*46"/>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59"/>
  <p:tag name="KSO_WM_UNIT_COLOR_SCHEME_PARENT_PAGE" val="0_1"/>
</p:tagLst>
</file>

<file path=ppt/tags/tag11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7"/>
  <p:tag name="KSO_WM_UNIT_ID" val="diagram20194654_1*i*47"/>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60"/>
  <p:tag name="KSO_WM_UNIT_COLOR_SCHEME_PARENT_PAGE" val="0_1"/>
</p:tagLst>
</file>

<file path=ppt/tags/tag11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8"/>
  <p:tag name="KSO_WM_UNIT_ID" val="diagram20194654_1*i*48"/>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61"/>
  <p:tag name="KSO_WM_UNIT_COLOR_SCHEME_PARENT_PAGE" val="0_1"/>
</p:tagLst>
</file>

<file path=ppt/tags/tag11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9"/>
  <p:tag name="KSO_WM_UNIT_ID" val="diagram20194654_1*i*49"/>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62"/>
  <p:tag name="KSO_WM_UNIT_COLOR_SCHEME_PARENT_PAGE" val="0_1"/>
</p:tagLst>
</file>

<file path=ppt/tags/tag11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0"/>
  <p:tag name="KSO_WM_UNIT_ID" val="diagram20194654_1*i*50"/>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63"/>
  <p:tag name="KSO_WM_UNIT_COLOR_SCHEME_PARENT_PAGE" val="0_1"/>
</p:tagLst>
</file>

<file path=ppt/tags/tag11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1"/>
  <p:tag name="KSO_WM_UNIT_ID" val="diagram20194654_1*i*51"/>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64"/>
  <p:tag name="KSO_WM_UNIT_COLOR_SCHEME_PARENT_PAGE" val="0_1"/>
</p:tagLst>
</file>

<file path=ppt/tags/tag11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2"/>
  <p:tag name="KSO_WM_UNIT_ID" val="diagram20194654_1*i*52"/>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66"/>
  <p:tag name="KSO_WM_UNIT_COLOR_SCHEME_PARENT_PAGE" val="0_1"/>
</p:tagLst>
</file>

<file path=ppt/tags/tag1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5"/>
  <p:tag name="KSO_WM_TEMPLATE_CATEGORY" val="diagram"/>
  <p:tag name="KSO_WM_TEMPLATE_INDEX" val="20194848"/>
  <p:tag name="KSO_WM_UNIT_LAYERLEVEL" val="1"/>
  <p:tag name="KSO_WM_TAG_VERSION" val="1.0"/>
  <p:tag name="KSO_WM_BEAUTIFY_FLAG" val="#wm#"/>
  <p:tag name="KSO_WM_UNIT_TYPE" val="i"/>
  <p:tag name="KSO_WM_UNIT_INDEX" val="5"/>
</p:tagLst>
</file>

<file path=ppt/tags/tag12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3"/>
  <p:tag name="KSO_WM_UNIT_ID" val="diagram20194654_1*i*53"/>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67"/>
  <p:tag name="KSO_WM_UNIT_COLOR_SCHEME_PARENT_PAGE" val="0_1"/>
</p:tagLst>
</file>

<file path=ppt/tags/tag12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4"/>
  <p:tag name="KSO_WM_UNIT_ID" val="diagram20194654_1*i*54"/>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68"/>
  <p:tag name="KSO_WM_UNIT_COLOR_SCHEME_PARENT_PAGE" val="0_1"/>
</p:tagLst>
</file>

<file path=ppt/tags/tag12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5"/>
  <p:tag name="KSO_WM_UNIT_ID" val="diagram20194654_1*i*55"/>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69"/>
  <p:tag name="KSO_WM_UNIT_COLOR_SCHEME_PARENT_PAGE" val="0_1"/>
</p:tagLst>
</file>

<file path=ppt/tags/tag12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6"/>
  <p:tag name="KSO_WM_UNIT_ID" val="diagram20194654_1*i*56"/>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70"/>
  <p:tag name="KSO_WM_UNIT_COLOR_SCHEME_PARENT_PAGE" val="0_1"/>
</p:tagLst>
</file>

<file path=ppt/tags/tag12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7"/>
  <p:tag name="KSO_WM_UNIT_ID" val="diagram20194654_1*i*57"/>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71"/>
  <p:tag name="KSO_WM_UNIT_COLOR_SCHEME_PARENT_PAGE" val="0_1"/>
</p:tagLst>
</file>

<file path=ppt/tags/tag12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8"/>
  <p:tag name="KSO_WM_UNIT_ID" val="diagram20194654_1*i*58"/>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72"/>
  <p:tag name="KSO_WM_UNIT_COLOR_SCHEME_PARENT_PAGE" val="0_1"/>
</p:tagLst>
</file>

<file path=ppt/tags/tag12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9"/>
  <p:tag name="KSO_WM_UNIT_ID" val="diagram20194654_1*i*59"/>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73"/>
  <p:tag name="KSO_WM_UNIT_COLOR_SCHEME_PARENT_PAGE" val="0_1"/>
</p:tagLst>
</file>

<file path=ppt/tags/tag12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0"/>
  <p:tag name="KSO_WM_UNIT_ID" val="diagram20194654_1*i*60"/>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74"/>
  <p:tag name="KSO_WM_UNIT_COLOR_SCHEME_PARENT_PAGE" val="0_1"/>
</p:tagLst>
</file>

<file path=ppt/tags/tag12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1"/>
  <p:tag name="KSO_WM_UNIT_ID" val="diagram20194654_1*i*61"/>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75"/>
  <p:tag name="KSO_WM_UNIT_COLOR_SCHEME_PARENT_PAGE" val="0_1"/>
</p:tagLst>
</file>

<file path=ppt/tags/tag12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2"/>
  <p:tag name="KSO_WM_UNIT_ID" val="diagram20194654_1*i*62"/>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76"/>
  <p:tag name="KSO_WM_UNIT_COLOR_SCHEME_PARENT_PAGE" val="0_1"/>
</p:tagLst>
</file>

<file path=ppt/tags/tag1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7"/>
  <p:tag name="KSO_WM_TEMPLATE_CATEGORY" val="diagram"/>
  <p:tag name="KSO_WM_TEMPLATE_INDEX" val="20194848"/>
  <p:tag name="KSO_WM_UNIT_LAYERLEVEL" val="1"/>
  <p:tag name="KSO_WM_TAG_VERSION" val="1.0"/>
  <p:tag name="KSO_WM_BEAUTIFY_FLAG" val="#wm#"/>
  <p:tag name="KSO_WM_UNIT_TYPE" val="i"/>
  <p:tag name="KSO_WM_UNIT_INDEX" val="7"/>
</p:tagLst>
</file>

<file path=ppt/tags/tag13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3"/>
  <p:tag name="KSO_WM_UNIT_ID" val="diagram20194654_1*i*63"/>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78"/>
  <p:tag name="KSO_WM_UNIT_COLOR_SCHEME_PARENT_PAGE" val="0_1"/>
</p:tagLst>
</file>

<file path=ppt/tags/tag13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4"/>
  <p:tag name="KSO_WM_UNIT_ID" val="diagram20194654_1*i*64"/>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79"/>
  <p:tag name="KSO_WM_UNIT_COLOR_SCHEME_PARENT_PAGE" val="0_1"/>
</p:tagLst>
</file>

<file path=ppt/tags/tag13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5"/>
  <p:tag name="KSO_WM_UNIT_ID" val="diagram20194654_1*i*65"/>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80"/>
  <p:tag name="KSO_WM_UNIT_COLOR_SCHEME_PARENT_PAGE" val="0_1"/>
</p:tagLst>
</file>

<file path=ppt/tags/tag13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6"/>
  <p:tag name="KSO_WM_UNIT_ID" val="diagram20194654_1*i*66"/>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81"/>
  <p:tag name="KSO_WM_UNIT_COLOR_SCHEME_PARENT_PAGE" val="0_1"/>
</p:tagLst>
</file>

<file path=ppt/tags/tag13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7"/>
  <p:tag name="KSO_WM_UNIT_ID" val="diagram20194654_1*i*67"/>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82"/>
  <p:tag name="KSO_WM_UNIT_COLOR_SCHEME_PARENT_PAGE" val="0_1"/>
</p:tagLst>
</file>

<file path=ppt/tags/tag13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8"/>
  <p:tag name="KSO_WM_UNIT_ID" val="diagram20194654_1*i*68"/>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83"/>
  <p:tag name="KSO_WM_UNIT_COLOR_SCHEME_PARENT_PAGE" val="0_1"/>
</p:tagLst>
</file>

<file path=ppt/tags/tag13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9"/>
  <p:tag name="KSO_WM_UNIT_ID" val="diagram20194654_1*i*69"/>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84"/>
  <p:tag name="KSO_WM_UNIT_COLOR_SCHEME_PARENT_PAGE" val="0_1"/>
</p:tagLst>
</file>

<file path=ppt/tags/tag13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70"/>
  <p:tag name="KSO_WM_UNIT_ID" val="diagram20194654_1*i*70"/>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85"/>
  <p:tag name="KSO_WM_UNIT_COLOR_SCHEME_PARENT_PAGE" val="0_1"/>
</p:tagLst>
</file>

<file path=ppt/tags/tag13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71"/>
  <p:tag name="KSO_WM_UNIT_ID" val="diagram20194654_1*i*71"/>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86"/>
  <p:tag name="KSO_WM_UNIT_COLOR_SCHEME_PARENT_PAGE" val="0_1"/>
</p:tagLst>
</file>

<file path=ppt/tags/tag13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72"/>
  <p:tag name="KSO_WM_UNIT_ID" val="diagram20194654_1*i*72"/>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87"/>
  <p:tag name="KSO_WM_UNIT_COLOR_SCHEME_PARENT_PAGE" val="0_1"/>
</p:tagLst>
</file>

<file path=ppt/tags/tag1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8"/>
  <p:tag name="KSO_WM_TEMPLATE_CATEGORY" val="diagram"/>
  <p:tag name="KSO_WM_TEMPLATE_INDEX" val="20194848"/>
  <p:tag name="KSO_WM_UNIT_LAYERLEVEL" val="1"/>
  <p:tag name="KSO_WM_TAG_VERSION" val="1.0"/>
  <p:tag name="KSO_WM_BEAUTIFY_FLAG" val="#wm#"/>
  <p:tag name="KSO_WM_UNIT_TYPE" val="i"/>
  <p:tag name="KSO_WM_UNIT_INDEX" val="8"/>
</p:tagLst>
</file>

<file path=ppt/tags/tag14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73"/>
  <p:tag name="KSO_WM_UNIT_ID" val="diagram20194654_1*i*73"/>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88"/>
  <p:tag name="KSO_WM_UNIT_COLOR_SCHEME_PARENT_PAGE" val="0_1"/>
</p:tagLst>
</file>

<file path=ppt/tags/tag141.xml><?xml version="1.0" encoding="utf-8"?>
<p:tagLst xmlns:p="http://schemas.openxmlformats.org/presentationml/2006/main">
  <p:tag name="KSO_WM_SLIDE_ID" val="diagram20194654_1"/>
  <p:tag name="KSO_WM_SLIDE_ITEM_CNT" val="0"/>
  <p:tag name="KSO_WM_SLIDE_INDEX" val="1"/>
  <p:tag name="KSO_WM_TAG_VERSION" val="1.0"/>
  <p:tag name="KSO_WM_BEAUTIFY_FLAG" val="#wm#"/>
  <p:tag name="KSO_WM_TEMPLATE_CATEGORY" val="diagram"/>
  <p:tag name="KSO_WM_TEMPLATE_INDEX" val="20194654"/>
  <p:tag name="KSO_WM_SLIDE_LAYOUT" val="a_f"/>
  <p:tag name="KSO_WM_SLIDE_LAYOUT_CNT" val="1_1"/>
  <p:tag name="KSO_WM_SLIDE_TYPE" val="text"/>
  <p:tag name="KSO_WM_SLIDE_SUBTYPE" val="pureTxt"/>
  <p:tag name="KSO_WM_SLIDE_SIZE" val="736*382"/>
  <p:tag name="KSO_WM_SLIDE_POSITION" val="116*86"/>
  <p:tag name="KSO_WM_SLIDE_COLORSCHEME_VERSION" val="3.2"/>
  <p:tag name="KSO_WM_TEMPLATE_SUBCATEGORY" val="0"/>
</p:tagLst>
</file>

<file path=ppt/tags/tag14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
  <p:tag name="KSO_WM_UNIT_ID" val="diagram20194654_1*i*1"/>
  <p:tag name="KSO_WM_TEMPLATE_CATEGORY" val="diagram"/>
  <p:tag name="KSO_WM_TEMPLATE_INDEX" val="20194654"/>
  <p:tag name="KSO_WM_UNIT_LAYERLEVEL" val="1"/>
  <p:tag name="KSO_WM_TAG_VERSION" val="1.0"/>
  <p:tag name="KSO_WM_BEAUTIFY_FLAG" val="#wm#"/>
  <p:tag name="KSO_WM_UNIT_COLOR_SCHEME_SHAPE_ID" val="90"/>
  <p:tag name="KSO_WM_UNIT_COLOR_SCHEME_PARENT_PAGE" val="0_1"/>
</p:tagLst>
</file>

<file path=ppt/tags/tag14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
  <p:tag name="KSO_WM_UNIT_ID" val="diagram20194654_1*i*2"/>
  <p:tag name="KSO_WM_TEMPLATE_CATEGORY" val="diagram"/>
  <p:tag name="KSO_WM_TEMPLATE_INDEX" val="20194654"/>
  <p:tag name="KSO_WM_UNIT_LAYERLEVEL" val="1"/>
  <p:tag name="KSO_WM_TAG_VERSION" val="1.0"/>
  <p:tag name="KSO_WM_BEAUTIFY_FLAG" val="#wm#"/>
  <p:tag name="KSO_WM_UNIT_COLOR_SCHEME_SHAPE_ID" val="91"/>
  <p:tag name="KSO_WM_UNIT_COLOR_SCHEME_PARENT_PAGE" val="0_1"/>
  <p:tag name="KSO_WM_UNIT_FOIL_COLOR" val="1"/>
</p:tagLst>
</file>

<file path=ppt/tags/tag144.xml><?xml version="1.0" encoding="utf-8"?>
<p:tagLst xmlns:p="http://schemas.openxmlformats.org/presentationml/2006/main">
  <p:tag name="KSO_WM_UNIT_TEXT_PART_ID_V2" val="d-3-2"/>
  <p:tag name="KSO_WM_UNIT_PRESET_TEXT" val="单击此处添加小标题：&#13;点击此处添加正文，文字是您思想的提炼，为了最终呈现发布的良好效果，请言简意赅的阐述观点，并根据需要酌情增减文字。您的正文已经字字珠玑，但信息却千丝万缕，需要用更多的文字来表述；但请您尽可能提炼思想的精髓。&#13;单击此处添加小标题：&#13;往往事半功倍。为了能让您有更直观的字数感受，并进一步方便使用。"/>
  <p:tag name="KSO_WM_UNIT_NOCLEAR" val="1"/>
  <p:tag name="KSO_WM_UNIT_VALUE" val="273"/>
  <p:tag name="KSO_WM_UNIT_HIGHLIGHT" val="0"/>
  <p:tag name="KSO_WM_UNIT_COMPATIBLE" val="0"/>
  <p:tag name="KSO_WM_UNIT_DIAGRAM_ISNUMVISUAL" val="0"/>
  <p:tag name="KSO_WM_UNIT_DIAGRAM_ISREFERUNIT" val="0"/>
  <p:tag name="KSO_WM_UNIT_TYPE" val="f"/>
  <p:tag name="KSO_WM_UNIT_INDEX" val="1"/>
  <p:tag name="KSO_WM_UNIT_ID" val="diagram20194654_1*f*1"/>
  <p:tag name="KSO_WM_TEMPLATE_CATEGORY" val="diagram"/>
  <p:tag name="KSO_WM_TEMPLATE_INDEX" val="20194654"/>
  <p:tag name="KSO_WM_UNIT_LAYERLEVEL" val="1"/>
  <p:tag name="KSO_WM_TAG_VERSION" val="1.0"/>
  <p:tag name="KSO_WM_BEAUTIFY_FLAG" val="#wm#"/>
  <p:tag name="KSO_WM_UNIT_COLOR_SCHEME_SHAPE_ID" val="2"/>
  <p:tag name="KSO_WM_UNIT_COLOR_SCHEME_PARENT_PAGE" val="0_1"/>
</p:tagLst>
</file>

<file path=ppt/tags/tag145.xml><?xml version="1.0" encoding="utf-8"?>
<p:tagLst xmlns:p="http://schemas.openxmlformats.org/presentationml/2006/main">
  <p:tag name="KSO_WM_UNIT_TEXT_PART_ID_V2" val="a-1-2"/>
  <p:tag name="KSO_WM_UNIT_ISCONTENTSTITLE" val="0"/>
  <p:tag name="KSO_WM_UNIT_PRESET_TEXT" val="单击添加大标题"/>
  <p:tag name="KSO_WM_UNIT_NOCLEAR" val="0"/>
  <p:tag name="KSO_WM_UNIT_VALUE" val="8"/>
  <p:tag name="KSO_WM_UNIT_HIGHLIGHT" val="0"/>
  <p:tag name="KSO_WM_UNIT_COMPATIBLE" val="0"/>
  <p:tag name="KSO_WM_UNIT_DIAGRAM_ISNUMVISUAL" val="0"/>
  <p:tag name="KSO_WM_UNIT_DIAGRAM_ISREFERUNIT" val="0"/>
  <p:tag name="KSO_WM_UNIT_TYPE" val="a"/>
  <p:tag name="KSO_WM_UNIT_INDEX" val="1"/>
  <p:tag name="KSO_WM_UNIT_ID" val="diagram20194654_1*a*1"/>
  <p:tag name="KSO_WM_TEMPLATE_CATEGORY" val="diagram"/>
  <p:tag name="KSO_WM_TEMPLATE_INDEX" val="20194654"/>
  <p:tag name="KSO_WM_UNIT_LAYERLEVEL" val="1"/>
  <p:tag name="KSO_WM_TAG_VERSION" val="1.0"/>
  <p:tag name="KSO_WM_BEAUTIFY_FLAG" val="#wm#"/>
  <p:tag name="KSO_WM_UNIT_COLOR_SCHEME_SHAPE_ID" val="11"/>
  <p:tag name="KSO_WM_UNIT_COLOR_SCHEME_PARENT_PAGE" val="0_1"/>
</p:tagLst>
</file>

<file path=ppt/tags/tag14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
  <p:tag name="KSO_WM_UNIT_ID" val="diagram20194654_1*i*4"/>
  <p:tag name="KSO_WM_TEMPLATE_CATEGORY" val="diagram"/>
  <p:tag name="KSO_WM_TEMPLATE_INDEX" val="20194654"/>
  <p:tag name="KSO_WM_UNIT_LAYERLEVEL" val="1"/>
  <p:tag name="KSO_WM_TAG_VERSION" val="1.0"/>
  <p:tag name="KSO_WM_BEAUTIFY_FLAG" val="#wm#"/>
  <p:tag name="KSO_WM_UNIT_COLOR_SCHEME_SHAPE_ID" val="13"/>
  <p:tag name="KSO_WM_UNIT_COLOR_SCHEME_PARENT_PAGE" val="0_1"/>
</p:tagLst>
</file>

<file path=ppt/tags/tag14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
  <p:tag name="KSO_WM_UNIT_ID" val="diagram20194654_1*i*5"/>
  <p:tag name="KSO_WM_TEMPLATE_CATEGORY" val="diagram"/>
  <p:tag name="KSO_WM_TEMPLATE_INDEX" val="20194654"/>
  <p:tag name="KSO_WM_UNIT_LAYERLEVEL" val="1"/>
  <p:tag name="KSO_WM_TAG_VERSION" val="1.0"/>
  <p:tag name="KSO_WM_BEAUTIFY_FLAG" val="#wm#"/>
  <p:tag name="KSO_WM_UNIT_COLOR_SCHEME_SHAPE_ID" val="14"/>
  <p:tag name="KSO_WM_UNIT_COLOR_SCHEME_PARENT_PAGE" val="0_1"/>
</p:tagLst>
</file>

<file path=ppt/tags/tag14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
  <p:tag name="KSO_WM_UNIT_ID" val="diagram20194654_1*i*6"/>
  <p:tag name="KSO_WM_TEMPLATE_CATEGORY" val="diagram"/>
  <p:tag name="KSO_WM_TEMPLATE_INDEX" val="20194654"/>
  <p:tag name="KSO_WM_UNIT_LAYERLEVEL" val="1"/>
  <p:tag name="KSO_WM_TAG_VERSION" val="1.0"/>
  <p:tag name="KSO_WM_BEAUTIFY_FLAG" val="#wm#"/>
  <p:tag name="KSO_WM_UNIT_COLOR_SCHEME_SHAPE_ID" val="15"/>
  <p:tag name="KSO_WM_UNIT_COLOR_SCHEME_PARENT_PAGE" val="0_1"/>
</p:tagLst>
</file>

<file path=ppt/tags/tag14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8"/>
  <p:tag name="KSO_WM_UNIT_ID" val="diagram20194654_1*i*8"/>
  <p:tag name="KSO_WM_TEMPLATE_CATEGORY" val="diagram"/>
  <p:tag name="KSO_WM_TEMPLATE_INDEX" val="20194654"/>
  <p:tag name="KSO_WM_UNIT_LAYERLEVEL" val="1"/>
  <p:tag name="KSO_WM_TAG_VERSION" val="1.0"/>
  <p:tag name="KSO_WM_BEAUTIFY_FLAG" val="#wm#"/>
  <p:tag name="KSO_WM_UNIT_COLOR_SCHEME_SHAPE_ID" val="18"/>
  <p:tag name="KSO_WM_UNIT_COLOR_SCHEME_PARENT_PAGE" val="0_1"/>
  <p:tag name="KSO_WM_UNIT_DECOLORIZATION" val="1"/>
</p:tagLst>
</file>

<file path=ppt/tags/tag15.xml><?xml version="1.0" encoding="utf-8"?>
<p:tagLst xmlns:p="http://schemas.openxmlformats.org/presentationml/2006/main">
  <p:tag name="KSO_WM_SLIDE_ID" val="diagram20194848_1"/>
  <p:tag name="KSO_WM_TEMPLATE_SUBCATEGORY" val="0"/>
  <p:tag name="KSO_WM_SLIDE_TYPE" val="text"/>
  <p:tag name="KSO_WM_SLIDE_SUBTYPE" val="pureTxt"/>
  <p:tag name="KSO_WM_SLIDE_ITEM_CNT" val="0"/>
  <p:tag name="KSO_WM_SLIDE_INDEX" val="1"/>
  <p:tag name="KSO_WM_SLIDE_SIZE" val="960*540"/>
  <p:tag name="KSO_WM_SLIDE_POSITION" val="0*0"/>
  <p:tag name="KSO_WM_TAG_VERSION" val="1.0"/>
  <p:tag name="KSO_WM_BEAUTIFY_FLAG" val="#wm#"/>
  <p:tag name="KSO_WM_TEMPLATE_CATEGORY" val="diagram"/>
  <p:tag name="KSO_WM_TEMPLATE_INDEX" val="20194848"/>
  <p:tag name="KSO_WM_SLIDE_LAYOUT" val="a_f"/>
  <p:tag name="KSO_WM_SLIDE_LAYOUT_CNT" val="1_2"/>
</p:tagLst>
</file>

<file path=ppt/tags/tag15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9"/>
  <p:tag name="KSO_WM_UNIT_ID" val="diagram20194654_1*i*9"/>
  <p:tag name="KSO_WM_TEMPLATE_CATEGORY" val="diagram"/>
  <p:tag name="KSO_WM_TEMPLATE_INDEX" val="20194654"/>
  <p:tag name="KSO_WM_UNIT_LAYERLEVEL" val="1"/>
  <p:tag name="KSO_WM_TAG_VERSION" val="1.0"/>
  <p:tag name="KSO_WM_BEAUTIFY_FLAG" val="#wm#"/>
  <p:tag name="KSO_WM_UNIT_COLOR_SCHEME_SHAPE_ID" val="19"/>
  <p:tag name="KSO_WM_UNIT_COLOR_SCHEME_PARENT_PAGE" val="0_1"/>
  <p:tag name="KSO_WM_UNIT_DECOLORIZATION" val="1"/>
</p:tagLst>
</file>

<file path=ppt/tags/tag15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0"/>
  <p:tag name="KSO_WM_UNIT_ID" val="diagram20194654_1*i*10"/>
  <p:tag name="KSO_WM_TEMPLATE_CATEGORY" val="diagram"/>
  <p:tag name="KSO_WM_TEMPLATE_INDEX" val="20194654"/>
  <p:tag name="KSO_WM_UNIT_LAYERLEVEL" val="1"/>
  <p:tag name="KSO_WM_TAG_VERSION" val="1.0"/>
  <p:tag name="KSO_WM_BEAUTIFY_FLAG" val="#wm#"/>
  <p:tag name="KSO_WM_UNIT_COLOR_SCHEME_SHAPE_ID" val="20"/>
  <p:tag name="KSO_WM_UNIT_COLOR_SCHEME_PARENT_PAGE" val="0_1"/>
  <p:tag name="KSO_WM_UNIT_DECOLORIZATION" val="1"/>
</p:tagLst>
</file>

<file path=ppt/tags/tag15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1"/>
  <p:tag name="KSO_WM_UNIT_ID" val="diagram20194654_1*i*11"/>
  <p:tag name="KSO_WM_TEMPLATE_CATEGORY" val="diagram"/>
  <p:tag name="KSO_WM_TEMPLATE_INDEX" val="20194654"/>
  <p:tag name="KSO_WM_UNIT_LAYERLEVEL" val="1"/>
  <p:tag name="KSO_WM_TAG_VERSION" val="1.0"/>
  <p:tag name="KSO_WM_BEAUTIFY_FLAG" val="#wm#"/>
  <p:tag name="KSO_WM_UNIT_COLOR_SCHEME_SHAPE_ID" val="21"/>
  <p:tag name="KSO_WM_UNIT_COLOR_SCHEME_PARENT_PAGE" val="0_1"/>
  <p:tag name="KSO_WM_UNIT_DECOLORIZATION" val="1"/>
</p:tagLst>
</file>

<file path=ppt/tags/tag15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2"/>
  <p:tag name="KSO_WM_UNIT_ID" val="diagram20194654_1*i*12"/>
  <p:tag name="KSO_WM_TEMPLATE_CATEGORY" val="diagram"/>
  <p:tag name="KSO_WM_TEMPLATE_INDEX" val="20194654"/>
  <p:tag name="KSO_WM_UNIT_LAYERLEVEL" val="1"/>
  <p:tag name="KSO_WM_TAG_VERSION" val="1.0"/>
  <p:tag name="KSO_WM_BEAUTIFY_FLAG" val="#wm#"/>
  <p:tag name="KSO_WM_UNIT_COLOR_SCHEME_SHAPE_ID" val="22"/>
  <p:tag name="KSO_WM_UNIT_COLOR_SCHEME_PARENT_PAGE" val="0_1"/>
  <p:tag name="KSO_WM_UNIT_DECOLORIZATION" val="1"/>
</p:tagLst>
</file>

<file path=ppt/tags/tag15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3"/>
  <p:tag name="KSO_WM_UNIT_ID" val="diagram20194654_1*i*13"/>
  <p:tag name="KSO_WM_TEMPLATE_CATEGORY" val="diagram"/>
  <p:tag name="KSO_WM_TEMPLATE_INDEX" val="20194654"/>
  <p:tag name="KSO_WM_UNIT_LAYERLEVEL" val="1"/>
  <p:tag name="KSO_WM_TAG_VERSION" val="1.0"/>
  <p:tag name="KSO_WM_BEAUTIFY_FLAG" val="#wm#"/>
  <p:tag name="KSO_WM_UNIT_COLOR_SCHEME_SHAPE_ID" val="23"/>
  <p:tag name="KSO_WM_UNIT_COLOR_SCHEME_PARENT_PAGE" val="0_1"/>
  <p:tag name="KSO_WM_UNIT_DECOLORIZATION" val="1"/>
</p:tagLst>
</file>

<file path=ppt/tags/tag15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4"/>
  <p:tag name="KSO_WM_UNIT_ID" val="diagram20194654_1*i*14"/>
  <p:tag name="KSO_WM_TEMPLATE_CATEGORY" val="diagram"/>
  <p:tag name="KSO_WM_TEMPLATE_INDEX" val="20194654"/>
  <p:tag name="KSO_WM_UNIT_LAYERLEVEL" val="1"/>
  <p:tag name="KSO_WM_TAG_VERSION" val="1.0"/>
  <p:tag name="KSO_WM_BEAUTIFY_FLAG" val="#wm#"/>
  <p:tag name="KSO_WM_UNIT_COLOR_SCHEME_SHAPE_ID" val="24"/>
  <p:tag name="KSO_WM_UNIT_COLOR_SCHEME_PARENT_PAGE" val="0_1"/>
  <p:tag name="KSO_WM_UNIT_DECOLORIZATION" val="1"/>
</p:tagLst>
</file>

<file path=ppt/tags/tag15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5"/>
  <p:tag name="KSO_WM_UNIT_ID" val="diagram20194654_1*i*15"/>
  <p:tag name="KSO_WM_TEMPLATE_CATEGORY" val="diagram"/>
  <p:tag name="KSO_WM_TEMPLATE_INDEX" val="20194654"/>
  <p:tag name="KSO_WM_UNIT_LAYERLEVEL" val="1"/>
  <p:tag name="KSO_WM_TAG_VERSION" val="1.0"/>
  <p:tag name="KSO_WM_BEAUTIFY_FLAG" val="#wm#"/>
  <p:tag name="KSO_WM_UNIT_COLOR_SCHEME_SHAPE_ID" val="25"/>
  <p:tag name="KSO_WM_UNIT_COLOR_SCHEME_PARENT_PAGE" val="0_1"/>
  <p:tag name="KSO_WM_UNIT_DECOLORIZATION" val="1"/>
</p:tagLst>
</file>

<file path=ppt/tags/tag15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6"/>
  <p:tag name="KSO_WM_UNIT_ID" val="diagram20194654_1*i*16"/>
  <p:tag name="KSO_WM_TEMPLATE_CATEGORY" val="diagram"/>
  <p:tag name="KSO_WM_TEMPLATE_INDEX" val="20194654"/>
  <p:tag name="KSO_WM_UNIT_LAYERLEVEL" val="1"/>
  <p:tag name="KSO_WM_TAG_VERSION" val="1.0"/>
  <p:tag name="KSO_WM_BEAUTIFY_FLAG" val="#wm#"/>
  <p:tag name="KSO_WM_UNIT_COLOR_SCHEME_SHAPE_ID" val="26"/>
  <p:tag name="KSO_WM_UNIT_COLOR_SCHEME_PARENT_PAGE" val="0_1"/>
  <p:tag name="KSO_WM_UNIT_DECOLORIZATION" val="1"/>
</p:tagLst>
</file>

<file path=ppt/tags/tag15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7"/>
  <p:tag name="KSO_WM_UNIT_ID" val="diagram20194654_1*i*17"/>
  <p:tag name="KSO_WM_TEMPLATE_CATEGORY" val="diagram"/>
  <p:tag name="KSO_WM_TEMPLATE_INDEX" val="20194654"/>
  <p:tag name="KSO_WM_UNIT_LAYERLEVEL" val="1"/>
  <p:tag name="KSO_WM_TAG_VERSION" val="1.0"/>
  <p:tag name="KSO_WM_BEAUTIFY_FLAG" val="#wm#"/>
  <p:tag name="KSO_WM_UNIT_COLOR_SCHEME_SHAPE_ID" val="27"/>
  <p:tag name="KSO_WM_UNIT_COLOR_SCHEME_PARENT_PAGE" val="0_1"/>
  <p:tag name="KSO_WM_UNIT_DECOLORIZATION" val="1"/>
</p:tagLst>
</file>

<file path=ppt/tags/tag15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8"/>
  <p:tag name="KSO_WM_UNIT_ID" val="diagram20194654_1*i*18"/>
  <p:tag name="KSO_WM_TEMPLATE_CATEGORY" val="diagram"/>
  <p:tag name="KSO_WM_TEMPLATE_INDEX" val="20194654"/>
  <p:tag name="KSO_WM_UNIT_LAYERLEVEL" val="1"/>
  <p:tag name="KSO_WM_TAG_VERSION" val="1.0"/>
  <p:tag name="KSO_WM_BEAUTIFY_FLAG" val="#wm#"/>
  <p:tag name="KSO_WM_UNIT_COLOR_SCHEME_SHAPE_ID" val="28"/>
  <p:tag name="KSO_WM_UNIT_COLOR_SCHEME_PARENT_PAGE" val="0_1"/>
  <p:tag name="KSO_WM_UNIT_DECOLORIZATION" val="1"/>
</p:tagLst>
</file>

<file path=ppt/tags/tag16.xml><?xml version="1.0" encoding="utf-8"?>
<p:tagLst xmlns:p="http://schemas.openxmlformats.org/presentationml/2006/main">
  <p:tag name="KSO_WM_UNIT_LARGE_SHAPE" val="1"/>
  <p:tag name="KSO_WM_UNIT_HIGHLIGHT" val="0"/>
  <p:tag name="KSO_WM_UNIT_COMPATIBLE" val="0"/>
  <p:tag name="KSO_WM_UNIT_DIAGRAM_ISNUMVISUAL" val="0"/>
  <p:tag name="KSO_WM_UNIT_DIAGRAM_ISREFERUNIT" val="0"/>
  <p:tag name="KSO_WM_UNIT_ID" val="diagram20194848_1*i*1"/>
  <p:tag name="KSO_WM_TEMPLATE_CATEGORY" val="diagram"/>
  <p:tag name="KSO_WM_TEMPLATE_INDEX" val="20194848"/>
  <p:tag name="KSO_WM_UNIT_LAYERLEVEL" val="1"/>
  <p:tag name="KSO_WM_TAG_VERSION" val="1.0"/>
  <p:tag name="KSO_WM_BEAUTIFY_FLAG" val="#wm#"/>
  <p:tag name="KSO_WM_UNIT_TYPE" val="i"/>
  <p:tag name="KSO_WM_UNIT_INDEX" val="1"/>
</p:tagLst>
</file>

<file path=ppt/tags/tag16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9"/>
  <p:tag name="KSO_WM_UNIT_ID" val="diagram20194654_1*i*19"/>
  <p:tag name="KSO_WM_TEMPLATE_CATEGORY" val="diagram"/>
  <p:tag name="KSO_WM_TEMPLATE_INDEX" val="20194654"/>
  <p:tag name="KSO_WM_UNIT_LAYERLEVEL" val="1"/>
  <p:tag name="KSO_WM_TAG_VERSION" val="1.0"/>
  <p:tag name="KSO_WM_BEAUTIFY_FLAG" val="#wm#"/>
  <p:tag name="KSO_WM_UNIT_COLOR_SCHEME_SHAPE_ID" val="30"/>
  <p:tag name="KSO_WM_UNIT_COLOR_SCHEME_PARENT_PAGE" val="0_1"/>
  <p:tag name="KSO_WM_UNIT_DECOLORIZATION" val="1"/>
</p:tagLst>
</file>

<file path=ppt/tags/tag16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0"/>
  <p:tag name="KSO_WM_UNIT_ID" val="diagram20194654_1*i*20"/>
  <p:tag name="KSO_WM_TEMPLATE_CATEGORY" val="diagram"/>
  <p:tag name="KSO_WM_TEMPLATE_INDEX" val="20194654"/>
  <p:tag name="KSO_WM_UNIT_LAYERLEVEL" val="1"/>
  <p:tag name="KSO_WM_TAG_VERSION" val="1.0"/>
  <p:tag name="KSO_WM_BEAUTIFY_FLAG" val="#wm#"/>
  <p:tag name="KSO_WM_UNIT_COLOR_SCHEME_SHAPE_ID" val="31"/>
  <p:tag name="KSO_WM_UNIT_COLOR_SCHEME_PARENT_PAGE" val="0_1"/>
  <p:tag name="KSO_WM_UNIT_DECOLORIZATION" val="1"/>
</p:tagLst>
</file>

<file path=ppt/tags/tag16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1"/>
  <p:tag name="KSO_WM_UNIT_ID" val="diagram20194654_1*i*21"/>
  <p:tag name="KSO_WM_TEMPLATE_CATEGORY" val="diagram"/>
  <p:tag name="KSO_WM_TEMPLATE_INDEX" val="20194654"/>
  <p:tag name="KSO_WM_UNIT_LAYERLEVEL" val="1"/>
  <p:tag name="KSO_WM_TAG_VERSION" val="1.0"/>
  <p:tag name="KSO_WM_BEAUTIFY_FLAG" val="#wm#"/>
  <p:tag name="KSO_WM_UNIT_COLOR_SCHEME_SHAPE_ID" val="32"/>
  <p:tag name="KSO_WM_UNIT_COLOR_SCHEME_PARENT_PAGE" val="0_1"/>
  <p:tag name="KSO_WM_UNIT_DECOLORIZATION" val="1"/>
</p:tagLst>
</file>

<file path=ppt/tags/tag16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2"/>
  <p:tag name="KSO_WM_UNIT_ID" val="diagram20194654_1*i*22"/>
  <p:tag name="KSO_WM_TEMPLATE_CATEGORY" val="diagram"/>
  <p:tag name="KSO_WM_TEMPLATE_INDEX" val="20194654"/>
  <p:tag name="KSO_WM_UNIT_LAYERLEVEL" val="1"/>
  <p:tag name="KSO_WM_TAG_VERSION" val="1.0"/>
  <p:tag name="KSO_WM_BEAUTIFY_FLAG" val="#wm#"/>
  <p:tag name="KSO_WM_UNIT_COLOR_SCHEME_SHAPE_ID" val="33"/>
  <p:tag name="KSO_WM_UNIT_DECOLORIZATION" val="1"/>
  <p:tag name="KSO_WM_UNIT_COLOR_SCHEME_PARENT_PAGE" val="0_1"/>
</p:tagLst>
</file>

<file path=ppt/tags/tag16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3"/>
  <p:tag name="KSO_WM_UNIT_ID" val="diagram20194654_1*i*23"/>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34"/>
  <p:tag name="KSO_WM_UNIT_COLOR_SCHEME_PARENT_PAGE" val="0_1"/>
</p:tagLst>
</file>

<file path=ppt/tags/tag16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4"/>
  <p:tag name="KSO_WM_UNIT_ID" val="diagram20194654_1*i*24"/>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35"/>
  <p:tag name="KSO_WM_UNIT_COLOR_SCHEME_PARENT_PAGE" val="0_1"/>
</p:tagLst>
</file>

<file path=ppt/tags/tag16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5"/>
  <p:tag name="KSO_WM_UNIT_ID" val="diagram20194654_1*i*25"/>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36"/>
  <p:tag name="KSO_WM_UNIT_COLOR_SCHEME_PARENT_PAGE" val="0_1"/>
</p:tagLst>
</file>

<file path=ppt/tags/tag16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6"/>
  <p:tag name="KSO_WM_UNIT_ID" val="diagram20194654_1*i*26"/>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37"/>
  <p:tag name="KSO_WM_UNIT_COLOR_SCHEME_PARENT_PAGE" val="0_1"/>
</p:tagLst>
</file>

<file path=ppt/tags/tag16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7"/>
  <p:tag name="KSO_WM_UNIT_ID" val="diagram20194654_1*i*27"/>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38"/>
  <p:tag name="KSO_WM_UNIT_COLOR_SCHEME_PARENT_PAGE" val="0_1"/>
</p:tagLst>
</file>

<file path=ppt/tags/tag16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8"/>
  <p:tag name="KSO_WM_UNIT_ID" val="diagram20194654_1*i*28"/>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39"/>
  <p:tag name="KSO_WM_UNIT_COLOR_SCHEME_PARENT_PAGE" val="0_1"/>
</p:tagLst>
</file>

<file path=ppt/tags/tag1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2"/>
  <p:tag name="KSO_WM_TEMPLATE_CATEGORY" val="diagram"/>
  <p:tag name="KSO_WM_TEMPLATE_INDEX" val="20194848"/>
  <p:tag name="KSO_WM_UNIT_LAYERLEVEL" val="1"/>
  <p:tag name="KSO_WM_TAG_VERSION" val="1.0"/>
  <p:tag name="KSO_WM_BEAUTIFY_FLAG" val="#wm#"/>
  <p:tag name="KSO_WM_UNIT_TYPE" val="i"/>
  <p:tag name="KSO_WM_UNIT_INDEX" val="2"/>
</p:tagLst>
</file>

<file path=ppt/tags/tag17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9"/>
  <p:tag name="KSO_WM_UNIT_ID" val="diagram20194654_1*i*29"/>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40"/>
  <p:tag name="KSO_WM_UNIT_COLOR_SCHEME_PARENT_PAGE" val="0_1"/>
</p:tagLst>
</file>

<file path=ppt/tags/tag17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0"/>
  <p:tag name="KSO_WM_UNIT_ID" val="diagram20194654_1*i*30"/>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42"/>
  <p:tag name="KSO_WM_UNIT_COLOR_SCHEME_PARENT_PAGE" val="0_1"/>
</p:tagLst>
</file>

<file path=ppt/tags/tag17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1"/>
  <p:tag name="KSO_WM_UNIT_ID" val="diagram20194654_1*i*31"/>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43"/>
  <p:tag name="KSO_WM_UNIT_COLOR_SCHEME_PARENT_PAGE" val="0_1"/>
</p:tagLst>
</file>

<file path=ppt/tags/tag17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2"/>
  <p:tag name="KSO_WM_UNIT_ID" val="diagram20194654_1*i*32"/>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44"/>
  <p:tag name="KSO_WM_UNIT_COLOR_SCHEME_PARENT_PAGE" val="0_1"/>
</p:tagLst>
</file>

<file path=ppt/tags/tag17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3"/>
  <p:tag name="KSO_WM_UNIT_ID" val="diagram20194654_1*i*33"/>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45"/>
  <p:tag name="KSO_WM_UNIT_COLOR_SCHEME_PARENT_PAGE" val="0_1"/>
</p:tagLst>
</file>

<file path=ppt/tags/tag17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4"/>
  <p:tag name="KSO_WM_UNIT_ID" val="diagram20194654_1*i*34"/>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46"/>
  <p:tag name="KSO_WM_UNIT_COLOR_SCHEME_PARENT_PAGE" val="0_1"/>
</p:tagLst>
</file>

<file path=ppt/tags/tag17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5"/>
  <p:tag name="KSO_WM_UNIT_ID" val="diagram20194654_1*i*35"/>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47"/>
  <p:tag name="KSO_WM_UNIT_COLOR_SCHEME_PARENT_PAGE" val="0_1"/>
</p:tagLst>
</file>

<file path=ppt/tags/tag17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6"/>
  <p:tag name="KSO_WM_UNIT_ID" val="diagram20194654_1*i*36"/>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48"/>
  <p:tag name="KSO_WM_UNIT_COLOR_SCHEME_PARENT_PAGE" val="0_1"/>
</p:tagLst>
</file>

<file path=ppt/tags/tag17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7"/>
  <p:tag name="KSO_WM_UNIT_ID" val="diagram20194654_1*i*37"/>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49"/>
  <p:tag name="KSO_WM_UNIT_COLOR_SCHEME_PARENT_PAGE" val="0_1"/>
</p:tagLst>
</file>

<file path=ppt/tags/tag17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8"/>
  <p:tag name="KSO_WM_UNIT_ID" val="diagram20194654_1*i*38"/>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50"/>
  <p:tag name="KSO_WM_UNIT_COLOR_SCHEME_PARENT_PAGE" val="0_1"/>
</p:tagLst>
</file>

<file path=ppt/tags/tag1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3"/>
  <p:tag name="KSO_WM_TEMPLATE_CATEGORY" val="diagram"/>
  <p:tag name="KSO_WM_TEMPLATE_INDEX" val="20194848"/>
  <p:tag name="KSO_WM_UNIT_LAYERLEVEL" val="1"/>
  <p:tag name="KSO_WM_TAG_VERSION" val="1.0"/>
  <p:tag name="KSO_WM_BEAUTIFY_FLAG" val="#wm#"/>
  <p:tag name="KSO_WM_UNIT_TYPE" val="i"/>
  <p:tag name="KSO_WM_UNIT_INDEX" val="3"/>
</p:tagLst>
</file>

<file path=ppt/tags/tag18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9"/>
  <p:tag name="KSO_WM_UNIT_ID" val="diagram20194654_1*i*39"/>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51"/>
  <p:tag name="KSO_WM_UNIT_COLOR_SCHEME_PARENT_PAGE" val="0_1"/>
</p:tagLst>
</file>

<file path=ppt/tags/tag18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0"/>
  <p:tag name="KSO_WM_UNIT_ID" val="diagram20194654_1*i*40"/>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52"/>
  <p:tag name="KSO_WM_UNIT_COLOR_SCHEME_PARENT_PAGE" val="0_1"/>
</p:tagLst>
</file>

<file path=ppt/tags/tag18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1"/>
  <p:tag name="KSO_WM_UNIT_ID" val="diagram20194654_1*i*41"/>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54"/>
  <p:tag name="KSO_WM_UNIT_COLOR_SCHEME_PARENT_PAGE" val="0_1"/>
</p:tagLst>
</file>

<file path=ppt/tags/tag18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2"/>
  <p:tag name="KSO_WM_UNIT_ID" val="diagram20194654_1*i*42"/>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55"/>
  <p:tag name="KSO_WM_UNIT_COLOR_SCHEME_PARENT_PAGE" val="0_1"/>
</p:tagLst>
</file>

<file path=ppt/tags/tag18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3"/>
  <p:tag name="KSO_WM_UNIT_ID" val="diagram20194654_1*i*43"/>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56"/>
  <p:tag name="KSO_WM_UNIT_COLOR_SCHEME_PARENT_PAGE" val="0_1"/>
</p:tagLst>
</file>

<file path=ppt/tags/tag18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4"/>
  <p:tag name="KSO_WM_UNIT_ID" val="diagram20194654_1*i*44"/>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57"/>
  <p:tag name="KSO_WM_UNIT_COLOR_SCHEME_PARENT_PAGE" val="0_1"/>
</p:tagLst>
</file>

<file path=ppt/tags/tag18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5"/>
  <p:tag name="KSO_WM_UNIT_ID" val="diagram20194654_1*i*45"/>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58"/>
  <p:tag name="KSO_WM_UNIT_COLOR_SCHEME_PARENT_PAGE" val="0_1"/>
</p:tagLst>
</file>

<file path=ppt/tags/tag18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6"/>
  <p:tag name="KSO_WM_UNIT_ID" val="diagram20194654_1*i*46"/>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59"/>
  <p:tag name="KSO_WM_UNIT_COLOR_SCHEME_PARENT_PAGE" val="0_1"/>
</p:tagLst>
</file>

<file path=ppt/tags/tag18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7"/>
  <p:tag name="KSO_WM_UNIT_ID" val="diagram20194654_1*i*47"/>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60"/>
  <p:tag name="KSO_WM_UNIT_COLOR_SCHEME_PARENT_PAGE" val="0_1"/>
</p:tagLst>
</file>

<file path=ppt/tags/tag18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8"/>
  <p:tag name="KSO_WM_UNIT_ID" val="diagram20194654_1*i*48"/>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61"/>
  <p:tag name="KSO_WM_UNIT_COLOR_SCHEME_PARENT_PAGE" val="0_1"/>
</p:tagLst>
</file>

<file path=ppt/tags/tag1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4"/>
  <p:tag name="KSO_WM_TEMPLATE_CATEGORY" val="diagram"/>
  <p:tag name="KSO_WM_TEMPLATE_INDEX" val="20194848"/>
  <p:tag name="KSO_WM_UNIT_LAYERLEVEL" val="1"/>
  <p:tag name="KSO_WM_TAG_VERSION" val="1.0"/>
  <p:tag name="KSO_WM_BEAUTIFY_FLAG" val="#wm#"/>
  <p:tag name="KSO_WM_UNIT_TYPE" val="i"/>
  <p:tag name="KSO_WM_UNIT_INDEX" val="4"/>
</p:tagLst>
</file>

<file path=ppt/tags/tag19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9"/>
  <p:tag name="KSO_WM_UNIT_ID" val="diagram20194654_1*i*49"/>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62"/>
  <p:tag name="KSO_WM_UNIT_COLOR_SCHEME_PARENT_PAGE" val="0_1"/>
</p:tagLst>
</file>

<file path=ppt/tags/tag19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0"/>
  <p:tag name="KSO_WM_UNIT_ID" val="diagram20194654_1*i*50"/>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63"/>
  <p:tag name="KSO_WM_UNIT_COLOR_SCHEME_PARENT_PAGE" val="0_1"/>
</p:tagLst>
</file>

<file path=ppt/tags/tag19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1"/>
  <p:tag name="KSO_WM_UNIT_ID" val="diagram20194654_1*i*51"/>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64"/>
  <p:tag name="KSO_WM_UNIT_COLOR_SCHEME_PARENT_PAGE" val="0_1"/>
</p:tagLst>
</file>

<file path=ppt/tags/tag19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2"/>
  <p:tag name="KSO_WM_UNIT_ID" val="diagram20194654_1*i*52"/>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66"/>
  <p:tag name="KSO_WM_UNIT_COLOR_SCHEME_PARENT_PAGE" val="0_1"/>
</p:tagLst>
</file>

<file path=ppt/tags/tag19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3"/>
  <p:tag name="KSO_WM_UNIT_ID" val="diagram20194654_1*i*53"/>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67"/>
  <p:tag name="KSO_WM_UNIT_COLOR_SCHEME_PARENT_PAGE" val="0_1"/>
</p:tagLst>
</file>

<file path=ppt/tags/tag19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4"/>
  <p:tag name="KSO_WM_UNIT_ID" val="diagram20194654_1*i*54"/>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68"/>
  <p:tag name="KSO_WM_UNIT_COLOR_SCHEME_PARENT_PAGE" val="0_1"/>
</p:tagLst>
</file>

<file path=ppt/tags/tag19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5"/>
  <p:tag name="KSO_WM_UNIT_ID" val="diagram20194654_1*i*55"/>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69"/>
  <p:tag name="KSO_WM_UNIT_COLOR_SCHEME_PARENT_PAGE" val="0_1"/>
</p:tagLst>
</file>

<file path=ppt/tags/tag19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6"/>
  <p:tag name="KSO_WM_UNIT_ID" val="diagram20194654_1*i*56"/>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70"/>
  <p:tag name="KSO_WM_UNIT_COLOR_SCHEME_PARENT_PAGE" val="0_1"/>
</p:tagLst>
</file>

<file path=ppt/tags/tag19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7"/>
  <p:tag name="KSO_WM_UNIT_ID" val="diagram20194654_1*i*57"/>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71"/>
  <p:tag name="KSO_WM_UNIT_COLOR_SCHEME_PARENT_PAGE" val="0_1"/>
</p:tagLst>
</file>

<file path=ppt/tags/tag19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8"/>
  <p:tag name="KSO_WM_UNIT_ID" val="diagram20194654_1*i*58"/>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72"/>
  <p:tag name="KSO_WM_UNIT_COLOR_SCHEME_PARENT_PAGE" val="0_1"/>
</p:tagLst>
</file>

<file path=ppt/tags/tag2.xml><?xml version="1.0" encoding="utf-8"?>
<p:tagLst xmlns:p="http://schemas.openxmlformats.org/presentationml/2006/main">
  <p:tag name="THINKCELLSHAPEDONOTDELETE" val="thinkcellActiveDocDoNotDelete"/>
</p:tagLst>
</file>

<file path=ppt/tags/tag20.xml><?xml version="1.0" encoding="utf-8"?>
<p:tagLst xmlns:p="http://schemas.openxmlformats.org/presentationml/2006/main">
  <p:tag name="KSO_WM_UNIT_ISCONTENTSTITLE" val="0"/>
  <p:tag name="KSO_WM_UNIT_PRESET_TEXT" val="此处可添加您的大标题内容"/>
  <p:tag name="KSO_WM_UNIT_TEXT_PART_ID" val="2-X"/>
  <p:tag name="KSO_WM_UNIT_TEXT_PART_SIZE" val="49.2*559"/>
  <p:tag name="KSO_WM_UNIT_VALUE" val="26"/>
  <p:tag name="KSO_WM_UNIT_HIGHLIGHT" val="0"/>
  <p:tag name="KSO_WM_UNIT_COMPATIBLE" val="0"/>
  <p:tag name="KSO_WM_UNIT_DIAGRAM_ISNUMVISUAL" val="0"/>
  <p:tag name="KSO_WM_UNIT_DIAGRAM_ISREFERUNIT" val="0"/>
  <p:tag name="KSO_WM_UNIT_TYPE" val="a"/>
  <p:tag name="KSO_WM_UNIT_INDEX" val="1"/>
  <p:tag name="KSO_WM_UNIT_ID" val="diagram20194848_1*a*1"/>
  <p:tag name="KSO_WM_TEMPLATE_CATEGORY" val="diagram"/>
  <p:tag name="KSO_WM_TEMPLATE_INDEX" val="20194848"/>
  <p:tag name="KSO_WM_UNIT_LAYERLEVEL" val="1"/>
  <p:tag name="KSO_WM_TAG_VERSION" val="1.0"/>
  <p:tag name="KSO_WM_BEAUTIFY_FLAG" val="#wm#"/>
  <p:tag name="KSO_WM_UNIT_NOCLEAR" val="0"/>
  <p:tag name="KSO_WM_UNIT_TEXT_PART_ID_V2" val="a-3-1"/>
</p:tagLst>
</file>

<file path=ppt/tags/tag20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9"/>
  <p:tag name="KSO_WM_UNIT_ID" val="diagram20194654_1*i*59"/>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73"/>
  <p:tag name="KSO_WM_UNIT_COLOR_SCHEME_PARENT_PAGE" val="0_1"/>
</p:tagLst>
</file>

<file path=ppt/tags/tag20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0"/>
  <p:tag name="KSO_WM_UNIT_ID" val="diagram20194654_1*i*60"/>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74"/>
  <p:tag name="KSO_WM_UNIT_COLOR_SCHEME_PARENT_PAGE" val="0_1"/>
</p:tagLst>
</file>

<file path=ppt/tags/tag20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1"/>
  <p:tag name="KSO_WM_UNIT_ID" val="diagram20194654_1*i*61"/>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75"/>
  <p:tag name="KSO_WM_UNIT_COLOR_SCHEME_PARENT_PAGE" val="0_1"/>
</p:tagLst>
</file>

<file path=ppt/tags/tag20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2"/>
  <p:tag name="KSO_WM_UNIT_ID" val="diagram20194654_1*i*62"/>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76"/>
  <p:tag name="KSO_WM_UNIT_COLOR_SCHEME_PARENT_PAGE" val="0_1"/>
</p:tagLst>
</file>

<file path=ppt/tags/tag20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3"/>
  <p:tag name="KSO_WM_UNIT_ID" val="diagram20194654_1*i*63"/>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78"/>
  <p:tag name="KSO_WM_UNIT_COLOR_SCHEME_PARENT_PAGE" val="0_1"/>
</p:tagLst>
</file>

<file path=ppt/tags/tag20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4"/>
  <p:tag name="KSO_WM_UNIT_ID" val="diagram20194654_1*i*64"/>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79"/>
  <p:tag name="KSO_WM_UNIT_COLOR_SCHEME_PARENT_PAGE" val="0_1"/>
</p:tagLst>
</file>

<file path=ppt/tags/tag20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5"/>
  <p:tag name="KSO_WM_UNIT_ID" val="diagram20194654_1*i*65"/>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80"/>
  <p:tag name="KSO_WM_UNIT_COLOR_SCHEME_PARENT_PAGE" val="0_1"/>
</p:tagLst>
</file>

<file path=ppt/tags/tag20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6"/>
  <p:tag name="KSO_WM_UNIT_ID" val="diagram20194654_1*i*66"/>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81"/>
  <p:tag name="KSO_WM_UNIT_COLOR_SCHEME_PARENT_PAGE" val="0_1"/>
</p:tagLst>
</file>

<file path=ppt/tags/tag20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7"/>
  <p:tag name="KSO_WM_UNIT_ID" val="diagram20194654_1*i*67"/>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82"/>
  <p:tag name="KSO_WM_UNIT_COLOR_SCHEME_PARENT_PAGE" val="0_1"/>
</p:tagLst>
</file>

<file path=ppt/tags/tag20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8"/>
  <p:tag name="KSO_WM_UNIT_ID" val="diagram20194654_1*i*68"/>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83"/>
  <p:tag name="KSO_WM_UNIT_COLOR_SCHEME_PARENT_PAGE" val="0_1"/>
</p:tagLst>
</file>

<file path=ppt/tags/tag2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5"/>
  <p:tag name="KSO_WM_TEMPLATE_CATEGORY" val="diagram"/>
  <p:tag name="KSO_WM_TEMPLATE_INDEX" val="20194848"/>
  <p:tag name="KSO_WM_UNIT_LAYERLEVEL" val="1"/>
  <p:tag name="KSO_WM_TAG_VERSION" val="1.0"/>
  <p:tag name="KSO_WM_BEAUTIFY_FLAG" val="#wm#"/>
  <p:tag name="KSO_WM_UNIT_TYPE" val="i"/>
  <p:tag name="KSO_WM_UNIT_INDEX" val="5"/>
</p:tagLst>
</file>

<file path=ppt/tags/tag21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9"/>
  <p:tag name="KSO_WM_UNIT_ID" val="diagram20194654_1*i*69"/>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84"/>
  <p:tag name="KSO_WM_UNIT_COLOR_SCHEME_PARENT_PAGE" val="0_1"/>
</p:tagLst>
</file>

<file path=ppt/tags/tag21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70"/>
  <p:tag name="KSO_WM_UNIT_ID" val="diagram20194654_1*i*70"/>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85"/>
  <p:tag name="KSO_WM_UNIT_COLOR_SCHEME_PARENT_PAGE" val="0_1"/>
</p:tagLst>
</file>

<file path=ppt/tags/tag21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71"/>
  <p:tag name="KSO_WM_UNIT_ID" val="diagram20194654_1*i*71"/>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86"/>
  <p:tag name="KSO_WM_UNIT_COLOR_SCHEME_PARENT_PAGE" val="0_1"/>
</p:tagLst>
</file>

<file path=ppt/tags/tag21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72"/>
  <p:tag name="KSO_WM_UNIT_ID" val="diagram20194654_1*i*72"/>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87"/>
  <p:tag name="KSO_WM_UNIT_COLOR_SCHEME_PARENT_PAGE" val="0_1"/>
</p:tagLst>
</file>

<file path=ppt/tags/tag21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73"/>
  <p:tag name="KSO_WM_UNIT_ID" val="diagram20194654_1*i*73"/>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88"/>
  <p:tag name="KSO_WM_UNIT_COLOR_SCHEME_PARENT_PAGE" val="0_1"/>
</p:tagLst>
</file>

<file path=ppt/tags/tag215.xml><?xml version="1.0" encoding="utf-8"?>
<p:tagLst xmlns:p="http://schemas.openxmlformats.org/presentationml/2006/main">
  <p:tag name="KSO_WM_SLIDE_ID" val="diagram20194654_1"/>
  <p:tag name="KSO_WM_SLIDE_ITEM_CNT" val="0"/>
  <p:tag name="KSO_WM_SLIDE_INDEX" val="1"/>
  <p:tag name="KSO_WM_TAG_VERSION" val="1.0"/>
  <p:tag name="KSO_WM_BEAUTIFY_FLAG" val="#wm#"/>
  <p:tag name="KSO_WM_TEMPLATE_CATEGORY" val="diagram"/>
  <p:tag name="KSO_WM_TEMPLATE_INDEX" val="20194654"/>
  <p:tag name="KSO_WM_SLIDE_LAYOUT" val="a_f"/>
  <p:tag name="KSO_WM_SLIDE_LAYOUT_CNT" val="1_1"/>
  <p:tag name="KSO_WM_SLIDE_TYPE" val="text"/>
  <p:tag name="KSO_WM_SLIDE_SUBTYPE" val="pureTxt"/>
  <p:tag name="KSO_WM_SLIDE_SIZE" val="736*382"/>
  <p:tag name="KSO_WM_SLIDE_POSITION" val="116*86"/>
  <p:tag name="KSO_WM_SLIDE_COLORSCHEME_VERSION" val="3.2"/>
  <p:tag name="KSO_WM_TEMPLATE_SUBCATEGORY" val="0"/>
</p:tagLst>
</file>

<file path=ppt/tags/tag21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
  <p:tag name="KSO_WM_UNIT_ID" val="diagram20194654_1*i*1"/>
  <p:tag name="KSO_WM_TEMPLATE_CATEGORY" val="diagram"/>
  <p:tag name="KSO_WM_TEMPLATE_INDEX" val="20194654"/>
  <p:tag name="KSO_WM_UNIT_LAYERLEVEL" val="1"/>
  <p:tag name="KSO_WM_TAG_VERSION" val="1.0"/>
  <p:tag name="KSO_WM_BEAUTIFY_FLAG" val="#wm#"/>
  <p:tag name="KSO_WM_UNIT_COLOR_SCHEME_SHAPE_ID" val="90"/>
  <p:tag name="KSO_WM_UNIT_COLOR_SCHEME_PARENT_PAGE" val="0_1"/>
</p:tagLst>
</file>

<file path=ppt/tags/tag21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
  <p:tag name="KSO_WM_UNIT_ID" val="diagram20194654_1*i*2"/>
  <p:tag name="KSO_WM_TEMPLATE_CATEGORY" val="diagram"/>
  <p:tag name="KSO_WM_TEMPLATE_INDEX" val="20194654"/>
  <p:tag name="KSO_WM_UNIT_LAYERLEVEL" val="1"/>
  <p:tag name="KSO_WM_TAG_VERSION" val="1.0"/>
  <p:tag name="KSO_WM_BEAUTIFY_FLAG" val="#wm#"/>
  <p:tag name="KSO_WM_UNIT_COLOR_SCHEME_SHAPE_ID" val="91"/>
  <p:tag name="KSO_WM_UNIT_COLOR_SCHEME_PARENT_PAGE" val="0_1"/>
  <p:tag name="KSO_WM_UNIT_FOIL_COLOR" val="1"/>
</p:tagLst>
</file>

<file path=ppt/tags/tag218.xml><?xml version="1.0" encoding="utf-8"?>
<p:tagLst xmlns:p="http://schemas.openxmlformats.org/presentationml/2006/main">
  <p:tag name="KSO_WM_UNIT_TEXT_PART_ID_V2" val="d-3-2"/>
  <p:tag name="KSO_WM_UNIT_PRESET_TEXT" val="单击此处添加小标题：&#13;点击此处添加正文，文字是您思想的提炼，为了最终呈现发布的良好效果，请言简意赅的阐述观点，并根据需要酌情增减文字。您的正文已经字字珠玑，但信息却千丝万缕，需要用更多的文字来表述；但请您尽可能提炼思想的精髓。&#13;单击此处添加小标题：&#13;往往事半功倍。为了能让您有更直观的字数感受，并进一步方便使用。"/>
  <p:tag name="KSO_WM_UNIT_NOCLEAR" val="1"/>
  <p:tag name="KSO_WM_UNIT_VALUE" val="273"/>
  <p:tag name="KSO_WM_UNIT_HIGHLIGHT" val="0"/>
  <p:tag name="KSO_WM_UNIT_COMPATIBLE" val="0"/>
  <p:tag name="KSO_WM_UNIT_DIAGRAM_ISNUMVISUAL" val="0"/>
  <p:tag name="KSO_WM_UNIT_DIAGRAM_ISREFERUNIT" val="0"/>
  <p:tag name="KSO_WM_UNIT_TYPE" val="f"/>
  <p:tag name="KSO_WM_UNIT_INDEX" val="1"/>
  <p:tag name="KSO_WM_UNIT_ID" val="diagram20194654_1*f*1"/>
  <p:tag name="KSO_WM_TEMPLATE_CATEGORY" val="diagram"/>
  <p:tag name="KSO_WM_TEMPLATE_INDEX" val="20194654"/>
  <p:tag name="KSO_WM_UNIT_LAYERLEVEL" val="1"/>
  <p:tag name="KSO_WM_TAG_VERSION" val="1.0"/>
  <p:tag name="KSO_WM_BEAUTIFY_FLAG" val="#wm#"/>
  <p:tag name="KSO_WM_UNIT_COLOR_SCHEME_SHAPE_ID" val="2"/>
  <p:tag name="KSO_WM_UNIT_COLOR_SCHEME_PARENT_PAGE" val="0_1"/>
</p:tagLst>
</file>

<file path=ppt/tags/tag219.xml><?xml version="1.0" encoding="utf-8"?>
<p:tagLst xmlns:p="http://schemas.openxmlformats.org/presentationml/2006/main">
  <p:tag name="KSO_WM_UNIT_TEXT_PART_ID_V2" val="a-1-2"/>
  <p:tag name="KSO_WM_UNIT_ISCONTENTSTITLE" val="0"/>
  <p:tag name="KSO_WM_UNIT_PRESET_TEXT" val="单击添加大标题"/>
  <p:tag name="KSO_WM_UNIT_NOCLEAR" val="0"/>
  <p:tag name="KSO_WM_UNIT_VALUE" val="8"/>
  <p:tag name="KSO_WM_UNIT_HIGHLIGHT" val="0"/>
  <p:tag name="KSO_WM_UNIT_COMPATIBLE" val="0"/>
  <p:tag name="KSO_WM_UNIT_DIAGRAM_ISNUMVISUAL" val="0"/>
  <p:tag name="KSO_WM_UNIT_DIAGRAM_ISREFERUNIT" val="0"/>
  <p:tag name="KSO_WM_UNIT_TYPE" val="a"/>
  <p:tag name="KSO_WM_UNIT_INDEX" val="1"/>
  <p:tag name="KSO_WM_UNIT_ID" val="diagram20194654_1*a*1"/>
  <p:tag name="KSO_WM_TEMPLATE_CATEGORY" val="diagram"/>
  <p:tag name="KSO_WM_TEMPLATE_INDEX" val="20194654"/>
  <p:tag name="KSO_WM_UNIT_LAYERLEVEL" val="1"/>
  <p:tag name="KSO_WM_TAG_VERSION" val="1.0"/>
  <p:tag name="KSO_WM_BEAUTIFY_FLAG" val="#wm#"/>
  <p:tag name="KSO_WM_UNIT_COLOR_SCHEME_SHAPE_ID" val="11"/>
  <p:tag name="KSO_WM_UNIT_COLOR_SCHEME_PARENT_PAGE" val="0_1"/>
</p:tagLst>
</file>

<file path=ppt/tags/tag2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7"/>
  <p:tag name="KSO_WM_TEMPLATE_CATEGORY" val="diagram"/>
  <p:tag name="KSO_WM_TEMPLATE_INDEX" val="20194848"/>
  <p:tag name="KSO_WM_UNIT_LAYERLEVEL" val="1"/>
  <p:tag name="KSO_WM_TAG_VERSION" val="1.0"/>
  <p:tag name="KSO_WM_BEAUTIFY_FLAG" val="#wm#"/>
  <p:tag name="KSO_WM_UNIT_TYPE" val="i"/>
  <p:tag name="KSO_WM_UNIT_INDEX" val="7"/>
</p:tagLst>
</file>

<file path=ppt/tags/tag22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
  <p:tag name="KSO_WM_UNIT_ID" val="diagram20194654_1*i*4"/>
  <p:tag name="KSO_WM_TEMPLATE_CATEGORY" val="diagram"/>
  <p:tag name="KSO_WM_TEMPLATE_INDEX" val="20194654"/>
  <p:tag name="KSO_WM_UNIT_LAYERLEVEL" val="1"/>
  <p:tag name="KSO_WM_TAG_VERSION" val="1.0"/>
  <p:tag name="KSO_WM_BEAUTIFY_FLAG" val="#wm#"/>
  <p:tag name="KSO_WM_UNIT_COLOR_SCHEME_SHAPE_ID" val="13"/>
  <p:tag name="KSO_WM_UNIT_COLOR_SCHEME_PARENT_PAGE" val="0_1"/>
</p:tagLst>
</file>

<file path=ppt/tags/tag22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
  <p:tag name="KSO_WM_UNIT_ID" val="diagram20194654_1*i*5"/>
  <p:tag name="KSO_WM_TEMPLATE_CATEGORY" val="diagram"/>
  <p:tag name="KSO_WM_TEMPLATE_INDEX" val="20194654"/>
  <p:tag name="KSO_WM_UNIT_LAYERLEVEL" val="1"/>
  <p:tag name="KSO_WM_TAG_VERSION" val="1.0"/>
  <p:tag name="KSO_WM_BEAUTIFY_FLAG" val="#wm#"/>
  <p:tag name="KSO_WM_UNIT_COLOR_SCHEME_SHAPE_ID" val="14"/>
  <p:tag name="KSO_WM_UNIT_COLOR_SCHEME_PARENT_PAGE" val="0_1"/>
</p:tagLst>
</file>

<file path=ppt/tags/tag22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
  <p:tag name="KSO_WM_UNIT_ID" val="diagram20194654_1*i*6"/>
  <p:tag name="KSO_WM_TEMPLATE_CATEGORY" val="diagram"/>
  <p:tag name="KSO_WM_TEMPLATE_INDEX" val="20194654"/>
  <p:tag name="KSO_WM_UNIT_LAYERLEVEL" val="1"/>
  <p:tag name="KSO_WM_TAG_VERSION" val="1.0"/>
  <p:tag name="KSO_WM_BEAUTIFY_FLAG" val="#wm#"/>
  <p:tag name="KSO_WM_UNIT_COLOR_SCHEME_SHAPE_ID" val="15"/>
  <p:tag name="KSO_WM_UNIT_COLOR_SCHEME_PARENT_PAGE" val="0_1"/>
</p:tagLst>
</file>

<file path=ppt/tags/tag22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8"/>
  <p:tag name="KSO_WM_UNIT_ID" val="diagram20194654_1*i*8"/>
  <p:tag name="KSO_WM_TEMPLATE_CATEGORY" val="diagram"/>
  <p:tag name="KSO_WM_TEMPLATE_INDEX" val="20194654"/>
  <p:tag name="KSO_WM_UNIT_LAYERLEVEL" val="1"/>
  <p:tag name="KSO_WM_TAG_VERSION" val="1.0"/>
  <p:tag name="KSO_WM_BEAUTIFY_FLAG" val="#wm#"/>
  <p:tag name="KSO_WM_UNIT_COLOR_SCHEME_SHAPE_ID" val="18"/>
  <p:tag name="KSO_WM_UNIT_COLOR_SCHEME_PARENT_PAGE" val="0_1"/>
  <p:tag name="KSO_WM_UNIT_DECOLORIZATION" val="1"/>
</p:tagLst>
</file>

<file path=ppt/tags/tag22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9"/>
  <p:tag name="KSO_WM_UNIT_ID" val="diagram20194654_1*i*9"/>
  <p:tag name="KSO_WM_TEMPLATE_CATEGORY" val="diagram"/>
  <p:tag name="KSO_WM_TEMPLATE_INDEX" val="20194654"/>
  <p:tag name="KSO_WM_UNIT_LAYERLEVEL" val="1"/>
  <p:tag name="KSO_WM_TAG_VERSION" val="1.0"/>
  <p:tag name="KSO_WM_BEAUTIFY_FLAG" val="#wm#"/>
  <p:tag name="KSO_WM_UNIT_COLOR_SCHEME_SHAPE_ID" val="19"/>
  <p:tag name="KSO_WM_UNIT_COLOR_SCHEME_PARENT_PAGE" val="0_1"/>
  <p:tag name="KSO_WM_UNIT_DECOLORIZATION" val="1"/>
</p:tagLst>
</file>

<file path=ppt/tags/tag22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0"/>
  <p:tag name="KSO_WM_UNIT_ID" val="diagram20194654_1*i*10"/>
  <p:tag name="KSO_WM_TEMPLATE_CATEGORY" val="diagram"/>
  <p:tag name="KSO_WM_TEMPLATE_INDEX" val="20194654"/>
  <p:tag name="KSO_WM_UNIT_LAYERLEVEL" val="1"/>
  <p:tag name="KSO_WM_TAG_VERSION" val="1.0"/>
  <p:tag name="KSO_WM_BEAUTIFY_FLAG" val="#wm#"/>
  <p:tag name="KSO_WM_UNIT_COLOR_SCHEME_SHAPE_ID" val="20"/>
  <p:tag name="KSO_WM_UNIT_COLOR_SCHEME_PARENT_PAGE" val="0_1"/>
  <p:tag name="KSO_WM_UNIT_DECOLORIZATION" val="1"/>
</p:tagLst>
</file>

<file path=ppt/tags/tag22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1"/>
  <p:tag name="KSO_WM_UNIT_ID" val="diagram20194654_1*i*11"/>
  <p:tag name="KSO_WM_TEMPLATE_CATEGORY" val="diagram"/>
  <p:tag name="KSO_WM_TEMPLATE_INDEX" val="20194654"/>
  <p:tag name="KSO_WM_UNIT_LAYERLEVEL" val="1"/>
  <p:tag name="KSO_WM_TAG_VERSION" val="1.0"/>
  <p:tag name="KSO_WM_BEAUTIFY_FLAG" val="#wm#"/>
  <p:tag name="KSO_WM_UNIT_COLOR_SCHEME_SHAPE_ID" val="21"/>
  <p:tag name="KSO_WM_UNIT_COLOR_SCHEME_PARENT_PAGE" val="0_1"/>
  <p:tag name="KSO_WM_UNIT_DECOLORIZATION" val="1"/>
</p:tagLst>
</file>

<file path=ppt/tags/tag22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2"/>
  <p:tag name="KSO_WM_UNIT_ID" val="diagram20194654_1*i*12"/>
  <p:tag name="KSO_WM_TEMPLATE_CATEGORY" val="diagram"/>
  <p:tag name="KSO_WM_TEMPLATE_INDEX" val="20194654"/>
  <p:tag name="KSO_WM_UNIT_LAYERLEVEL" val="1"/>
  <p:tag name="KSO_WM_TAG_VERSION" val="1.0"/>
  <p:tag name="KSO_WM_BEAUTIFY_FLAG" val="#wm#"/>
  <p:tag name="KSO_WM_UNIT_COLOR_SCHEME_SHAPE_ID" val="22"/>
  <p:tag name="KSO_WM_UNIT_COLOR_SCHEME_PARENT_PAGE" val="0_1"/>
  <p:tag name="KSO_WM_UNIT_DECOLORIZATION" val="1"/>
</p:tagLst>
</file>

<file path=ppt/tags/tag22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3"/>
  <p:tag name="KSO_WM_UNIT_ID" val="diagram20194654_1*i*13"/>
  <p:tag name="KSO_WM_TEMPLATE_CATEGORY" val="diagram"/>
  <p:tag name="KSO_WM_TEMPLATE_INDEX" val="20194654"/>
  <p:tag name="KSO_WM_UNIT_LAYERLEVEL" val="1"/>
  <p:tag name="KSO_WM_TAG_VERSION" val="1.0"/>
  <p:tag name="KSO_WM_BEAUTIFY_FLAG" val="#wm#"/>
  <p:tag name="KSO_WM_UNIT_COLOR_SCHEME_SHAPE_ID" val="23"/>
  <p:tag name="KSO_WM_UNIT_COLOR_SCHEME_PARENT_PAGE" val="0_1"/>
  <p:tag name="KSO_WM_UNIT_DECOLORIZATION" val="1"/>
</p:tagLst>
</file>

<file path=ppt/tags/tag22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4"/>
  <p:tag name="KSO_WM_UNIT_ID" val="diagram20194654_1*i*14"/>
  <p:tag name="KSO_WM_TEMPLATE_CATEGORY" val="diagram"/>
  <p:tag name="KSO_WM_TEMPLATE_INDEX" val="20194654"/>
  <p:tag name="KSO_WM_UNIT_LAYERLEVEL" val="1"/>
  <p:tag name="KSO_WM_TAG_VERSION" val="1.0"/>
  <p:tag name="KSO_WM_BEAUTIFY_FLAG" val="#wm#"/>
  <p:tag name="KSO_WM_UNIT_COLOR_SCHEME_SHAPE_ID" val="24"/>
  <p:tag name="KSO_WM_UNIT_COLOR_SCHEME_PARENT_PAGE" val="0_1"/>
  <p:tag name="KSO_WM_UNIT_DECOLORIZATION" val="1"/>
</p:tagLst>
</file>

<file path=ppt/tags/tag2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8"/>
  <p:tag name="KSO_WM_TEMPLATE_CATEGORY" val="diagram"/>
  <p:tag name="KSO_WM_TEMPLATE_INDEX" val="20194848"/>
  <p:tag name="KSO_WM_UNIT_LAYERLEVEL" val="1"/>
  <p:tag name="KSO_WM_TAG_VERSION" val="1.0"/>
  <p:tag name="KSO_WM_BEAUTIFY_FLAG" val="#wm#"/>
  <p:tag name="KSO_WM_UNIT_TYPE" val="i"/>
  <p:tag name="KSO_WM_UNIT_INDEX" val="8"/>
</p:tagLst>
</file>

<file path=ppt/tags/tag23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5"/>
  <p:tag name="KSO_WM_UNIT_ID" val="diagram20194654_1*i*15"/>
  <p:tag name="KSO_WM_TEMPLATE_CATEGORY" val="diagram"/>
  <p:tag name="KSO_WM_TEMPLATE_INDEX" val="20194654"/>
  <p:tag name="KSO_WM_UNIT_LAYERLEVEL" val="1"/>
  <p:tag name="KSO_WM_TAG_VERSION" val="1.0"/>
  <p:tag name="KSO_WM_BEAUTIFY_FLAG" val="#wm#"/>
  <p:tag name="KSO_WM_UNIT_COLOR_SCHEME_SHAPE_ID" val="25"/>
  <p:tag name="KSO_WM_UNIT_COLOR_SCHEME_PARENT_PAGE" val="0_1"/>
  <p:tag name="KSO_WM_UNIT_DECOLORIZATION" val="1"/>
</p:tagLst>
</file>

<file path=ppt/tags/tag23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6"/>
  <p:tag name="KSO_WM_UNIT_ID" val="diagram20194654_1*i*16"/>
  <p:tag name="KSO_WM_TEMPLATE_CATEGORY" val="diagram"/>
  <p:tag name="KSO_WM_TEMPLATE_INDEX" val="20194654"/>
  <p:tag name="KSO_WM_UNIT_LAYERLEVEL" val="1"/>
  <p:tag name="KSO_WM_TAG_VERSION" val="1.0"/>
  <p:tag name="KSO_WM_BEAUTIFY_FLAG" val="#wm#"/>
  <p:tag name="KSO_WM_UNIT_COLOR_SCHEME_SHAPE_ID" val="26"/>
  <p:tag name="KSO_WM_UNIT_COLOR_SCHEME_PARENT_PAGE" val="0_1"/>
  <p:tag name="KSO_WM_UNIT_DECOLORIZATION" val="1"/>
</p:tagLst>
</file>

<file path=ppt/tags/tag23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7"/>
  <p:tag name="KSO_WM_UNIT_ID" val="diagram20194654_1*i*17"/>
  <p:tag name="KSO_WM_TEMPLATE_CATEGORY" val="diagram"/>
  <p:tag name="KSO_WM_TEMPLATE_INDEX" val="20194654"/>
  <p:tag name="KSO_WM_UNIT_LAYERLEVEL" val="1"/>
  <p:tag name="KSO_WM_TAG_VERSION" val="1.0"/>
  <p:tag name="KSO_WM_BEAUTIFY_FLAG" val="#wm#"/>
  <p:tag name="KSO_WM_UNIT_COLOR_SCHEME_SHAPE_ID" val="27"/>
  <p:tag name="KSO_WM_UNIT_COLOR_SCHEME_PARENT_PAGE" val="0_1"/>
  <p:tag name="KSO_WM_UNIT_DECOLORIZATION" val="1"/>
</p:tagLst>
</file>

<file path=ppt/tags/tag23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8"/>
  <p:tag name="KSO_WM_UNIT_ID" val="diagram20194654_1*i*18"/>
  <p:tag name="KSO_WM_TEMPLATE_CATEGORY" val="diagram"/>
  <p:tag name="KSO_WM_TEMPLATE_INDEX" val="20194654"/>
  <p:tag name="KSO_WM_UNIT_LAYERLEVEL" val="1"/>
  <p:tag name="KSO_WM_TAG_VERSION" val="1.0"/>
  <p:tag name="KSO_WM_BEAUTIFY_FLAG" val="#wm#"/>
  <p:tag name="KSO_WM_UNIT_COLOR_SCHEME_SHAPE_ID" val="28"/>
  <p:tag name="KSO_WM_UNIT_COLOR_SCHEME_PARENT_PAGE" val="0_1"/>
  <p:tag name="KSO_WM_UNIT_DECOLORIZATION" val="1"/>
</p:tagLst>
</file>

<file path=ppt/tags/tag23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9"/>
  <p:tag name="KSO_WM_UNIT_ID" val="diagram20194654_1*i*19"/>
  <p:tag name="KSO_WM_TEMPLATE_CATEGORY" val="diagram"/>
  <p:tag name="KSO_WM_TEMPLATE_INDEX" val="20194654"/>
  <p:tag name="KSO_WM_UNIT_LAYERLEVEL" val="1"/>
  <p:tag name="KSO_WM_TAG_VERSION" val="1.0"/>
  <p:tag name="KSO_WM_BEAUTIFY_FLAG" val="#wm#"/>
  <p:tag name="KSO_WM_UNIT_COLOR_SCHEME_SHAPE_ID" val="30"/>
  <p:tag name="KSO_WM_UNIT_COLOR_SCHEME_PARENT_PAGE" val="0_1"/>
  <p:tag name="KSO_WM_UNIT_DECOLORIZATION" val="1"/>
</p:tagLst>
</file>

<file path=ppt/tags/tag23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0"/>
  <p:tag name="KSO_WM_UNIT_ID" val="diagram20194654_1*i*20"/>
  <p:tag name="KSO_WM_TEMPLATE_CATEGORY" val="diagram"/>
  <p:tag name="KSO_WM_TEMPLATE_INDEX" val="20194654"/>
  <p:tag name="KSO_WM_UNIT_LAYERLEVEL" val="1"/>
  <p:tag name="KSO_WM_TAG_VERSION" val="1.0"/>
  <p:tag name="KSO_WM_BEAUTIFY_FLAG" val="#wm#"/>
  <p:tag name="KSO_WM_UNIT_COLOR_SCHEME_SHAPE_ID" val="31"/>
  <p:tag name="KSO_WM_UNIT_COLOR_SCHEME_PARENT_PAGE" val="0_1"/>
  <p:tag name="KSO_WM_UNIT_DECOLORIZATION" val="1"/>
</p:tagLst>
</file>

<file path=ppt/tags/tag23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1"/>
  <p:tag name="KSO_WM_UNIT_ID" val="diagram20194654_1*i*21"/>
  <p:tag name="KSO_WM_TEMPLATE_CATEGORY" val="diagram"/>
  <p:tag name="KSO_WM_TEMPLATE_INDEX" val="20194654"/>
  <p:tag name="KSO_WM_UNIT_LAYERLEVEL" val="1"/>
  <p:tag name="KSO_WM_TAG_VERSION" val="1.0"/>
  <p:tag name="KSO_WM_BEAUTIFY_FLAG" val="#wm#"/>
  <p:tag name="KSO_WM_UNIT_COLOR_SCHEME_SHAPE_ID" val="32"/>
  <p:tag name="KSO_WM_UNIT_COLOR_SCHEME_PARENT_PAGE" val="0_1"/>
  <p:tag name="KSO_WM_UNIT_DECOLORIZATION" val="1"/>
</p:tagLst>
</file>

<file path=ppt/tags/tag23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2"/>
  <p:tag name="KSO_WM_UNIT_ID" val="diagram20194654_1*i*22"/>
  <p:tag name="KSO_WM_TEMPLATE_CATEGORY" val="diagram"/>
  <p:tag name="KSO_WM_TEMPLATE_INDEX" val="20194654"/>
  <p:tag name="KSO_WM_UNIT_LAYERLEVEL" val="1"/>
  <p:tag name="KSO_WM_TAG_VERSION" val="1.0"/>
  <p:tag name="KSO_WM_BEAUTIFY_FLAG" val="#wm#"/>
  <p:tag name="KSO_WM_UNIT_COLOR_SCHEME_SHAPE_ID" val="33"/>
  <p:tag name="KSO_WM_UNIT_DECOLORIZATION" val="1"/>
  <p:tag name="KSO_WM_UNIT_COLOR_SCHEME_PARENT_PAGE" val="0_1"/>
</p:tagLst>
</file>

<file path=ppt/tags/tag23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3"/>
  <p:tag name="KSO_WM_UNIT_ID" val="diagram20194654_1*i*23"/>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34"/>
  <p:tag name="KSO_WM_UNIT_COLOR_SCHEME_PARENT_PAGE" val="0_1"/>
</p:tagLst>
</file>

<file path=ppt/tags/tag23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4"/>
  <p:tag name="KSO_WM_UNIT_ID" val="diagram20194654_1*i*24"/>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35"/>
  <p:tag name="KSO_WM_UNIT_COLOR_SCHEME_PARENT_PAGE" val="0_1"/>
</p:tagLst>
</file>

<file path=ppt/tags/tag24.xml><?xml version="1.0" encoding="utf-8"?>
<p:tagLst xmlns:p="http://schemas.openxmlformats.org/presentationml/2006/main">
  <p:tag name="KSO_WM_SLIDE_ID" val="diagram20194848_1"/>
  <p:tag name="KSO_WM_TEMPLATE_SUBCATEGORY" val="0"/>
  <p:tag name="KSO_WM_SLIDE_TYPE" val="text"/>
  <p:tag name="KSO_WM_SLIDE_SUBTYPE" val="pureTxt"/>
  <p:tag name="KSO_WM_SLIDE_ITEM_CNT" val="0"/>
  <p:tag name="KSO_WM_SLIDE_INDEX" val="1"/>
  <p:tag name="KSO_WM_SLIDE_SIZE" val="960*540"/>
  <p:tag name="KSO_WM_SLIDE_POSITION" val="0*0"/>
  <p:tag name="KSO_WM_TAG_VERSION" val="1.0"/>
  <p:tag name="KSO_WM_BEAUTIFY_FLAG" val="#wm#"/>
  <p:tag name="KSO_WM_TEMPLATE_CATEGORY" val="diagram"/>
  <p:tag name="KSO_WM_TEMPLATE_INDEX" val="20194848"/>
  <p:tag name="KSO_WM_SLIDE_LAYOUT" val="a_f"/>
  <p:tag name="KSO_WM_SLIDE_LAYOUT_CNT" val="1_2"/>
</p:tagLst>
</file>

<file path=ppt/tags/tag24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5"/>
  <p:tag name="KSO_WM_UNIT_ID" val="diagram20194654_1*i*25"/>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36"/>
  <p:tag name="KSO_WM_UNIT_COLOR_SCHEME_PARENT_PAGE" val="0_1"/>
</p:tagLst>
</file>

<file path=ppt/tags/tag24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6"/>
  <p:tag name="KSO_WM_UNIT_ID" val="diagram20194654_1*i*26"/>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37"/>
  <p:tag name="KSO_WM_UNIT_COLOR_SCHEME_PARENT_PAGE" val="0_1"/>
</p:tagLst>
</file>

<file path=ppt/tags/tag24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7"/>
  <p:tag name="KSO_WM_UNIT_ID" val="diagram20194654_1*i*27"/>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38"/>
  <p:tag name="KSO_WM_UNIT_COLOR_SCHEME_PARENT_PAGE" val="0_1"/>
</p:tagLst>
</file>

<file path=ppt/tags/tag24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8"/>
  <p:tag name="KSO_WM_UNIT_ID" val="diagram20194654_1*i*28"/>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39"/>
  <p:tag name="KSO_WM_UNIT_COLOR_SCHEME_PARENT_PAGE" val="0_1"/>
</p:tagLst>
</file>

<file path=ppt/tags/tag24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9"/>
  <p:tag name="KSO_WM_UNIT_ID" val="diagram20194654_1*i*29"/>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40"/>
  <p:tag name="KSO_WM_UNIT_COLOR_SCHEME_PARENT_PAGE" val="0_1"/>
</p:tagLst>
</file>

<file path=ppt/tags/tag24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0"/>
  <p:tag name="KSO_WM_UNIT_ID" val="diagram20194654_1*i*30"/>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42"/>
  <p:tag name="KSO_WM_UNIT_COLOR_SCHEME_PARENT_PAGE" val="0_1"/>
</p:tagLst>
</file>

<file path=ppt/tags/tag24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1"/>
  <p:tag name="KSO_WM_UNIT_ID" val="diagram20194654_1*i*31"/>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43"/>
  <p:tag name="KSO_WM_UNIT_COLOR_SCHEME_PARENT_PAGE" val="0_1"/>
</p:tagLst>
</file>

<file path=ppt/tags/tag24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2"/>
  <p:tag name="KSO_WM_UNIT_ID" val="diagram20194654_1*i*32"/>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44"/>
  <p:tag name="KSO_WM_UNIT_COLOR_SCHEME_PARENT_PAGE" val="0_1"/>
</p:tagLst>
</file>

<file path=ppt/tags/tag24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3"/>
  <p:tag name="KSO_WM_UNIT_ID" val="diagram20194654_1*i*33"/>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45"/>
  <p:tag name="KSO_WM_UNIT_COLOR_SCHEME_PARENT_PAGE" val="0_1"/>
</p:tagLst>
</file>

<file path=ppt/tags/tag24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4"/>
  <p:tag name="KSO_WM_UNIT_ID" val="diagram20194654_1*i*34"/>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46"/>
  <p:tag name="KSO_WM_UNIT_COLOR_SCHEME_PARENT_PAGE" val="0_1"/>
</p:tagLst>
</file>

<file path=ppt/tags/tag25.xml><?xml version="1.0" encoding="utf-8"?>
<p:tagLst xmlns:p="http://schemas.openxmlformats.org/presentationml/2006/main">
  <p:tag name="KSO_WM_UNIT_LARGE_SHAPE" val="1"/>
  <p:tag name="KSO_WM_UNIT_HIGHLIGHT" val="0"/>
  <p:tag name="KSO_WM_UNIT_COMPATIBLE" val="0"/>
  <p:tag name="KSO_WM_UNIT_DIAGRAM_ISNUMVISUAL" val="0"/>
  <p:tag name="KSO_WM_UNIT_DIAGRAM_ISREFERUNIT" val="0"/>
  <p:tag name="KSO_WM_UNIT_ID" val="diagram20194848_1*i*1"/>
  <p:tag name="KSO_WM_TEMPLATE_CATEGORY" val="diagram"/>
  <p:tag name="KSO_WM_TEMPLATE_INDEX" val="20194848"/>
  <p:tag name="KSO_WM_UNIT_LAYERLEVEL" val="1"/>
  <p:tag name="KSO_WM_TAG_VERSION" val="1.0"/>
  <p:tag name="KSO_WM_BEAUTIFY_FLAG" val="#wm#"/>
  <p:tag name="KSO_WM_UNIT_TYPE" val="i"/>
  <p:tag name="KSO_WM_UNIT_INDEX" val="1"/>
</p:tagLst>
</file>

<file path=ppt/tags/tag25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5"/>
  <p:tag name="KSO_WM_UNIT_ID" val="diagram20194654_1*i*35"/>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47"/>
  <p:tag name="KSO_WM_UNIT_COLOR_SCHEME_PARENT_PAGE" val="0_1"/>
</p:tagLst>
</file>

<file path=ppt/tags/tag25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6"/>
  <p:tag name="KSO_WM_UNIT_ID" val="diagram20194654_1*i*36"/>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48"/>
  <p:tag name="KSO_WM_UNIT_COLOR_SCHEME_PARENT_PAGE" val="0_1"/>
</p:tagLst>
</file>

<file path=ppt/tags/tag25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7"/>
  <p:tag name="KSO_WM_UNIT_ID" val="diagram20194654_1*i*37"/>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49"/>
  <p:tag name="KSO_WM_UNIT_COLOR_SCHEME_PARENT_PAGE" val="0_1"/>
</p:tagLst>
</file>

<file path=ppt/tags/tag25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8"/>
  <p:tag name="KSO_WM_UNIT_ID" val="diagram20194654_1*i*38"/>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50"/>
  <p:tag name="KSO_WM_UNIT_COLOR_SCHEME_PARENT_PAGE" val="0_1"/>
</p:tagLst>
</file>

<file path=ppt/tags/tag25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9"/>
  <p:tag name="KSO_WM_UNIT_ID" val="diagram20194654_1*i*39"/>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51"/>
  <p:tag name="KSO_WM_UNIT_COLOR_SCHEME_PARENT_PAGE" val="0_1"/>
</p:tagLst>
</file>

<file path=ppt/tags/tag25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0"/>
  <p:tag name="KSO_WM_UNIT_ID" val="diagram20194654_1*i*40"/>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52"/>
  <p:tag name="KSO_WM_UNIT_COLOR_SCHEME_PARENT_PAGE" val="0_1"/>
</p:tagLst>
</file>

<file path=ppt/tags/tag25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1"/>
  <p:tag name="KSO_WM_UNIT_ID" val="diagram20194654_1*i*41"/>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54"/>
  <p:tag name="KSO_WM_UNIT_COLOR_SCHEME_PARENT_PAGE" val="0_1"/>
</p:tagLst>
</file>

<file path=ppt/tags/tag25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2"/>
  <p:tag name="KSO_WM_UNIT_ID" val="diagram20194654_1*i*42"/>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55"/>
  <p:tag name="KSO_WM_UNIT_COLOR_SCHEME_PARENT_PAGE" val="0_1"/>
</p:tagLst>
</file>

<file path=ppt/tags/tag25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3"/>
  <p:tag name="KSO_WM_UNIT_ID" val="diagram20194654_1*i*43"/>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56"/>
  <p:tag name="KSO_WM_UNIT_COLOR_SCHEME_PARENT_PAGE" val="0_1"/>
</p:tagLst>
</file>

<file path=ppt/tags/tag25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4"/>
  <p:tag name="KSO_WM_UNIT_ID" val="diagram20194654_1*i*44"/>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57"/>
  <p:tag name="KSO_WM_UNIT_COLOR_SCHEME_PARENT_PAGE" val="0_1"/>
</p:tagLst>
</file>

<file path=ppt/tags/tag2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2"/>
  <p:tag name="KSO_WM_TEMPLATE_CATEGORY" val="diagram"/>
  <p:tag name="KSO_WM_TEMPLATE_INDEX" val="20194848"/>
  <p:tag name="KSO_WM_UNIT_LAYERLEVEL" val="1"/>
  <p:tag name="KSO_WM_TAG_VERSION" val="1.0"/>
  <p:tag name="KSO_WM_BEAUTIFY_FLAG" val="#wm#"/>
  <p:tag name="KSO_WM_UNIT_TYPE" val="i"/>
  <p:tag name="KSO_WM_UNIT_INDEX" val="2"/>
</p:tagLst>
</file>

<file path=ppt/tags/tag26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5"/>
  <p:tag name="KSO_WM_UNIT_ID" val="diagram20194654_1*i*45"/>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58"/>
  <p:tag name="KSO_WM_UNIT_COLOR_SCHEME_PARENT_PAGE" val="0_1"/>
</p:tagLst>
</file>

<file path=ppt/tags/tag26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6"/>
  <p:tag name="KSO_WM_UNIT_ID" val="diagram20194654_1*i*46"/>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59"/>
  <p:tag name="KSO_WM_UNIT_COLOR_SCHEME_PARENT_PAGE" val="0_1"/>
</p:tagLst>
</file>

<file path=ppt/tags/tag26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7"/>
  <p:tag name="KSO_WM_UNIT_ID" val="diagram20194654_1*i*47"/>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60"/>
  <p:tag name="KSO_WM_UNIT_COLOR_SCHEME_PARENT_PAGE" val="0_1"/>
</p:tagLst>
</file>

<file path=ppt/tags/tag26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8"/>
  <p:tag name="KSO_WM_UNIT_ID" val="diagram20194654_1*i*48"/>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61"/>
  <p:tag name="KSO_WM_UNIT_COLOR_SCHEME_PARENT_PAGE" val="0_1"/>
</p:tagLst>
</file>

<file path=ppt/tags/tag26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9"/>
  <p:tag name="KSO_WM_UNIT_ID" val="diagram20194654_1*i*49"/>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62"/>
  <p:tag name="KSO_WM_UNIT_COLOR_SCHEME_PARENT_PAGE" val="0_1"/>
</p:tagLst>
</file>

<file path=ppt/tags/tag26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0"/>
  <p:tag name="KSO_WM_UNIT_ID" val="diagram20194654_1*i*50"/>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63"/>
  <p:tag name="KSO_WM_UNIT_COLOR_SCHEME_PARENT_PAGE" val="0_1"/>
</p:tagLst>
</file>

<file path=ppt/tags/tag26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1"/>
  <p:tag name="KSO_WM_UNIT_ID" val="diagram20194654_1*i*51"/>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64"/>
  <p:tag name="KSO_WM_UNIT_COLOR_SCHEME_PARENT_PAGE" val="0_1"/>
</p:tagLst>
</file>

<file path=ppt/tags/tag26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2"/>
  <p:tag name="KSO_WM_UNIT_ID" val="diagram20194654_1*i*52"/>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66"/>
  <p:tag name="KSO_WM_UNIT_COLOR_SCHEME_PARENT_PAGE" val="0_1"/>
</p:tagLst>
</file>

<file path=ppt/tags/tag26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3"/>
  <p:tag name="KSO_WM_UNIT_ID" val="diagram20194654_1*i*53"/>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67"/>
  <p:tag name="KSO_WM_UNIT_COLOR_SCHEME_PARENT_PAGE" val="0_1"/>
</p:tagLst>
</file>

<file path=ppt/tags/tag26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4"/>
  <p:tag name="KSO_WM_UNIT_ID" val="diagram20194654_1*i*54"/>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68"/>
  <p:tag name="KSO_WM_UNIT_COLOR_SCHEME_PARENT_PAGE" val="0_1"/>
</p:tagLst>
</file>

<file path=ppt/tags/tag2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3"/>
  <p:tag name="KSO_WM_TEMPLATE_CATEGORY" val="diagram"/>
  <p:tag name="KSO_WM_TEMPLATE_INDEX" val="20194848"/>
  <p:tag name="KSO_WM_UNIT_LAYERLEVEL" val="1"/>
  <p:tag name="KSO_WM_TAG_VERSION" val="1.0"/>
  <p:tag name="KSO_WM_BEAUTIFY_FLAG" val="#wm#"/>
  <p:tag name="KSO_WM_UNIT_TYPE" val="i"/>
  <p:tag name="KSO_WM_UNIT_INDEX" val="3"/>
</p:tagLst>
</file>

<file path=ppt/tags/tag27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5"/>
  <p:tag name="KSO_WM_UNIT_ID" val="diagram20194654_1*i*55"/>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69"/>
  <p:tag name="KSO_WM_UNIT_COLOR_SCHEME_PARENT_PAGE" val="0_1"/>
</p:tagLst>
</file>

<file path=ppt/tags/tag27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6"/>
  <p:tag name="KSO_WM_UNIT_ID" val="diagram20194654_1*i*56"/>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70"/>
  <p:tag name="KSO_WM_UNIT_COLOR_SCHEME_PARENT_PAGE" val="0_1"/>
</p:tagLst>
</file>

<file path=ppt/tags/tag27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7"/>
  <p:tag name="KSO_WM_UNIT_ID" val="diagram20194654_1*i*57"/>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71"/>
  <p:tag name="KSO_WM_UNIT_COLOR_SCHEME_PARENT_PAGE" val="0_1"/>
</p:tagLst>
</file>

<file path=ppt/tags/tag27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8"/>
  <p:tag name="KSO_WM_UNIT_ID" val="diagram20194654_1*i*58"/>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72"/>
  <p:tag name="KSO_WM_UNIT_COLOR_SCHEME_PARENT_PAGE" val="0_1"/>
</p:tagLst>
</file>

<file path=ppt/tags/tag27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9"/>
  <p:tag name="KSO_WM_UNIT_ID" val="diagram20194654_1*i*59"/>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73"/>
  <p:tag name="KSO_WM_UNIT_COLOR_SCHEME_PARENT_PAGE" val="0_1"/>
</p:tagLst>
</file>

<file path=ppt/tags/tag27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0"/>
  <p:tag name="KSO_WM_UNIT_ID" val="diagram20194654_1*i*60"/>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74"/>
  <p:tag name="KSO_WM_UNIT_COLOR_SCHEME_PARENT_PAGE" val="0_1"/>
</p:tagLst>
</file>

<file path=ppt/tags/tag27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1"/>
  <p:tag name="KSO_WM_UNIT_ID" val="diagram20194654_1*i*61"/>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75"/>
  <p:tag name="KSO_WM_UNIT_COLOR_SCHEME_PARENT_PAGE" val="0_1"/>
</p:tagLst>
</file>

<file path=ppt/tags/tag27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2"/>
  <p:tag name="KSO_WM_UNIT_ID" val="diagram20194654_1*i*62"/>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76"/>
  <p:tag name="KSO_WM_UNIT_COLOR_SCHEME_PARENT_PAGE" val="0_1"/>
</p:tagLst>
</file>

<file path=ppt/tags/tag27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3"/>
  <p:tag name="KSO_WM_UNIT_ID" val="diagram20194654_1*i*63"/>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78"/>
  <p:tag name="KSO_WM_UNIT_COLOR_SCHEME_PARENT_PAGE" val="0_1"/>
</p:tagLst>
</file>

<file path=ppt/tags/tag27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4"/>
  <p:tag name="KSO_WM_UNIT_ID" val="diagram20194654_1*i*64"/>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79"/>
  <p:tag name="KSO_WM_UNIT_COLOR_SCHEME_PARENT_PAGE" val="0_1"/>
</p:tagLst>
</file>

<file path=ppt/tags/tag2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4"/>
  <p:tag name="KSO_WM_TEMPLATE_CATEGORY" val="diagram"/>
  <p:tag name="KSO_WM_TEMPLATE_INDEX" val="20194848"/>
  <p:tag name="KSO_WM_UNIT_LAYERLEVEL" val="1"/>
  <p:tag name="KSO_WM_TAG_VERSION" val="1.0"/>
  <p:tag name="KSO_WM_BEAUTIFY_FLAG" val="#wm#"/>
  <p:tag name="KSO_WM_UNIT_TYPE" val="i"/>
  <p:tag name="KSO_WM_UNIT_INDEX" val="4"/>
</p:tagLst>
</file>

<file path=ppt/tags/tag28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5"/>
  <p:tag name="KSO_WM_UNIT_ID" val="diagram20194654_1*i*65"/>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80"/>
  <p:tag name="KSO_WM_UNIT_COLOR_SCHEME_PARENT_PAGE" val="0_1"/>
</p:tagLst>
</file>

<file path=ppt/tags/tag28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6"/>
  <p:tag name="KSO_WM_UNIT_ID" val="diagram20194654_1*i*66"/>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81"/>
  <p:tag name="KSO_WM_UNIT_COLOR_SCHEME_PARENT_PAGE" val="0_1"/>
</p:tagLst>
</file>

<file path=ppt/tags/tag28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7"/>
  <p:tag name="KSO_WM_UNIT_ID" val="diagram20194654_1*i*67"/>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82"/>
  <p:tag name="KSO_WM_UNIT_COLOR_SCHEME_PARENT_PAGE" val="0_1"/>
</p:tagLst>
</file>

<file path=ppt/tags/tag28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8"/>
  <p:tag name="KSO_WM_UNIT_ID" val="diagram20194654_1*i*68"/>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83"/>
  <p:tag name="KSO_WM_UNIT_COLOR_SCHEME_PARENT_PAGE" val="0_1"/>
</p:tagLst>
</file>

<file path=ppt/tags/tag28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9"/>
  <p:tag name="KSO_WM_UNIT_ID" val="diagram20194654_1*i*69"/>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84"/>
  <p:tag name="KSO_WM_UNIT_COLOR_SCHEME_PARENT_PAGE" val="0_1"/>
</p:tagLst>
</file>

<file path=ppt/tags/tag28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70"/>
  <p:tag name="KSO_WM_UNIT_ID" val="diagram20194654_1*i*70"/>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85"/>
  <p:tag name="KSO_WM_UNIT_COLOR_SCHEME_PARENT_PAGE" val="0_1"/>
</p:tagLst>
</file>

<file path=ppt/tags/tag28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71"/>
  <p:tag name="KSO_WM_UNIT_ID" val="diagram20194654_1*i*71"/>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86"/>
  <p:tag name="KSO_WM_UNIT_COLOR_SCHEME_PARENT_PAGE" val="0_1"/>
</p:tagLst>
</file>

<file path=ppt/tags/tag28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72"/>
  <p:tag name="KSO_WM_UNIT_ID" val="diagram20194654_1*i*72"/>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87"/>
  <p:tag name="KSO_WM_UNIT_COLOR_SCHEME_PARENT_PAGE" val="0_1"/>
</p:tagLst>
</file>

<file path=ppt/tags/tag28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73"/>
  <p:tag name="KSO_WM_UNIT_ID" val="diagram20194654_1*i*73"/>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88"/>
  <p:tag name="KSO_WM_UNIT_COLOR_SCHEME_PARENT_PAGE" val="0_1"/>
</p:tagLst>
</file>

<file path=ppt/tags/tag289.xml><?xml version="1.0" encoding="utf-8"?>
<p:tagLst xmlns:p="http://schemas.openxmlformats.org/presentationml/2006/main">
  <p:tag name="KSO_WM_SLIDE_ID" val="diagram20194654_1"/>
  <p:tag name="KSO_WM_SLIDE_ITEM_CNT" val="0"/>
  <p:tag name="KSO_WM_SLIDE_INDEX" val="1"/>
  <p:tag name="KSO_WM_TAG_VERSION" val="1.0"/>
  <p:tag name="KSO_WM_BEAUTIFY_FLAG" val="#wm#"/>
  <p:tag name="KSO_WM_TEMPLATE_CATEGORY" val="diagram"/>
  <p:tag name="KSO_WM_TEMPLATE_INDEX" val="20194654"/>
  <p:tag name="KSO_WM_SLIDE_LAYOUT" val="a_f"/>
  <p:tag name="KSO_WM_SLIDE_LAYOUT_CNT" val="1_1"/>
  <p:tag name="KSO_WM_SLIDE_TYPE" val="text"/>
  <p:tag name="KSO_WM_SLIDE_SUBTYPE" val="pureTxt"/>
  <p:tag name="KSO_WM_SLIDE_SIZE" val="736*382"/>
  <p:tag name="KSO_WM_SLIDE_POSITION" val="116*86"/>
  <p:tag name="KSO_WM_SLIDE_COLORSCHEME_VERSION" val="3.2"/>
  <p:tag name="KSO_WM_TEMPLATE_SUBCATEGORY" val="0"/>
</p:tagLst>
</file>

<file path=ppt/tags/tag29.xml><?xml version="1.0" encoding="utf-8"?>
<p:tagLst xmlns:p="http://schemas.openxmlformats.org/presentationml/2006/main">
  <p:tag name="KSO_WM_UNIT_ISCONTENTSTITLE" val="0"/>
  <p:tag name="KSO_WM_UNIT_PRESET_TEXT" val="此处可添加您的大标题内容"/>
  <p:tag name="KSO_WM_UNIT_TEXT_PART_ID" val="2-X"/>
  <p:tag name="KSO_WM_UNIT_TEXT_PART_SIZE" val="49.2*559"/>
  <p:tag name="KSO_WM_UNIT_VALUE" val="26"/>
  <p:tag name="KSO_WM_UNIT_HIGHLIGHT" val="0"/>
  <p:tag name="KSO_WM_UNIT_COMPATIBLE" val="0"/>
  <p:tag name="KSO_WM_UNIT_DIAGRAM_ISNUMVISUAL" val="0"/>
  <p:tag name="KSO_WM_UNIT_DIAGRAM_ISREFERUNIT" val="0"/>
  <p:tag name="KSO_WM_UNIT_TYPE" val="a"/>
  <p:tag name="KSO_WM_UNIT_INDEX" val="1"/>
  <p:tag name="KSO_WM_UNIT_ID" val="diagram20194848_1*a*1"/>
  <p:tag name="KSO_WM_TEMPLATE_CATEGORY" val="diagram"/>
  <p:tag name="KSO_WM_TEMPLATE_INDEX" val="20194848"/>
  <p:tag name="KSO_WM_UNIT_LAYERLEVEL" val="1"/>
  <p:tag name="KSO_WM_TAG_VERSION" val="1.0"/>
  <p:tag name="KSO_WM_BEAUTIFY_FLAG" val="#wm#"/>
  <p:tag name="KSO_WM_UNIT_NOCLEAR" val="0"/>
  <p:tag name="KSO_WM_UNIT_TEXT_PART_ID_V2" val="a-3-1"/>
</p:tagLst>
</file>

<file path=ppt/tags/tag29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
  <p:tag name="KSO_WM_UNIT_ID" val="diagram20194644_1*i*1"/>
  <p:tag name="KSO_WM_TEMPLATE_CATEGORY" val="diagram"/>
  <p:tag name="KSO_WM_TEMPLATE_INDEX" val="20194644"/>
  <p:tag name="KSO_WM_UNIT_LAYERLEVEL" val="1"/>
  <p:tag name="KSO_WM_TAG_VERSION" val="1.0"/>
  <p:tag name="KSO_WM_BEAUTIFY_FLAG" val="#wm#"/>
  <p:tag name="KSO_WM_UNIT_COLOR_SCHEME_SHAPE_ID" val="9"/>
  <p:tag name="KSO_WM_UNIT_COLOR_SCHEME_PARENT_PAGE" val="0_1"/>
</p:tagLst>
</file>

<file path=ppt/tags/tag29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
  <p:tag name="KSO_WM_UNIT_ID" val="diagram20194644_1*i*2"/>
  <p:tag name="KSO_WM_TEMPLATE_CATEGORY" val="diagram"/>
  <p:tag name="KSO_WM_TEMPLATE_INDEX" val="20194644"/>
  <p:tag name="KSO_WM_UNIT_LAYERLEVEL" val="1"/>
  <p:tag name="KSO_WM_TAG_VERSION" val="1.0"/>
  <p:tag name="KSO_WM_BEAUTIFY_FLAG" val="#wm#"/>
  <p:tag name="KSO_WM_UNIT_COLOR_SCHEME_SHAPE_ID" val="17"/>
  <p:tag name="KSO_WM_UNIT_COLOR_SCHEME_PARENT_PAGE" val="0_1"/>
  <p:tag name="KSO_WM_UNIT_FOIL_COLOR" val="1"/>
</p:tagLst>
</file>

<file path=ppt/tags/tag292.xml><?xml version="1.0" encoding="utf-8"?>
<p:tagLst xmlns:p="http://schemas.openxmlformats.org/presentationml/2006/main">
  <p:tag name="KSO_WM_UNIT_TEXT_PART_ID_V2" val="d-3-2"/>
  <p:tag name="KSO_WM_UNIT_PRESET_TEXT" val="点击此处添加正文，文字是您思想的提炼，为了最终呈现发布的良好效果。&#13;请言简意赅的阐述观点，并根据需要酌情增减文字您的正文已经字字珠玑，但信息却千丝万缕，需要用更多的文字来表述；但请您尽可能提炼思想的精髓，恰如其分的表达观点，往往事半功倍。&#13;为了能让您有更直观的字数感受，并进一步方便使用，我们为您标注了最适合的位置。您输入的文字到这里时，就是最佳视觉效果。"/>
  <p:tag name="KSO_WM_UNIT_NOCLEAR" val="1"/>
  <p:tag name="KSO_WM_UNIT_VALUE" val="273"/>
  <p:tag name="KSO_WM_UNIT_HIGHLIGHT" val="0"/>
  <p:tag name="KSO_WM_UNIT_COMPATIBLE" val="0"/>
  <p:tag name="KSO_WM_UNIT_DIAGRAM_ISNUMVISUAL" val="0"/>
  <p:tag name="KSO_WM_UNIT_DIAGRAM_ISREFERUNIT" val="0"/>
  <p:tag name="KSO_WM_UNIT_TYPE" val="f"/>
  <p:tag name="KSO_WM_UNIT_INDEX" val="1"/>
  <p:tag name="KSO_WM_UNIT_ID" val="diagram20194644_1*f*1"/>
  <p:tag name="KSO_WM_TEMPLATE_CATEGORY" val="diagram"/>
  <p:tag name="KSO_WM_TEMPLATE_INDEX" val="20194644"/>
  <p:tag name="KSO_WM_UNIT_LAYERLEVEL" val="1"/>
  <p:tag name="KSO_WM_TAG_VERSION" val="1.0"/>
  <p:tag name="KSO_WM_BEAUTIFY_FLAG" val="#wm#"/>
  <p:tag name="KSO_WM_UNIT_COLOR_SCHEME_SHAPE_ID" val="5"/>
  <p:tag name="KSO_WM_UNIT_COLOR_SCHEME_PARENT_PAGE" val="0_1"/>
</p:tagLst>
</file>

<file path=ppt/tags/tag293.xml><?xml version="1.0" encoding="utf-8"?>
<p:tagLst xmlns:p="http://schemas.openxmlformats.org/presentationml/2006/main">
  <p:tag name="KSO_WM_UNIT_TEXT_PART_ID_V2" val="a-1-2"/>
  <p:tag name="KSO_WM_UNIT_ISCONTENTSTITLE" val="0"/>
  <p:tag name="KSO_WM_UNIT_PRESET_TEXT" val="单击添加大标题"/>
  <p:tag name="KSO_WM_UNIT_NOCLEAR" val="0"/>
  <p:tag name="KSO_WM_UNIT_VALUE" val="8"/>
  <p:tag name="KSO_WM_UNIT_HIGHLIGHT" val="0"/>
  <p:tag name="KSO_WM_UNIT_COMPATIBLE" val="0"/>
  <p:tag name="KSO_WM_UNIT_DIAGRAM_ISNUMVISUAL" val="0"/>
  <p:tag name="KSO_WM_UNIT_DIAGRAM_ISREFERUNIT" val="0"/>
  <p:tag name="KSO_WM_UNIT_TYPE" val="a"/>
  <p:tag name="KSO_WM_UNIT_INDEX" val="1"/>
  <p:tag name="KSO_WM_UNIT_ID" val="diagram20194644_1*a*1"/>
  <p:tag name="KSO_WM_TEMPLATE_CATEGORY" val="diagram"/>
  <p:tag name="KSO_WM_TEMPLATE_INDEX" val="20194644"/>
  <p:tag name="KSO_WM_UNIT_LAYERLEVEL" val="1"/>
  <p:tag name="KSO_WM_TAG_VERSION" val="1.0"/>
  <p:tag name="KSO_WM_BEAUTIFY_FLAG" val="#wm#"/>
  <p:tag name="KSO_WM_UNIT_COLOR_SCHEME_SHAPE_ID" val="6"/>
  <p:tag name="KSO_WM_UNIT_COLOR_SCHEME_PARENT_PAGE" val="0_1"/>
</p:tagLst>
</file>

<file path=ppt/tags/tag29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4"/>
  <p:tag name="KSO_WM_TEMPLATE_CATEGORY" val="diagram"/>
  <p:tag name="KSO_WM_TEMPLATE_INDEX" val="20194848"/>
  <p:tag name="KSO_WM_UNIT_LAYERLEVEL" val="1"/>
  <p:tag name="KSO_WM_TAG_VERSION" val="1.0"/>
  <p:tag name="KSO_WM_BEAUTIFY_FLAG" val="#wm#"/>
  <p:tag name="KSO_WM_UNIT_TYPE" val="i"/>
  <p:tag name="KSO_WM_UNIT_INDEX" val="4"/>
</p:tagLst>
</file>

<file path=ppt/tags/tag295.xml><?xml version="1.0" encoding="utf-8"?>
<p:tagLst xmlns:p="http://schemas.openxmlformats.org/presentationml/2006/main">
  <p:tag name="KSO_WM_SLIDE_ID" val="diagram20194644_1"/>
  <p:tag name="KSO_WM_SLIDE_ITEM_CNT" val="0"/>
  <p:tag name="KSO_WM_SLIDE_INDEX" val="1"/>
  <p:tag name="KSO_WM_TAG_VERSION" val="1.0"/>
  <p:tag name="KSO_WM_BEAUTIFY_FLAG" val="#wm#"/>
  <p:tag name="KSO_WM_TEMPLATE_CATEGORY" val="diagram"/>
  <p:tag name="KSO_WM_TEMPLATE_INDEX" val="20194644"/>
  <p:tag name="KSO_WM_SLIDE_LAYOUT" val="a_f"/>
  <p:tag name="KSO_WM_SLIDE_LAYOUT_CNT" val="1_1"/>
  <p:tag name="KSO_WM_SLIDE_TYPE" val="text"/>
  <p:tag name="KSO_WM_SLIDE_SUBTYPE" val="pureTxt"/>
  <p:tag name="KSO_WM_SLIDE_SIZE" val="882*459"/>
  <p:tag name="KSO_WM_SLIDE_POSITION" val="42*53"/>
  <p:tag name="KSO_WM_SLIDE_COLORSCHEME_VERSION" val="3.2"/>
</p:tagLst>
</file>

<file path=ppt/tags/tag29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
  <p:tag name="KSO_WM_UNIT_ID" val="diagram20194602_1*i*1"/>
  <p:tag name="KSO_WM_TEMPLATE_CATEGORY" val="diagram"/>
  <p:tag name="KSO_WM_TEMPLATE_INDEX" val="20194602"/>
  <p:tag name="KSO_WM_UNIT_LAYERLEVEL" val="1"/>
  <p:tag name="KSO_WM_TAG_VERSION" val="1.0"/>
  <p:tag name="KSO_WM_BEAUTIFY_FLAG" val="#wm#"/>
  <p:tag name="KSO_WM_UNIT_COLOR_SCHEME_SHAPE_ID" val="3"/>
  <p:tag name="KSO_WM_UNIT_COLOR_SCHEME_PARENT_PAGE" val="0_1"/>
</p:tagLst>
</file>

<file path=ppt/tags/tag29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
  <p:tag name="KSO_WM_UNIT_ID" val="diagram20194602_1*i*2"/>
  <p:tag name="KSO_WM_TEMPLATE_CATEGORY" val="diagram"/>
  <p:tag name="KSO_WM_TEMPLATE_INDEX" val="20194602"/>
  <p:tag name="KSO_WM_UNIT_LAYERLEVEL" val="1"/>
  <p:tag name="KSO_WM_TAG_VERSION" val="1.0"/>
  <p:tag name="KSO_WM_BEAUTIFY_FLAG" val="#wm#"/>
  <p:tag name="KSO_WM_UNIT_COLOR_SCHEME_SHAPE_ID" val="4"/>
  <p:tag name="KSO_WM_UNIT_COLOR_SCHEME_PARENT_PAGE" val="0_1"/>
</p:tagLst>
</file>

<file path=ppt/tags/tag29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4"/>
  <p:tag name="KSO_WM_TEMPLATE_CATEGORY" val="diagram"/>
  <p:tag name="KSO_WM_TEMPLATE_INDEX" val="20194848"/>
  <p:tag name="KSO_WM_UNIT_LAYERLEVEL" val="1"/>
  <p:tag name="KSO_WM_TAG_VERSION" val="1.0"/>
  <p:tag name="KSO_WM_BEAUTIFY_FLAG" val="#wm#"/>
  <p:tag name="KSO_WM_UNIT_TYPE" val="i"/>
  <p:tag name="KSO_WM_UNIT_INDEX" val="4"/>
</p:tagLst>
</file>

<file path=ppt/tags/tag299.xml><?xml version="1.0" encoding="utf-8"?>
<p:tagLst xmlns:p="http://schemas.openxmlformats.org/presentationml/2006/main">
  <p:tag name="KSO_WM_UNIT_TEXT_PART_ID_V2" val="d-3-2"/>
  <p:tag name="KSO_WM_UNIT_NOCLEAR" val="1"/>
  <p:tag name="KSO_WM_UNIT_VALUE" val="156"/>
  <p:tag name="KSO_WM_UNIT_HIGHLIGHT" val="0"/>
  <p:tag name="KSO_WM_UNIT_COMPATIBLE" val="0"/>
  <p:tag name="KSO_WM_UNIT_DIAGRAM_ISNUMVISUAL" val="0"/>
  <p:tag name="KSO_WM_UNIT_DIAGRAM_ISREFERUNIT" val="0"/>
  <p:tag name="KSO_WM_UNIT_TYPE" val="f"/>
  <p:tag name="KSO_WM_UNIT_INDEX" val="2"/>
  <p:tag name="KSO_WM_UNIT_ID" val="diagram20194848_1*f*2"/>
  <p:tag name="KSO_WM_TEMPLATE_CATEGORY" val="diagram"/>
  <p:tag name="KSO_WM_TEMPLATE_INDEX" val="20194848"/>
  <p:tag name="KSO_WM_UNIT_LAYERLEVEL" val="1"/>
  <p:tag name="KSO_WM_TAG_VERSION" val="1.0"/>
  <p:tag name="KSO_WM_BEAUTIFY_FLAG" val="#wm#"/>
  <p:tag name="KSO_WM_UNIT_PRESET_TEXT" val="单击此处添加小标题&#13;点击此处添加正文，文字是您思想的提炼，为了最终呈现发布的良好效果。&#13;请尽量言简意赅的阐述观点；根据需要可酌情增减文字以便观者可以。"/>
</p:tagLst>
</file>

<file path=ppt/tags/tag3.xml><?xml version="1.0" encoding="utf-8"?>
<p:tagLst xmlns:p="http://schemas.openxmlformats.org/presentationml/2006/main">
  <p:tag name="THINKCELLSHAPEDONOTDELETE" val="thinkcellActiveDocDoNotDelete"/>
</p:tagLst>
</file>

<file path=ppt/tags/tag3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5"/>
  <p:tag name="KSO_WM_TEMPLATE_CATEGORY" val="diagram"/>
  <p:tag name="KSO_WM_TEMPLATE_INDEX" val="20194848"/>
  <p:tag name="KSO_WM_UNIT_LAYERLEVEL" val="1"/>
  <p:tag name="KSO_WM_TAG_VERSION" val="1.0"/>
  <p:tag name="KSO_WM_BEAUTIFY_FLAG" val="#wm#"/>
  <p:tag name="KSO_WM_UNIT_TYPE" val="i"/>
  <p:tag name="KSO_WM_UNIT_INDEX" val="5"/>
</p:tagLst>
</file>

<file path=ppt/tags/tag300.xml><?xml version="1.0" encoding="utf-8"?>
<p:tagLst xmlns:p="http://schemas.openxmlformats.org/presentationml/2006/main">
  <p:tag name="KSO_WM_SLIDE_ID" val="diagram20194602_1"/>
  <p:tag name="KSO_WM_SLIDE_ITEM_CNT" val="0"/>
  <p:tag name="KSO_WM_SLIDE_INDEX" val="1"/>
  <p:tag name="KSO_WM_TAG_VERSION" val="1.0"/>
  <p:tag name="KSO_WM_BEAUTIFY_FLAG" val="#wm#"/>
  <p:tag name="KSO_WM_TEMPLATE_CATEGORY" val="diagram"/>
  <p:tag name="KSO_WM_TEMPLATE_INDEX" val="20194602"/>
  <p:tag name="KSO_WM_SLIDE_LAYOUT" val="a_f"/>
  <p:tag name="KSO_WM_SLIDE_LAYOUT_CNT" val="1_1"/>
  <p:tag name="KSO_WM_SLIDE_TYPE" val="text"/>
  <p:tag name="KSO_WM_SLIDE_SUBTYPE" val="pureTxt"/>
  <p:tag name="KSO_WM_SLIDE_SIZE" val="959*540"/>
  <p:tag name="KSO_WM_SLIDE_POSITION" val="0*0"/>
  <p:tag name="KSO_WM_SLIDE_COLORSCHEME_VERSION" val="3.2"/>
  <p:tag name="KSO_WM_TEMPLATE_SUBCATEGORY" val="0"/>
</p:tagLst>
</file>

<file path=ppt/tags/tag30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
  <p:tag name="KSO_WM_UNIT_ID" val="diagram20194602_1*i*1"/>
  <p:tag name="KSO_WM_TEMPLATE_CATEGORY" val="diagram"/>
  <p:tag name="KSO_WM_TEMPLATE_INDEX" val="20194602"/>
  <p:tag name="KSO_WM_UNIT_LAYERLEVEL" val="1"/>
  <p:tag name="KSO_WM_TAG_VERSION" val="1.0"/>
  <p:tag name="KSO_WM_BEAUTIFY_FLAG" val="#wm#"/>
  <p:tag name="KSO_WM_UNIT_COLOR_SCHEME_SHAPE_ID" val="3"/>
  <p:tag name="KSO_WM_UNIT_COLOR_SCHEME_PARENT_PAGE" val="0_1"/>
</p:tagLst>
</file>

<file path=ppt/tags/tag30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
  <p:tag name="KSO_WM_UNIT_ID" val="diagram20194602_1*i*2"/>
  <p:tag name="KSO_WM_TEMPLATE_CATEGORY" val="diagram"/>
  <p:tag name="KSO_WM_TEMPLATE_INDEX" val="20194602"/>
  <p:tag name="KSO_WM_UNIT_LAYERLEVEL" val="1"/>
  <p:tag name="KSO_WM_TAG_VERSION" val="1.0"/>
  <p:tag name="KSO_WM_BEAUTIFY_FLAG" val="#wm#"/>
  <p:tag name="KSO_WM_UNIT_COLOR_SCHEME_SHAPE_ID" val="4"/>
  <p:tag name="KSO_WM_UNIT_COLOR_SCHEME_PARENT_PAGE" val="0_1"/>
</p:tagLst>
</file>

<file path=ppt/tags/tag30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4"/>
  <p:tag name="KSO_WM_TEMPLATE_CATEGORY" val="diagram"/>
  <p:tag name="KSO_WM_TEMPLATE_INDEX" val="20194848"/>
  <p:tag name="KSO_WM_UNIT_LAYERLEVEL" val="1"/>
  <p:tag name="KSO_WM_TAG_VERSION" val="1.0"/>
  <p:tag name="KSO_WM_BEAUTIFY_FLAG" val="#wm#"/>
  <p:tag name="KSO_WM_UNIT_TYPE" val="i"/>
  <p:tag name="KSO_WM_UNIT_INDEX" val="4"/>
</p:tagLst>
</file>

<file path=ppt/tags/tag304.xml><?xml version="1.0" encoding="utf-8"?>
<p:tagLst xmlns:p="http://schemas.openxmlformats.org/presentationml/2006/main">
  <p:tag name="KSO_WM_UNIT_TEXT_PART_ID_V2" val="d-3-2"/>
  <p:tag name="KSO_WM_UNIT_NOCLEAR" val="1"/>
  <p:tag name="KSO_WM_UNIT_VALUE" val="156"/>
  <p:tag name="KSO_WM_UNIT_HIGHLIGHT" val="0"/>
  <p:tag name="KSO_WM_UNIT_COMPATIBLE" val="0"/>
  <p:tag name="KSO_WM_UNIT_DIAGRAM_ISNUMVISUAL" val="0"/>
  <p:tag name="KSO_WM_UNIT_DIAGRAM_ISREFERUNIT" val="0"/>
  <p:tag name="KSO_WM_UNIT_TYPE" val="f"/>
  <p:tag name="KSO_WM_UNIT_INDEX" val="2"/>
  <p:tag name="KSO_WM_UNIT_ID" val="diagram20194848_1*f*2"/>
  <p:tag name="KSO_WM_TEMPLATE_CATEGORY" val="diagram"/>
  <p:tag name="KSO_WM_TEMPLATE_INDEX" val="20194848"/>
  <p:tag name="KSO_WM_UNIT_LAYERLEVEL" val="1"/>
  <p:tag name="KSO_WM_TAG_VERSION" val="1.0"/>
  <p:tag name="KSO_WM_BEAUTIFY_FLAG" val="#wm#"/>
  <p:tag name="KSO_WM_UNIT_PRESET_TEXT" val="单击此处添加小标题&#13;点击此处添加正文，文字是您思想的提炼，为了最终呈现发布的良好效果。&#13;请尽量言简意赅的阐述观点；根据需要可酌情增减文字以便观者可以。"/>
</p:tagLst>
</file>

<file path=ppt/tags/tag305.xml><?xml version="1.0" encoding="utf-8"?>
<p:tagLst xmlns:p="http://schemas.openxmlformats.org/presentationml/2006/main">
  <p:tag name="KSO_WM_SLIDE_ID" val="diagram20194602_1"/>
  <p:tag name="KSO_WM_SLIDE_ITEM_CNT" val="0"/>
  <p:tag name="KSO_WM_SLIDE_INDEX" val="1"/>
  <p:tag name="KSO_WM_TAG_VERSION" val="1.0"/>
  <p:tag name="KSO_WM_BEAUTIFY_FLAG" val="#wm#"/>
  <p:tag name="KSO_WM_TEMPLATE_CATEGORY" val="diagram"/>
  <p:tag name="KSO_WM_TEMPLATE_INDEX" val="20194602"/>
  <p:tag name="KSO_WM_SLIDE_LAYOUT" val="a_f"/>
  <p:tag name="KSO_WM_SLIDE_LAYOUT_CNT" val="1_1"/>
  <p:tag name="KSO_WM_SLIDE_TYPE" val="text"/>
  <p:tag name="KSO_WM_SLIDE_SUBTYPE" val="pureTxt"/>
  <p:tag name="KSO_WM_SLIDE_SIZE" val="959*540"/>
  <p:tag name="KSO_WM_SLIDE_POSITION" val="0*0"/>
  <p:tag name="KSO_WM_SLIDE_COLORSCHEME_VERSION" val="3.2"/>
  <p:tag name="KSO_WM_TEMPLATE_SUBCATEGORY" val="0"/>
</p:tagLst>
</file>

<file path=ppt/tags/tag30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4"/>
  <p:tag name="KSO_WM_TEMPLATE_CATEGORY" val="diagram"/>
  <p:tag name="KSO_WM_TEMPLATE_INDEX" val="20194848"/>
  <p:tag name="KSO_WM_UNIT_LAYERLEVEL" val="1"/>
  <p:tag name="KSO_WM_TAG_VERSION" val="1.0"/>
  <p:tag name="KSO_WM_BEAUTIFY_FLAG" val="#wm#"/>
  <p:tag name="KSO_WM_UNIT_TYPE" val="i"/>
  <p:tag name="KSO_WM_UNIT_INDEX" val="4"/>
</p:tagLst>
</file>

<file path=ppt/tags/tag307.xml><?xml version="1.0" encoding="utf-8"?>
<p:tagLst xmlns:p="http://schemas.openxmlformats.org/presentationml/2006/main">
  <p:tag name="KSO_WM_UNIT_LARGE_SHAPE" val="1"/>
  <p:tag name="KSO_WM_UNIT_HIGHLIGHT" val="0"/>
  <p:tag name="KSO_WM_UNIT_COMPATIBLE" val="0"/>
  <p:tag name="KSO_WM_UNIT_DIAGRAM_ISNUMVISUAL" val="0"/>
  <p:tag name="KSO_WM_UNIT_DIAGRAM_ISREFERUNIT" val="0"/>
  <p:tag name="KSO_WM_UNIT_ID" val="diagram20194848_1*i*1"/>
  <p:tag name="KSO_WM_TEMPLATE_CATEGORY" val="diagram"/>
  <p:tag name="KSO_WM_TEMPLATE_INDEX" val="20194848"/>
  <p:tag name="KSO_WM_UNIT_LAYERLEVEL" val="1"/>
  <p:tag name="KSO_WM_TAG_VERSION" val="1.0"/>
  <p:tag name="KSO_WM_BEAUTIFY_FLAG" val="#wm#"/>
  <p:tag name="KSO_WM_UNIT_TYPE" val="i"/>
  <p:tag name="KSO_WM_UNIT_INDEX" val="1"/>
</p:tagLst>
</file>

<file path=ppt/tags/tag30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2"/>
  <p:tag name="KSO_WM_TEMPLATE_CATEGORY" val="diagram"/>
  <p:tag name="KSO_WM_TEMPLATE_INDEX" val="20194848"/>
  <p:tag name="KSO_WM_UNIT_LAYERLEVEL" val="1"/>
  <p:tag name="KSO_WM_TAG_VERSION" val="1.0"/>
  <p:tag name="KSO_WM_BEAUTIFY_FLAG" val="#wm#"/>
  <p:tag name="KSO_WM_UNIT_TYPE" val="i"/>
  <p:tag name="KSO_WM_UNIT_INDEX" val="2"/>
</p:tagLst>
</file>

<file path=ppt/tags/tag30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3"/>
  <p:tag name="KSO_WM_TEMPLATE_CATEGORY" val="diagram"/>
  <p:tag name="KSO_WM_TEMPLATE_INDEX" val="20194848"/>
  <p:tag name="KSO_WM_UNIT_LAYERLEVEL" val="1"/>
  <p:tag name="KSO_WM_TAG_VERSION" val="1.0"/>
  <p:tag name="KSO_WM_BEAUTIFY_FLAG" val="#wm#"/>
  <p:tag name="KSO_WM_UNIT_TYPE" val="i"/>
  <p:tag name="KSO_WM_UNIT_INDEX" val="3"/>
</p:tagLst>
</file>

<file path=ppt/tags/tag3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7"/>
  <p:tag name="KSO_WM_TEMPLATE_CATEGORY" val="diagram"/>
  <p:tag name="KSO_WM_TEMPLATE_INDEX" val="20194848"/>
  <p:tag name="KSO_WM_UNIT_LAYERLEVEL" val="1"/>
  <p:tag name="KSO_WM_TAG_VERSION" val="1.0"/>
  <p:tag name="KSO_WM_BEAUTIFY_FLAG" val="#wm#"/>
  <p:tag name="KSO_WM_UNIT_TYPE" val="i"/>
  <p:tag name="KSO_WM_UNIT_INDEX" val="7"/>
</p:tagLst>
</file>

<file path=ppt/tags/tag31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4"/>
  <p:tag name="KSO_WM_TEMPLATE_CATEGORY" val="diagram"/>
  <p:tag name="KSO_WM_TEMPLATE_INDEX" val="20194848"/>
  <p:tag name="KSO_WM_UNIT_LAYERLEVEL" val="1"/>
  <p:tag name="KSO_WM_TAG_VERSION" val="1.0"/>
  <p:tag name="KSO_WM_BEAUTIFY_FLAG" val="#wm#"/>
  <p:tag name="KSO_WM_UNIT_TYPE" val="i"/>
  <p:tag name="KSO_WM_UNIT_INDEX" val="4"/>
</p:tagLst>
</file>

<file path=ppt/tags/tag311.xml><?xml version="1.0" encoding="utf-8"?>
<p:tagLst xmlns:p="http://schemas.openxmlformats.org/presentationml/2006/main">
  <p:tag name="KSO_WM_UNIT_ISCONTENTSTITLE" val="0"/>
  <p:tag name="KSO_WM_UNIT_PRESET_TEXT" val="此处可添加您的大标题内容"/>
  <p:tag name="KSO_WM_UNIT_TEXT_PART_ID" val="2-X"/>
  <p:tag name="KSO_WM_UNIT_TEXT_PART_SIZE" val="49.2*559"/>
  <p:tag name="KSO_WM_UNIT_VALUE" val="26"/>
  <p:tag name="KSO_WM_UNIT_HIGHLIGHT" val="0"/>
  <p:tag name="KSO_WM_UNIT_COMPATIBLE" val="0"/>
  <p:tag name="KSO_WM_UNIT_DIAGRAM_ISNUMVISUAL" val="0"/>
  <p:tag name="KSO_WM_UNIT_DIAGRAM_ISREFERUNIT" val="0"/>
  <p:tag name="KSO_WM_UNIT_TYPE" val="a"/>
  <p:tag name="KSO_WM_UNIT_INDEX" val="1"/>
  <p:tag name="KSO_WM_UNIT_ID" val="diagram20194848_1*a*1"/>
  <p:tag name="KSO_WM_TEMPLATE_CATEGORY" val="diagram"/>
  <p:tag name="KSO_WM_TEMPLATE_INDEX" val="20194848"/>
  <p:tag name="KSO_WM_UNIT_LAYERLEVEL" val="1"/>
  <p:tag name="KSO_WM_TAG_VERSION" val="1.0"/>
  <p:tag name="KSO_WM_BEAUTIFY_FLAG" val="#wm#"/>
  <p:tag name="KSO_WM_UNIT_NOCLEAR" val="0"/>
  <p:tag name="KSO_WM_UNIT_TEXT_PART_ID_V2" val="a-3-1"/>
</p:tagLst>
</file>

<file path=ppt/tags/tag31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5"/>
  <p:tag name="KSO_WM_TEMPLATE_CATEGORY" val="diagram"/>
  <p:tag name="KSO_WM_TEMPLATE_INDEX" val="20194848"/>
  <p:tag name="KSO_WM_UNIT_LAYERLEVEL" val="1"/>
  <p:tag name="KSO_WM_TAG_VERSION" val="1.0"/>
  <p:tag name="KSO_WM_BEAUTIFY_FLAG" val="#wm#"/>
  <p:tag name="KSO_WM_UNIT_TYPE" val="i"/>
  <p:tag name="KSO_WM_UNIT_INDEX" val="5"/>
</p:tagLst>
</file>

<file path=ppt/tags/tag31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7"/>
  <p:tag name="KSO_WM_TEMPLATE_CATEGORY" val="diagram"/>
  <p:tag name="KSO_WM_TEMPLATE_INDEX" val="20194848"/>
  <p:tag name="KSO_WM_UNIT_LAYERLEVEL" val="1"/>
  <p:tag name="KSO_WM_TAG_VERSION" val="1.0"/>
  <p:tag name="KSO_WM_BEAUTIFY_FLAG" val="#wm#"/>
  <p:tag name="KSO_WM_UNIT_TYPE" val="i"/>
  <p:tag name="KSO_WM_UNIT_INDEX" val="7"/>
</p:tagLst>
</file>

<file path=ppt/tags/tag31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8"/>
  <p:tag name="KSO_WM_TEMPLATE_CATEGORY" val="diagram"/>
  <p:tag name="KSO_WM_TEMPLATE_INDEX" val="20194848"/>
  <p:tag name="KSO_WM_UNIT_LAYERLEVEL" val="1"/>
  <p:tag name="KSO_WM_TAG_VERSION" val="1.0"/>
  <p:tag name="KSO_WM_BEAUTIFY_FLAG" val="#wm#"/>
  <p:tag name="KSO_WM_UNIT_TYPE" val="i"/>
  <p:tag name="KSO_WM_UNIT_INDEX" val="8"/>
</p:tagLst>
</file>

<file path=ppt/tags/tag315.xml><?xml version="1.0" encoding="utf-8"?>
<p:tagLst xmlns:p="http://schemas.openxmlformats.org/presentationml/2006/main">
  <p:tag name="KSO_WM_UNIT_TEXT_PART_ID_V2" val="d-2-2"/>
  <p:tag name="KSO_WM_UNIT_PRESET_TEXT" val="单击添加小标题：&#13;点击此处添加正文，文字是您思想的提炼。&#13;请言简意赅的阐述观点,根据需要增减文字。&#13;以便观者可以准确理解您所传达的完整信息。&#13;以便观者可以准确理解您所传达的完整信息。&#13;您的正文已经字字珠玑，但信息却错综复杂。&#13;需要用更多的文字来表述,请您尽可能提炼。&#13;否则容易造成观者的阅读压力，适得其反。"/>
  <p:tag name="KSO_WM_UNIT_NOCLEAR" val="1"/>
  <p:tag name="KSO_WM_UNIT_VALUE" val="234"/>
  <p:tag name="KSO_WM_UNIT_HIGHLIGHT" val="0"/>
  <p:tag name="KSO_WM_UNIT_COMPATIBLE" val="0"/>
  <p:tag name="KSO_WM_UNIT_DIAGRAM_ISNUMVISUAL" val="0"/>
  <p:tag name="KSO_WM_UNIT_DIAGRAM_ISREFERUNIT" val="0"/>
  <p:tag name="KSO_WM_UNIT_TYPE" val="f"/>
  <p:tag name="KSO_WM_UNIT_INDEX" val="1"/>
  <p:tag name="KSO_WM_UNIT_ID" val="diagram20194715_1*f*1"/>
  <p:tag name="KSO_WM_TEMPLATE_CATEGORY" val="diagram"/>
  <p:tag name="KSO_WM_TEMPLATE_INDEX" val="20194715"/>
  <p:tag name="KSO_WM_UNIT_LAYERLEVEL" val="1"/>
  <p:tag name="KSO_WM_TAG_VERSION" val="1.0"/>
  <p:tag name="KSO_WM_BEAUTIFY_FLAG" val="#wm#"/>
  <p:tag name="KSO_WM_UNIT_COLOR_SCHEME_SHAPE_ID" val="5"/>
  <p:tag name="KSO_WM_UNIT_COLOR_SCHEME_PARENT_PAGE" val="0_1"/>
</p:tagLst>
</file>

<file path=ppt/tags/tag316.xml><?xml version="1.0" encoding="utf-8"?>
<p:tagLst xmlns:p="http://schemas.openxmlformats.org/presentationml/2006/main">
  <p:tag name="KSO_WM_SLIDE_ID" val="diagram20194848_1"/>
  <p:tag name="KSO_WM_TEMPLATE_SUBCATEGORY" val="0"/>
  <p:tag name="KSO_WM_SLIDE_TYPE" val="text"/>
  <p:tag name="KSO_WM_SLIDE_SUBTYPE" val="pureTxt"/>
  <p:tag name="KSO_WM_SLIDE_ITEM_CNT" val="0"/>
  <p:tag name="KSO_WM_SLIDE_INDEX" val="1"/>
  <p:tag name="KSO_WM_SLIDE_SIZE" val="960*540"/>
  <p:tag name="KSO_WM_SLIDE_POSITION" val="0*0"/>
  <p:tag name="KSO_WM_TAG_VERSION" val="1.0"/>
  <p:tag name="KSO_WM_BEAUTIFY_FLAG" val="#wm#"/>
  <p:tag name="KSO_WM_TEMPLATE_CATEGORY" val="diagram"/>
  <p:tag name="KSO_WM_TEMPLATE_INDEX" val="20194848"/>
  <p:tag name="KSO_WM_SLIDE_LAYOUT" val="a_f"/>
  <p:tag name="KSO_WM_SLIDE_LAYOUT_CNT" val="1_2"/>
</p:tagLst>
</file>

<file path=ppt/tags/tag317.xml><?xml version="1.0" encoding="utf-8"?>
<p:tagLst xmlns:p="http://schemas.openxmlformats.org/presentationml/2006/main">
  <p:tag name="KSO_WM_UNIT_LARGE_SHAPE" val="1"/>
  <p:tag name="KSO_WM_UNIT_HIGHLIGHT" val="0"/>
  <p:tag name="KSO_WM_UNIT_COMPATIBLE" val="0"/>
  <p:tag name="KSO_WM_UNIT_DIAGRAM_ISNUMVISUAL" val="0"/>
  <p:tag name="KSO_WM_UNIT_DIAGRAM_ISREFERUNIT" val="0"/>
  <p:tag name="KSO_WM_UNIT_TYPE" val="i"/>
  <p:tag name="KSO_WM_UNIT_INDEX" val="1"/>
  <p:tag name="KSO_WM_UNIT_ID" val="diagram20194715_1*i*1"/>
  <p:tag name="KSO_WM_TEMPLATE_CATEGORY" val="diagram"/>
  <p:tag name="KSO_WM_TEMPLATE_INDEX" val="20194715"/>
  <p:tag name="KSO_WM_UNIT_LAYERLEVEL" val="1"/>
  <p:tag name="KSO_WM_TAG_VERSION" val="1.0"/>
  <p:tag name="KSO_WM_BEAUTIFY_FLAG" val="#wm#"/>
  <p:tag name="KSO_WM_UNIT_COLOR_SCHEME_SHAPE_ID" val="30"/>
  <p:tag name="KSO_WM_UNIT_COLOR_SCHEME_PARENT_PAGE" val="0_1"/>
</p:tagLst>
</file>

<file path=ppt/tags/tag31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
  <p:tag name="KSO_WM_UNIT_ID" val="diagram20194715_1*i*2"/>
  <p:tag name="KSO_WM_TEMPLATE_CATEGORY" val="diagram"/>
  <p:tag name="KSO_WM_TEMPLATE_INDEX" val="20194715"/>
  <p:tag name="KSO_WM_UNIT_LAYERLEVEL" val="1"/>
  <p:tag name="KSO_WM_TAG_VERSION" val="1.0"/>
  <p:tag name="KSO_WM_BEAUTIFY_FLAG" val="#wm#"/>
  <p:tag name="KSO_WM_UNIT_COLOR_SCHEME_SHAPE_ID" val="52"/>
  <p:tag name="KSO_WM_UNIT_COLOR_SCHEME_PARENT_PAGE" val="0_1"/>
</p:tagLst>
</file>

<file path=ppt/tags/tag31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
  <p:tag name="KSO_WM_UNIT_ID" val="diagram20194715_1*i*3"/>
  <p:tag name="KSO_WM_TEMPLATE_CATEGORY" val="diagram"/>
  <p:tag name="KSO_WM_TEMPLATE_INDEX" val="20194715"/>
  <p:tag name="KSO_WM_UNIT_LAYERLEVEL" val="1"/>
  <p:tag name="KSO_WM_TAG_VERSION" val="1.0"/>
  <p:tag name="KSO_WM_BEAUTIFY_FLAG" val="#wm#"/>
  <p:tag name="KSO_WM_UNIT_COLOR_SCHEME_SHAPE_ID" val="44"/>
  <p:tag name="KSO_WM_UNIT_COLOR_SCHEME_PARENT_PAGE" val="0_1"/>
</p:tagLst>
</file>

<file path=ppt/tags/tag3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8"/>
  <p:tag name="KSO_WM_TEMPLATE_CATEGORY" val="diagram"/>
  <p:tag name="KSO_WM_TEMPLATE_INDEX" val="20194848"/>
  <p:tag name="KSO_WM_UNIT_LAYERLEVEL" val="1"/>
  <p:tag name="KSO_WM_TAG_VERSION" val="1.0"/>
  <p:tag name="KSO_WM_BEAUTIFY_FLAG" val="#wm#"/>
  <p:tag name="KSO_WM_UNIT_TYPE" val="i"/>
  <p:tag name="KSO_WM_UNIT_INDEX" val="8"/>
</p:tagLst>
</file>

<file path=ppt/tags/tag32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
  <p:tag name="KSO_WM_UNIT_ID" val="diagram20194715_1*i*4"/>
  <p:tag name="KSO_WM_TEMPLATE_CATEGORY" val="diagram"/>
  <p:tag name="KSO_WM_TEMPLATE_INDEX" val="20194715"/>
  <p:tag name="KSO_WM_UNIT_LAYERLEVEL" val="1"/>
  <p:tag name="KSO_WM_TAG_VERSION" val="1.0"/>
  <p:tag name="KSO_WM_BEAUTIFY_FLAG" val="#wm#"/>
  <p:tag name="KSO_WM_UNIT_COLOR_SCHEME_SHAPE_ID" val="39"/>
  <p:tag name="KSO_WM_UNIT_COLOR_SCHEME_PARENT_PAGE" val="0_1"/>
</p:tagLst>
</file>

<file path=ppt/tags/tag32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
  <p:tag name="KSO_WM_UNIT_ID" val="diagram20194715_1*i*5"/>
  <p:tag name="KSO_WM_TEMPLATE_CATEGORY" val="diagram"/>
  <p:tag name="KSO_WM_TEMPLATE_INDEX" val="20194715"/>
  <p:tag name="KSO_WM_UNIT_LAYERLEVEL" val="1"/>
  <p:tag name="KSO_WM_TAG_VERSION" val="1.0"/>
  <p:tag name="KSO_WM_BEAUTIFY_FLAG" val="#wm#"/>
  <p:tag name="KSO_WM_UNIT_COLOR_SCHEME_SHAPE_ID" val="47"/>
  <p:tag name="KSO_WM_UNIT_COLOR_SCHEME_PARENT_PAGE" val="0_1"/>
</p:tagLst>
</file>

<file path=ppt/tags/tag32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
  <p:tag name="KSO_WM_UNIT_ID" val="diagram20194715_1*i*6"/>
  <p:tag name="KSO_WM_TEMPLATE_CATEGORY" val="diagram"/>
  <p:tag name="KSO_WM_TEMPLATE_INDEX" val="20194715"/>
  <p:tag name="KSO_WM_UNIT_LAYERLEVEL" val="1"/>
  <p:tag name="KSO_WM_TAG_VERSION" val="1.0"/>
  <p:tag name="KSO_WM_BEAUTIFY_FLAG" val="#wm#"/>
  <p:tag name="KSO_WM_UNIT_COLOR_SCHEME_SHAPE_ID" val="37"/>
  <p:tag name="KSO_WM_UNIT_COLOR_SCHEME_PARENT_PAGE" val="0_1"/>
</p:tagLst>
</file>

<file path=ppt/tags/tag32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7"/>
  <p:tag name="KSO_WM_UNIT_ID" val="diagram20194715_1*i*7"/>
  <p:tag name="KSO_WM_TEMPLATE_CATEGORY" val="diagram"/>
  <p:tag name="KSO_WM_TEMPLATE_INDEX" val="20194715"/>
  <p:tag name="KSO_WM_UNIT_LAYERLEVEL" val="1"/>
  <p:tag name="KSO_WM_TAG_VERSION" val="1.0"/>
  <p:tag name="KSO_WM_BEAUTIFY_FLAG" val="#wm#"/>
  <p:tag name="KSO_WM_UNIT_COLOR_SCHEME_SHAPE_ID" val="36"/>
  <p:tag name="KSO_WM_UNIT_COLOR_SCHEME_PARENT_PAGE" val="0_1"/>
</p:tagLst>
</file>

<file path=ppt/tags/tag32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9"/>
  <p:tag name="KSO_WM_UNIT_ID" val="diagram20194715_1*i*9"/>
  <p:tag name="KSO_WM_TEMPLATE_CATEGORY" val="diagram"/>
  <p:tag name="KSO_WM_TEMPLATE_INDEX" val="20194715"/>
  <p:tag name="KSO_WM_UNIT_LAYERLEVEL" val="1"/>
  <p:tag name="KSO_WM_TAG_VERSION" val="1.0"/>
  <p:tag name="KSO_WM_BEAUTIFY_FLAG" val="#wm#"/>
  <p:tag name="KSO_WM_UNIT_COLOR_SCHEME_SHAPE_ID" val="28"/>
  <p:tag name="KSO_WM_UNIT_COLOR_SCHEME_PARENT_PAGE" val="0_1"/>
</p:tagLst>
</file>

<file path=ppt/tags/tag32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0"/>
  <p:tag name="KSO_WM_UNIT_ID" val="diagram20194715_1*i*10"/>
  <p:tag name="KSO_WM_TEMPLATE_CATEGORY" val="diagram"/>
  <p:tag name="KSO_WM_TEMPLATE_INDEX" val="20194715"/>
  <p:tag name="KSO_WM_UNIT_LAYERLEVEL" val="1"/>
  <p:tag name="KSO_WM_TAG_VERSION" val="1.0"/>
  <p:tag name="KSO_WM_BEAUTIFY_FLAG" val="#wm#"/>
  <p:tag name="KSO_WM_UNIT_COLOR_SCHEME_SHAPE_ID" val="29"/>
  <p:tag name="KSO_WM_UNIT_COLOR_SCHEME_PARENT_PAGE" val="0_1"/>
</p:tagLst>
</file>

<file path=ppt/tags/tag326.xml><?xml version="1.0" encoding="utf-8"?>
<p:tagLst xmlns:p="http://schemas.openxmlformats.org/presentationml/2006/main">
  <p:tag name="KSO_WM_UNIT_TEXT_PART_ID_V2" val="d-2-2"/>
  <p:tag name="KSO_WM_UNIT_PRESET_TEXT" val="单击添加小标题：&#13;点击此处添加正文，文字是您思想的提炼。&#13;请言简意赅的阐述观点,根据需要增减文字。&#13;以便观者可以准确理解您所传达的完整信息。&#13;以便观者可以准确理解您所传达的完整信息。&#13;您的正文已经字字珠玑，但信息却错综复杂。&#13;需要用更多的文字来表述,请您尽可能提炼。&#13;否则容易造成观者的阅读压力，适得其反。"/>
  <p:tag name="KSO_WM_UNIT_NOCLEAR" val="1"/>
  <p:tag name="KSO_WM_UNIT_VALUE" val="234"/>
  <p:tag name="KSO_WM_UNIT_HIGHLIGHT" val="0"/>
  <p:tag name="KSO_WM_UNIT_COMPATIBLE" val="0"/>
  <p:tag name="KSO_WM_UNIT_DIAGRAM_ISNUMVISUAL" val="0"/>
  <p:tag name="KSO_WM_UNIT_DIAGRAM_ISREFERUNIT" val="0"/>
  <p:tag name="KSO_WM_UNIT_TYPE" val="f"/>
  <p:tag name="KSO_WM_UNIT_INDEX" val="1"/>
  <p:tag name="KSO_WM_UNIT_ID" val="diagram20194715_1*f*1"/>
  <p:tag name="KSO_WM_TEMPLATE_CATEGORY" val="diagram"/>
  <p:tag name="KSO_WM_TEMPLATE_INDEX" val="20194715"/>
  <p:tag name="KSO_WM_UNIT_LAYERLEVEL" val="1"/>
  <p:tag name="KSO_WM_TAG_VERSION" val="1.0"/>
  <p:tag name="KSO_WM_BEAUTIFY_FLAG" val="#wm#"/>
  <p:tag name="KSO_WM_UNIT_COLOR_SCHEME_SHAPE_ID" val="5"/>
  <p:tag name="KSO_WM_UNIT_COLOR_SCHEME_PARENT_PAGE" val="0_1"/>
</p:tagLst>
</file>

<file path=ppt/tags/tag32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1"/>
  <p:tag name="KSO_WM_UNIT_ID" val="diagram20194715_1*i*11"/>
  <p:tag name="KSO_WM_TEMPLATE_CATEGORY" val="diagram"/>
  <p:tag name="KSO_WM_TEMPLATE_INDEX" val="20194715"/>
  <p:tag name="KSO_WM_UNIT_LAYERLEVEL" val="1"/>
  <p:tag name="KSO_WM_TAG_VERSION" val="1.0"/>
  <p:tag name="KSO_WM_BEAUTIFY_FLAG" val="#wm#"/>
  <p:tag name="KSO_WM_UNIT_COLOR_SCHEME_SHAPE_ID" val="45"/>
  <p:tag name="KSO_WM_UNIT_COLOR_SCHEME_PARENT_PAGE" val="0_1"/>
</p:tagLst>
</file>

<file path=ppt/tags/tag32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2"/>
  <p:tag name="KSO_WM_UNIT_ID" val="diagram20194715_1*i*12"/>
  <p:tag name="KSO_WM_TEMPLATE_CATEGORY" val="diagram"/>
  <p:tag name="KSO_WM_TEMPLATE_INDEX" val="20194715"/>
  <p:tag name="KSO_WM_UNIT_LAYERLEVEL" val="1"/>
  <p:tag name="KSO_WM_TAG_VERSION" val="1.0"/>
  <p:tag name="KSO_WM_BEAUTIFY_FLAG" val="#wm#"/>
  <p:tag name="KSO_WM_UNIT_COLOR_SCHEME_SHAPE_ID" val="46"/>
  <p:tag name="KSO_WM_UNIT_COLOR_SCHEME_PARENT_PAGE" val="0_1"/>
</p:tagLst>
</file>

<file path=ppt/tags/tag32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3"/>
  <p:tag name="KSO_WM_UNIT_ID" val="diagram20194715_1*i*13"/>
  <p:tag name="KSO_WM_TEMPLATE_CATEGORY" val="diagram"/>
  <p:tag name="KSO_WM_TEMPLATE_INDEX" val="20194715"/>
  <p:tag name="KSO_WM_UNIT_LAYERLEVEL" val="1"/>
  <p:tag name="KSO_WM_TAG_VERSION" val="1.0"/>
  <p:tag name="KSO_WM_BEAUTIFY_FLAG" val="#wm#"/>
  <p:tag name="KSO_WM_UNIT_COLOR_SCHEME_SHAPE_ID" val="48"/>
  <p:tag name="KSO_WM_UNIT_COLOR_SCHEME_PARENT_PAGE" val="0_1"/>
</p:tagLst>
</file>

<file path=ppt/tags/tag33.xml><?xml version="1.0" encoding="utf-8"?>
<p:tagLst xmlns:p="http://schemas.openxmlformats.org/presentationml/2006/main">
  <p:tag name="KSO_WM_SLIDE_ID" val="diagram20194848_1"/>
  <p:tag name="KSO_WM_TEMPLATE_SUBCATEGORY" val="0"/>
  <p:tag name="KSO_WM_SLIDE_TYPE" val="text"/>
  <p:tag name="KSO_WM_SLIDE_SUBTYPE" val="pureTxt"/>
  <p:tag name="KSO_WM_SLIDE_ITEM_CNT" val="0"/>
  <p:tag name="KSO_WM_SLIDE_INDEX" val="1"/>
  <p:tag name="KSO_WM_SLIDE_SIZE" val="960*540"/>
  <p:tag name="KSO_WM_SLIDE_POSITION" val="0*0"/>
  <p:tag name="KSO_WM_TAG_VERSION" val="1.0"/>
  <p:tag name="KSO_WM_BEAUTIFY_FLAG" val="#wm#"/>
  <p:tag name="KSO_WM_TEMPLATE_CATEGORY" val="diagram"/>
  <p:tag name="KSO_WM_TEMPLATE_INDEX" val="20194848"/>
  <p:tag name="KSO_WM_SLIDE_LAYOUT" val="a_f"/>
  <p:tag name="KSO_WM_SLIDE_LAYOUT_CNT" val="1_2"/>
</p:tagLst>
</file>

<file path=ppt/tags/tag33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4"/>
  <p:tag name="KSO_WM_UNIT_ID" val="diagram20194715_1*i*14"/>
  <p:tag name="KSO_WM_TEMPLATE_CATEGORY" val="diagram"/>
  <p:tag name="KSO_WM_TEMPLATE_INDEX" val="20194715"/>
  <p:tag name="KSO_WM_UNIT_LAYERLEVEL" val="1"/>
  <p:tag name="KSO_WM_TAG_VERSION" val="1.0"/>
  <p:tag name="KSO_WM_BEAUTIFY_FLAG" val="#wm#"/>
  <p:tag name="KSO_WM_UNIT_COLOR_SCHEME_SHAPE_ID" val="50"/>
  <p:tag name="KSO_WM_UNIT_COLOR_SCHEME_PARENT_PAGE" val="0_1"/>
</p:tagLst>
</file>

<file path=ppt/tags/tag33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5"/>
  <p:tag name="KSO_WM_UNIT_ID" val="diagram20194715_1*i*15"/>
  <p:tag name="KSO_WM_TEMPLATE_CATEGORY" val="diagram"/>
  <p:tag name="KSO_WM_TEMPLATE_INDEX" val="20194715"/>
  <p:tag name="KSO_WM_UNIT_LAYERLEVEL" val="1"/>
  <p:tag name="KSO_WM_TAG_VERSION" val="1.0"/>
  <p:tag name="KSO_WM_BEAUTIFY_FLAG" val="#wm#"/>
  <p:tag name="KSO_WM_UNIT_COLOR_SCHEME_SHAPE_ID" val="51"/>
  <p:tag name="KSO_WM_UNIT_COLOR_SCHEME_PARENT_PAGE" val="0_1"/>
</p:tagLst>
</file>

<file path=ppt/tags/tag332.xml><?xml version="1.0" encoding="utf-8"?>
<p:tagLst xmlns:p="http://schemas.openxmlformats.org/presentationml/2006/main">
  <p:tag name="KSO_WM_SLIDE_ID" val="diagram20194715_1"/>
  <p:tag name="KSO_WM_SLIDE_ITEM_CNT" val="0"/>
  <p:tag name="KSO_WM_SLIDE_INDEX" val="1"/>
  <p:tag name="KSO_WM_TAG_VERSION" val="1.0"/>
  <p:tag name="KSO_WM_BEAUTIFY_FLAG" val="#wm#"/>
  <p:tag name="KSO_WM_TEMPLATE_CATEGORY" val="diagram"/>
  <p:tag name="KSO_WM_TEMPLATE_INDEX" val="20194715"/>
  <p:tag name="KSO_WM_SLIDE_LAYOUT" val="f"/>
  <p:tag name="KSO_WM_SLIDE_LAYOUT_CNT" val="1"/>
  <p:tag name="KSO_WM_SLIDE_TYPE" val="text"/>
  <p:tag name="KSO_WM_SLIDE_SUBTYPE" val="pureTxt"/>
  <p:tag name="KSO_WM_SLIDE_SIZE" val="960*540"/>
  <p:tag name="KSO_WM_SLIDE_POSITION" val="0*0"/>
  <p:tag name="KSO_WM_SLIDE_COLORSCHEME_VERSION" val="3.2"/>
  <p:tag name="KSO_WM_TEMPLATE_SUBCATEGORY" val="0"/>
</p:tagLst>
</file>

<file path=ppt/tags/tag333.xml><?xml version="1.0" encoding="utf-8"?>
<p:tagLst xmlns:p="http://schemas.openxmlformats.org/presentationml/2006/main">
  <p:tag name="KSO_WM_UNIT_LARGE_SHAPE" val="1"/>
  <p:tag name="KSO_WM_UNIT_HIGHLIGHT" val="0"/>
  <p:tag name="KSO_WM_UNIT_COMPATIBLE" val="0"/>
  <p:tag name="KSO_WM_UNIT_DIAGRAM_ISNUMVISUAL" val="0"/>
  <p:tag name="KSO_WM_UNIT_DIAGRAM_ISREFERUNIT" val="0"/>
  <p:tag name="KSO_WM_UNIT_TYPE" val="i"/>
  <p:tag name="KSO_WM_UNIT_INDEX" val="1"/>
  <p:tag name="KSO_WM_UNIT_ID" val="diagram20194715_1*i*1"/>
  <p:tag name="KSO_WM_TEMPLATE_CATEGORY" val="diagram"/>
  <p:tag name="KSO_WM_TEMPLATE_INDEX" val="20194715"/>
  <p:tag name="KSO_WM_UNIT_LAYERLEVEL" val="1"/>
  <p:tag name="KSO_WM_TAG_VERSION" val="1.0"/>
  <p:tag name="KSO_WM_BEAUTIFY_FLAG" val="#wm#"/>
  <p:tag name="KSO_WM_UNIT_COLOR_SCHEME_SHAPE_ID" val="30"/>
  <p:tag name="KSO_WM_UNIT_COLOR_SCHEME_PARENT_PAGE" val="0_1"/>
</p:tagLst>
</file>

<file path=ppt/tags/tag33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
  <p:tag name="KSO_WM_UNIT_ID" val="diagram20194715_1*i*2"/>
  <p:tag name="KSO_WM_TEMPLATE_CATEGORY" val="diagram"/>
  <p:tag name="KSO_WM_TEMPLATE_INDEX" val="20194715"/>
  <p:tag name="KSO_WM_UNIT_LAYERLEVEL" val="1"/>
  <p:tag name="KSO_WM_TAG_VERSION" val="1.0"/>
  <p:tag name="KSO_WM_BEAUTIFY_FLAG" val="#wm#"/>
  <p:tag name="KSO_WM_UNIT_COLOR_SCHEME_SHAPE_ID" val="52"/>
  <p:tag name="KSO_WM_UNIT_COLOR_SCHEME_PARENT_PAGE" val="0_1"/>
</p:tagLst>
</file>

<file path=ppt/tags/tag33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
  <p:tag name="KSO_WM_UNIT_ID" val="diagram20194715_1*i*3"/>
  <p:tag name="KSO_WM_TEMPLATE_CATEGORY" val="diagram"/>
  <p:tag name="KSO_WM_TEMPLATE_INDEX" val="20194715"/>
  <p:tag name="KSO_WM_UNIT_LAYERLEVEL" val="1"/>
  <p:tag name="KSO_WM_TAG_VERSION" val="1.0"/>
  <p:tag name="KSO_WM_BEAUTIFY_FLAG" val="#wm#"/>
  <p:tag name="KSO_WM_UNIT_COLOR_SCHEME_SHAPE_ID" val="44"/>
  <p:tag name="KSO_WM_UNIT_COLOR_SCHEME_PARENT_PAGE" val="0_1"/>
</p:tagLst>
</file>

<file path=ppt/tags/tag33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
  <p:tag name="KSO_WM_UNIT_ID" val="diagram20194715_1*i*4"/>
  <p:tag name="KSO_WM_TEMPLATE_CATEGORY" val="diagram"/>
  <p:tag name="KSO_WM_TEMPLATE_INDEX" val="20194715"/>
  <p:tag name="KSO_WM_UNIT_LAYERLEVEL" val="1"/>
  <p:tag name="KSO_WM_TAG_VERSION" val="1.0"/>
  <p:tag name="KSO_WM_BEAUTIFY_FLAG" val="#wm#"/>
  <p:tag name="KSO_WM_UNIT_COLOR_SCHEME_SHAPE_ID" val="39"/>
  <p:tag name="KSO_WM_UNIT_COLOR_SCHEME_PARENT_PAGE" val="0_1"/>
</p:tagLst>
</file>

<file path=ppt/tags/tag33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
  <p:tag name="KSO_WM_UNIT_ID" val="diagram20194715_1*i*5"/>
  <p:tag name="KSO_WM_TEMPLATE_CATEGORY" val="diagram"/>
  <p:tag name="KSO_WM_TEMPLATE_INDEX" val="20194715"/>
  <p:tag name="KSO_WM_UNIT_LAYERLEVEL" val="1"/>
  <p:tag name="KSO_WM_TAG_VERSION" val="1.0"/>
  <p:tag name="KSO_WM_BEAUTIFY_FLAG" val="#wm#"/>
  <p:tag name="KSO_WM_UNIT_COLOR_SCHEME_SHAPE_ID" val="47"/>
  <p:tag name="KSO_WM_UNIT_COLOR_SCHEME_PARENT_PAGE" val="0_1"/>
</p:tagLst>
</file>

<file path=ppt/tags/tag33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
  <p:tag name="KSO_WM_UNIT_ID" val="diagram20194715_1*i*6"/>
  <p:tag name="KSO_WM_TEMPLATE_CATEGORY" val="diagram"/>
  <p:tag name="KSO_WM_TEMPLATE_INDEX" val="20194715"/>
  <p:tag name="KSO_WM_UNIT_LAYERLEVEL" val="1"/>
  <p:tag name="KSO_WM_TAG_VERSION" val="1.0"/>
  <p:tag name="KSO_WM_BEAUTIFY_FLAG" val="#wm#"/>
  <p:tag name="KSO_WM_UNIT_COLOR_SCHEME_SHAPE_ID" val="37"/>
  <p:tag name="KSO_WM_UNIT_COLOR_SCHEME_PARENT_PAGE" val="0_1"/>
</p:tagLst>
</file>

<file path=ppt/tags/tag33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7"/>
  <p:tag name="KSO_WM_UNIT_ID" val="diagram20194715_1*i*7"/>
  <p:tag name="KSO_WM_TEMPLATE_CATEGORY" val="diagram"/>
  <p:tag name="KSO_WM_TEMPLATE_INDEX" val="20194715"/>
  <p:tag name="KSO_WM_UNIT_LAYERLEVEL" val="1"/>
  <p:tag name="KSO_WM_TAG_VERSION" val="1.0"/>
  <p:tag name="KSO_WM_BEAUTIFY_FLAG" val="#wm#"/>
  <p:tag name="KSO_WM_UNIT_COLOR_SCHEME_SHAPE_ID" val="36"/>
  <p:tag name="KSO_WM_UNIT_COLOR_SCHEME_PARENT_PAGE" val="0_1"/>
</p:tagLst>
</file>

<file path=ppt/tags/tag34.xml><?xml version="1.0" encoding="utf-8"?>
<p:tagLst xmlns:p="http://schemas.openxmlformats.org/presentationml/2006/main">
  <p:tag name="KSO_WM_UNIT_LARGE_SHAPE" val="1"/>
  <p:tag name="KSO_WM_UNIT_HIGHLIGHT" val="0"/>
  <p:tag name="KSO_WM_UNIT_COMPATIBLE" val="0"/>
  <p:tag name="KSO_WM_UNIT_DIAGRAM_ISNUMVISUAL" val="0"/>
  <p:tag name="KSO_WM_UNIT_DIAGRAM_ISREFERUNIT" val="0"/>
  <p:tag name="KSO_WM_UNIT_ID" val="diagram20194848_1*i*1"/>
  <p:tag name="KSO_WM_TEMPLATE_CATEGORY" val="diagram"/>
  <p:tag name="KSO_WM_TEMPLATE_INDEX" val="20194848"/>
  <p:tag name="KSO_WM_UNIT_LAYERLEVEL" val="1"/>
  <p:tag name="KSO_WM_TAG_VERSION" val="1.0"/>
  <p:tag name="KSO_WM_BEAUTIFY_FLAG" val="#wm#"/>
  <p:tag name="KSO_WM_UNIT_TYPE" val="i"/>
  <p:tag name="KSO_WM_UNIT_INDEX" val="1"/>
</p:tagLst>
</file>

<file path=ppt/tags/tag34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9"/>
  <p:tag name="KSO_WM_UNIT_ID" val="diagram20194715_1*i*9"/>
  <p:tag name="KSO_WM_TEMPLATE_CATEGORY" val="diagram"/>
  <p:tag name="KSO_WM_TEMPLATE_INDEX" val="20194715"/>
  <p:tag name="KSO_WM_UNIT_LAYERLEVEL" val="1"/>
  <p:tag name="KSO_WM_TAG_VERSION" val="1.0"/>
  <p:tag name="KSO_WM_BEAUTIFY_FLAG" val="#wm#"/>
  <p:tag name="KSO_WM_UNIT_COLOR_SCHEME_SHAPE_ID" val="28"/>
  <p:tag name="KSO_WM_UNIT_COLOR_SCHEME_PARENT_PAGE" val="0_1"/>
</p:tagLst>
</file>

<file path=ppt/tags/tag34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0"/>
  <p:tag name="KSO_WM_UNIT_ID" val="diagram20194715_1*i*10"/>
  <p:tag name="KSO_WM_TEMPLATE_CATEGORY" val="diagram"/>
  <p:tag name="KSO_WM_TEMPLATE_INDEX" val="20194715"/>
  <p:tag name="KSO_WM_UNIT_LAYERLEVEL" val="1"/>
  <p:tag name="KSO_WM_TAG_VERSION" val="1.0"/>
  <p:tag name="KSO_WM_BEAUTIFY_FLAG" val="#wm#"/>
  <p:tag name="KSO_WM_UNIT_COLOR_SCHEME_SHAPE_ID" val="29"/>
  <p:tag name="KSO_WM_UNIT_COLOR_SCHEME_PARENT_PAGE" val="0_1"/>
</p:tagLst>
</file>

<file path=ppt/tags/tag342.xml><?xml version="1.0" encoding="utf-8"?>
<p:tagLst xmlns:p="http://schemas.openxmlformats.org/presentationml/2006/main">
  <p:tag name="KSO_WM_UNIT_TEXT_PART_ID_V2" val="d-2-2"/>
  <p:tag name="KSO_WM_UNIT_PRESET_TEXT" val="单击添加小标题：&#13;点击此处添加正文，文字是您思想的提炼。&#13;请言简意赅的阐述观点,根据需要增减文字。&#13;以便观者可以准确理解您所传达的完整信息。&#13;以便观者可以准确理解您所传达的完整信息。&#13;您的正文已经字字珠玑，但信息却错综复杂。&#13;需要用更多的文字来表述,请您尽可能提炼。&#13;否则容易造成观者的阅读压力，适得其反。"/>
  <p:tag name="KSO_WM_UNIT_NOCLEAR" val="1"/>
  <p:tag name="KSO_WM_UNIT_VALUE" val="234"/>
  <p:tag name="KSO_WM_UNIT_HIGHLIGHT" val="0"/>
  <p:tag name="KSO_WM_UNIT_COMPATIBLE" val="0"/>
  <p:tag name="KSO_WM_UNIT_DIAGRAM_ISNUMVISUAL" val="0"/>
  <p:tag name="KSO_WM_UNIT_DIAGRAM_ISREFERUNIT" val="0"/>
  <p:tag name="KSO_WM_UNIT_TYPE" val="f"/>
  <p:tag name="KSO_WM_UNIT_INDEX" val="1"/>
  <p:tag name="KSO_WM_UNIT_ID" val="diagram20194715_1*f*1"/>
  <p:tag name="KSO_WM_TEMPLATE_CATEGORY" val="diagram"/>
  <p:tag name="KSO_WM_TEMPLATE_INDEX" val="20194715"/>
  <p:tag name="KSO_WM_UNIT_LAYERLEVEL" val="1"/>
  <p:tag name="KSO_WM_TAG_VERSION" val="1.0"/>
  <p:tag name="KSO_WM_BEAUTIFY_FLAG" val="#wm#"/>
  <p:tag name="KSO_WM_UNIT_COLOR_SCHEME_SHAPE_ID" val="5"/>
  <p:tag name="KSO_WM_UNIT_COLOR_SCHEME_PARENT_PAGE" val="0_1"/>
</p:tagLst>
</file>

<file path=ppt/tags/tag34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1"/>
  <p:tag name="KSO_WM_UNIT_ID" val="diagram20194715_1*i*11"/>
  <p:tag name="KSO_WM_TEMPLATE_CATEGORY" val="diagram"/>
  <p:tag name="KSO_WM_TEMPLATE_INDEX" val="20194715"/>
  <p:tag name="KSO_WM_UNIT_LAYERLEVEL" val="1"/>
  <p:tag name="KSO_WM_TAG_VERSION" val="1.0"/>
  <p:tag name="KSO_WM_BEAUTIFY_FLAG" val="#wm#"/>
  <p:tag name="KSO_WM_UNIT_COLOR_SCHEME_SHAPE_ID" val="45"/>
  <p:tag name="KSO_WM_UNIT_COLOR_SCHEME_PARENT_PAGE" val="0_1"/>
</p:tagLst>
</file>

<file path=ppt/tags/tag34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2"/>
  <p:tag name="KSO_WM_UNIT_ID" val="diagram20194715_1*i*12"/>
  <p:tag name="KSO_WM_TEMPLATE_CATEGORY" val="diagram"/>
  <p:tag name="KSO_WM_TEMPLATE_INDEX" val="20194715"/>
  <p:tag name="KSO_WM_UNIT_LAYERLEVEL" val="1"/>
  <p:tag name="KSO_WM_TAG_VERSION" val="1.0"/>
  <p:tag name="KSO_WM_BEAUTIFY_FLAG" val="#wm#"/>
  <p:tag name="KSO_WM_UNIT_COLOR_SCHEME_SHAPE_ID" val="46"/>
  <p:tag name="KSO_WM_UNIT_COLOR_SCHEME_PARENT_PAGE" val="0_1"/>
</p:tagLst>
</file>

<file path=ppt/tags/tag34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3"/>
  <p:tag name="KSO_WM_UNIT_ID" val="diagram20194715_1*i*13"/>
  <p:tag name="KSO_WM_TEMPLATE_CATEGORY" val="diagram"/>
  <p:tag name="KSO_WM_TEMPLATE_INDEX" val="20194715"/>
  <p:tag name="KSO_WM_UNIT_LAYERLEVEL" val="1"/>
  <p:tag name="KSO_WM_TAG_VERSION" val="1.0"/>
  <p:tag name="KSO_WM_BEAUTIFY_FLAG" val="#wm#"/>
  <p:tag name="KSO_WM_UNIT_COLOR_SCHEME_SHAPE_ID" val="48"/>
  <p:tag name="KSO_WM_UNIT_COLOR_SCHEME_PARENT_PAGE" val="0_1"/>
</p:tagLst>
</file>

<file path=ppt/tags/tag34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4"/>
  <p:tag name="KSO_WM_UNIT_ID" val="diagram20194715_1*i*14"/>
  <p:tag name="KSO_WM_TEMPLATE_CATEGORY" val="diagram"/>
  <p:tag name="KSO_WM_TEMPLATE_INDEX" val="20194715"/>
  <p:tag name="KSO_WM_UNIT_LAYERLEVEL" val="1"/>
  <p:tag name="KSO_WM_TAG_VERSION" val="1.0"/>
  <p:tag name="KSO_WM_BEAUTIFY_FLAG" val="#wm#"/>
  <p:tag name="KSO_WM_UNIT_COLOR_SCHEME_SHAPE_ID" val="50"/>
  <p:tag name="KSO_WM_UNIT_COLOR_SCHEME_PARENT_PAGE" val="0_1"/>
</p:tagLst>
</file>

<file path=ppt/tags/tag34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5"/>
  <p:tag name="KSO_WM_UNIT_ID" val="diagram20194715_1*i*15"/>
  <p:tag name="KSO_WM_TEMPLATE_CATEGORY" val="diagram"/>
  <p:tag name="KSO_WM_TEMPLATE_INDEX" val="20194715"/>
  <p:tag name="KSO_WM_UNIT_LAYERLEVEL" val="1"/>
  <p:tag name="KSO_WM_TAG_VERSION" val="1.0"/>
  <p:tag name="KSO_WM_BEAUTIFY_FLAG" val="#wm#"/>
  <p:tag name="KSO_WM_UNIT_COLOR_SCHEME_SHAPE_ID" val="51"/>
  <p:tag name="KSO_WM_UNIT_COLOR_SCHEME_PARENT_PAGE" val="0_1"/>
</p:tagLst>
</file>

<file path=ppt/tags/tag348.xml><?xml version="1.0" encoding="utf-8"?>
<p:tagLst xmlns:p="http://schemas.openxmlformats.org/presentationml/2006/main">
  <p:tag name="KSO_WM_SLIDE_ID" val="diagram20194715_1"/>
  <p:tag name="KSO_WM_SLIDE_ITEM_CNT" val="0"/>
  <p:tag name="KSO_WM_SLIDE_INDEX" val="1"/>
  <p:tag name="KSO_WM_TAG_VERSION" val="1.0"/>
  <p:tag name="KSO_WM_BEAUTIFY_FLAG" val="#wm#"/>
  <p:tag name="KSO_WM_TEMPLATE_CATEGORY" val="diagram"/>
  <p:tag name="KSO_WM_TEMPLATE_INDEX" val="20194715"/>
  <p:tag name="KSO_WM_SLIDE_LAYOUT" val="f"/>
  <p:tag name="KSO_WM_SLIDE_LAYOUT_CNT" val="1"/>
  <p:tag name="KSO_WM_SLIDE_TYPE" val="text"/>
  <p:tag name="KSO_WM_SLIDE_SUBTYPE" val="pureTxt"/>
  <p:tag name="KSO_WM_SLIDE_SIZE" val="960*540"/>
  <p:tag name="KSO_WM_SLIDE_POSITION" val="0*0"/>
  <p:tag name="KSO_WM_SLIDE_COLORSCHEME_VERSION" val="3.2"/>
  <p:tag name="KSO_WM_TEMPLATE_SUBCATEGORY" val="0"/>
</p:tagLst>
</file>

<file path=ppt/tags/tag34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
  <p:tag name="KSO_WM_UNIT_ID" val="diagram20194755_1*i*1"/>
  <p:tag name="KSO_WM_TEMPLATE_CATEGORY" val="diagram"/>
  <p:tag name="KSO_WM_TEMPLATE_INDEX" val="20194755"/>
  <p:tag name="KSO_WM_UNIT_LAYERLEVEL" val="1"/>
  <p:tag name="KSO_WM_TAG_VERSION" val="1.0"/>
  <p:tag name="KSO_WM_BEAUTIFY_FLAG" val="#wm#"/>
  <p:tag name="KSO_WM_UNIT_COLOR_SCHEME_SHAPE_ID" val="16"/>
  <p:tag name="KSO_WM_UNIT_COLOR_SCHEME_PARENT_PAGE" val="0_1"/>
</p:tagLst>
</file>

<file path=ppt/tags/tag3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2"/>
  <p:tag name="KSO_WM_TEMPLATE_CATEGORY" val="diagram"/>
  <p:tag name="KSO_WM_TEMPLATE_INDEX" val="20194848"/>
  <p:tag name="KSO_WM_UNIT_LAYERLEVEL" val="1"/>
  <p:tag name="KSO_WM_TAG_VERSION" val="1.0"/>
  <p:tag name="KSO_WM_BEAUTIFY_FLAG" val="#wm#"/>
  <p:tag name="KSO_WM_UNIT_TYPE" val="i"/>
  <p:tag name="KSO_WM_UNIT_INDEX" val="2"/>
</p:tagLst>
</file>

<file path=ppt/tags/tag35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
  <p:tag name="KSO_WM_UNIT_ID" val="diagram20194755_1*i*2"/>
  <p:tag name="KSO_WM_TEMPLATE_CATEGORY" val="diagram"/>
  <p:tag name="KSO_WM_TEMPLATE_INDEX" val="20194755"/>
  <p:tag name="KSO_WM_UNIT_LAYERLEVEL" val="1"/>
  <p:tag name="KSO_WM_TAG_VERSION" val="1.0"/>
  <p:tag name="KSO_WM_BEAUTIFY_FLAG" val="#wm#"/>
  <p:tag name="KSO_WM_UNIT_COLOR_SCHEME_SHAPE_ID" val="17"/>
  <p:tag name="KSO_WM_UNIT_COLOR_SCHEME_PARENT_PAGE" val="0_1"/>
</p:tagLst>
</file>

<file path=ppt/tags/tag35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
  <p:tag name="KSO_WM_UNIT_ID" val="diagram20194755_1*i*4"/>
  <p:tag name="KSO_WM_TEMPLATE_CATEGORY" val="diagram"/>
  <p:tag name="KSO_WM_TEMPLATE_INDEX" val="20194755"/>
  <p:tag name="KSO_WM_UNIT_LAYERLEVEL" val="1"/>
  <p:tag name="KSO_WM_TAG_VERSION" val="1.0"/>
  <p:tag name="KSO_WM_BEAUTIFY_FLAG" val="#wm#"/>
  <p:tag name="KSO_WM_UNIT_COLOR_SCHEME_SHAPE_ID" val="80"/>
  <p:tag name="KSO_WM_UNIT_COLOR_SCHEME_PARENT_PAGE" val="0_1"/>
  <p:tag name="KSO_WM_UNIT_DECOLORIZATION" val="1"/>
</p:tagLst>
</file>

<file path=ppt/tags/tag35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
  <p:tag name="KSO_WM_UNIT_ID" val="diagram20194755_1*i*5"/>
  <p:tag name="KSO_WM_TEMPLATE_CATEGORY" val="diagram"/>
  <p:tag name="KSO_WM_TEMPLATE_INDEX" val="20194755"/>
  <p:tag name="KSO_WM_UNIT_LAYERLEVEL" val="1"/>
  <p:tag name="KSO_WM_TAG_VERSION" val="1.0"/>
  <p:tag name="KSO_WM_BEAUTIFY_FLAG" val="#wm#"/>
  <p:tag name="KSO_WM_UNIT_COLOR_SCHEME_SHAPE_ID" val="81"/>
  <p:tag name="KSO_WM_UNIT_COLOR_SCHEME_PARENT_PAGE" val="0_1"/>
  <p:tag name="KSO_WM_UNIT_DECOLORIZATION" val="1"/>
</p:tagLst>
</file>

<file path=ppt/tags/tag35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
  <p:tag name="KSO_WM_UNIT_ID" val="diagram20194755_1*i*6"/>
  <p:tag name="KSO_WM_TEMPLATE_CATEGORY" val="diagram"/>
  <p:tag name="KSO_WM_TEMPLATE_INDEX" val="20194755"/>
  <p:tag name="KSO_WM_UNIT_LAYERLEVEL" val="1"/>
  <p:tag name="KSO_WM_TAG_VERSION" val="1.0"/>
  <p:tag name="KSO_WM_BEAUTIFY_FLAG" val="#wm#"/>
  <p:tag name="KSO_WM_UNIT_COLOR_SCHEME_SHAPE_ID" val="82"/>
  <p:tag name="KSO_WM_UNIT_COLOR_SCHEME_PARENT_PAGE" val="0_1"/>
  <p:tag name="KSO_WM_UNIT_DECOLORIZATION" val="1"/>
</p:tagLst>
</file>

<file path=ppt/tags/tag35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7"/>
  <p:tag name="KSO_WM_UNIT_ID" val="diagram20194755_1*i*7"/>
  <p:tag name="KSO_WM_TEMPLATE_CATEGORY" val="diagram"/>
  <p:tag name="KSO_WM_TEMPLATE_INDEX" val="20194755"/>
  <p:tag name="KSO_WM_UNIT_LAYERLEVEL" val="1"/>
  <p:tag name="KSO_WM_TAG_VERSION" val="1.0"/>
  <p:tag name="KSO_WM_BEAUTIFY_FLAG" val="#wm#"/>
  <p:tag name="KSO_WM_UNIT_COLOR_SCHEME_SHAPE_ID" val="83"/>
  <p:tag name="KSO_WM_UNIT_COLOR_SCHEME_PARENT_PAGE" val="0_1"/>
  <p:tag name="KSO_WM_UNIT_DECOLORIZATION" val="1"/>
</p:tagLst>
</file>

<file path=ppt/tags/tag35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8"/>
  <p:tag name="KSO_WM_UNIT_ID" val="diagram20194755_1*i*8"/>
  <p:tag name="KSO_WM_TEMPLATE_CATEGORY" val="diagram"/>
  <p:tag name="KSO_WM_TEMPLATE_INDEX" val="20194755"/>
  <p:tag name="KSO_WM_UNIT_LAYERLEVEL" val="1"/>
  <p:tag name="KSO_WM_TAG_VERSION" val="1.0"/>
  <p:tag name="KSO_WM_BEAUTIFY_FLAG" val="#wm#"/>
  <p:tag name="KSO_WM_UNIT_COLOR_SCHEME_SHAPE_ID" val="84"/>
  <p:tag name="KSO_WM_UNIT_COLOR_SCHEME_PARENT_PAGE" val="0_1"/>
  <p:tag name="KSO_WM_UNIT_DECOLORIZATION" val="1"/>
</p:tagLst>
</file>

<file path=ppt/tags/tag35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9"/>
  <p:tag name="KSO_WM_UNIT_ID" val="diagram20194755_1*i*9"/>
  <p:tag name="KSO_WM_TEMPLATE_CATEGORY" val="diagram"/>
  <p:tag name="KSO_WM_TEMPLATE_INDEX" val="20194755"/>
  <p:tag name="KSO_WM_UNIT_LAYERLEVEL" val="1"/>
  <p:tag name="KSO_WM_TAG_VERSION" val="1.0"/>
  <p:tag name="KSO_WM_BEAUTIFY_FLAG" val="#wm#"/>
  <p:tag name="KSO_WM_UNIT_COLOR_SCHEME_SHAPE_ID" val="85"/>
  <p:tag name="KSO_WM_UNIT_COLOR_SCHEME_PARENT_PAGE" val="0_1"/>
  <p:tag name="KSO_WM_UNIT_DECOLORIZATION" val="1"/>
</p:tagLst>
</file>

<file path=ppt/tags/tag35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0"/>
  <p:tag name="KSO_WM_UNIT_ID" val="diagram20194755_1*i*10"/>
  <p:tag name="KSO_WM_TEMPLATE_CATEGORY" val="diagram"/>
  <p:tag name="KSO_WM_TEMPLATE_INDEX" val="20194755"/>
  <p:tag name="KSO_WM_UNIT_LAYERLEVEL" val="1"/>
  <p:tag name="KSO_WM_TAG_VERSION" val="1.0"/>
  <p:tag name="KSO_WM_BEAUTIFY_FLAG" val="#wm#"/>
  <p:tag name="KSO_WM_UNIT_COLOR_SCHEME_SHAPE_ID" val="86"/>
  <p:tag name="KSO_WM_UNIT_COLOR_SCHEME_PARENT_PAGE" val="0_1"/>
  <p:tag name="KSO_WM_UNIT_DECOLORIZATION" val="1"/>
</p:tagLst>
</file>

<file path=ppt/tags/tag35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1"/>
  <p:tag name="KSO_WM_UNIT_ID" val="diagram20194755_1*i*11"/>
  <p:tag name="KSO_WM_TEMPLATE_CATEGORY" val="diagram"/>
  <p:tag name="KSO_WM_TEMPLATE_INDEX" val="20194755"/>
  <p:tag name="KSO_WM_UNIT_LAYERLEVEL" val="1"/>
  <p:tag name="KSO_WM_TAG_VERSION" val="1.0"/>
  <p:tag name="KSO_WM_BEAUTIFY_FLAG" val="#wm#"/>
  <p:tag name="KSO_WM_UNIT_COLOR_SCHEME_SHAPE_ID" val="87"/>
  <p:tag name="KSO_WM_UNIT_COLOR_SCHEME_PARENT_PAGE" val="0_1"/>
  <p:tag name="KSO_WM_UNIT_DECOLORIZATION" val="1"/>
</p:tagLst>
</file>

<file path=ppt/tags/tag35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2"/>
  <p:tag name="KSO_WM_UNIT_ID" val="diagram20194755_1*i*12"/>
  <p:tag name="KSO_WM_TEMPLATE_CATEGORY" val="diagram"/>
  <p:tag name="KSO_WM_TEMPLATE_INDEX" val="20194755"/>
  <p:tag name="KSO_WM_UNIT_LAYERLEVEL" val="1"/>
  <p:tag name="KSO_WM_TAG_VERSION" val="1.0"/>
  <p:tag name="KSO_WM_BEAUTIFY_FLAG" val="#wm#"/>
  <p:tag name="KSO_WM_UNIT_COLOR_SCHEME_SHAPE_ID" val="88"/>
  <p:tag name="KSO_WM_UNIT_COLOR_SCHEME_PARENT_PAGE" val="0_1"/>
  <p:tag name="KSO_WM_UNIT_DECOLORIZATION" val="1"/>
</p:tagLst>
</file>

<file path=ppt/tags/tag3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3"/>
  <p:tag name="KSO_WM_TEMPLATE_CATEGORY" val="diagram"/>
  <p:tag name="KSO_WM_TEMPLATE_INDEX" val="20194848"/>
  <p:tag name="KSO_WM_UNIT_LAYERLEVEL" val="1"/>
  <p:tag name="KSO_WM_TAG_VERSION" val="1.0"/>
  <p:tag name="KSO_WM_BEAUTIFY_FLAG" val="#wm#"/>
  <p:tag name="KSO_WM_UNIT_TYPE" val="i"/>
  <p:tag name="KSO_WM_UNIT_INDEX" val="3"/>
</p:tagLst>
</file>

<file path=ppt/tags/tag36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3"/>
  <p:tag name="KSO_WM_UNIT_ID" val="diagram20194755_1*i*13"/>
  <p:tag name="KSO_WM_TEMPLATE_CATEGORY" val="diagram"/>
  <p:tag name="KSO_WM_TEMPLATE_INDEX" val="20194755"/>
  <p:tag name="KSO_WM_UNIT_LAYERLEVEL" val="1"/>
  <p:tag name="KSO_WM_TAG_VERSION" val="1.0"/>
  <p:tag name="KSO_WM_BEAUTIFY_FLAG" val="#wm#"/>
  <p:tag name="KSO_WM_UNIT_COLOR_SCHEME_SHAPE_ID" val="89"/>
  <p:tag name="KSO_WM_UNIT_COLOR_SCHEME_PARENT_PAGE" val="0_1"/>
  <p:tag name="KSO_WM_UNIT_DECOLORIZATION" val="1"/>
</p:tagLst>
</file>

<file path=ppt/tags/tag36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4"/>
  <p:tag name="KSO_WM_UNIT_ID" val="diagram20194755_1*i*14"/>
  <p:tag name="KSO_WM_TEMPLATE_CATEGORY" val="diagram"/>
  <p:tag name="KSO_WM_TEMPLATE_INDEX" val="20194755"/>
  <p:tag name="KSO_WM_UNIT_LAYERLEVEL" val="1"/>
  <p:tag name="KSO_WM_TAG_VERSION" val="1.0"/>
  <p:tag name="KSO_WM_BEAUTIFY_FLAG" val="#wm#"/>
  <p:tag name="KSO_WM_UNIT_COLOR_SCHEME_SHAPE_ID" val="90"/>
  <p:tag name="KSO_WM_UNIT_COLOR_SCHEME_PARENT_PAGE" val="0_1"/>
  <p:tag name="KSO_WM_UNIT_DECOLORIZATION" val="1"/>
</p:tagLst>
</file>

<file path=ppt/tags/tag36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5"/>
  <p:tag name="KSO_WM_UNIT_ID" val="diagram20194755_1*i*15"/>
  <p:tag name="KSO_WM_TEMPLATE_CATEGORY" val="diagram"/>
  <p:tag name="KSO_WM_TEMPLATE_INDEX" val="20194755"/>
  <p:tag name="KSO_WM_UNIT_LAYERLEVEL" val="1"/>
  <p:tag name="KSO_WM_TAG_VERSION" val="1.0"/>
  <p:tag name="KSO_WM_BEAUTIFY_FLAG" val="#wm#"/>
  <p:tag name="KSO_WM_UNIT_COLOR_SCHEME_SHAPE_ID" val="69"/>
  <p:tag name="KSO_WM_UNIT_COLOR_SCHEME_PARENT_PAGE" val="0_1"/>
  <p:tag name="KSO_WM_UNIT_DECOLORIZATION" val="1"/>
</p:tagLst>
</file>

<file path=ppt/tags/tag36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6"/>
  <p:tag name="KSO_WM_UNIT_ID" val="diagram20194755_1*i*16"/>
  <p:tag name="KSO_WM_TEMPLATE_CATEGORY" val="diagram"/>
  <p:tag name="KSO_WM_TEMPLATE_INDEX" val="20194755"/>
  <p:tag name="KSO_WM_UNIT_LAYERLEVEL" val="1"/>
  <p:tag name="KSO_WM_TAG_VERSION" val="1.0"/>
  <p:tag name="KSO_WM_BEAUTIFY_FLAG" val="#wm#"/>
  <p:tag name="KSO_WM_UNIT_COLOR_SCHEME_SHAPE_ID" val="70"/>
  <p:tag name="KSO_WM_UNIT_COLOR_SCHEME_PARENT_PAGE" val="0_1"/>
  <p:tag name="KSO_WM_UNIT_DECOLORIZATION" val="1"/>
</p:tagLst>
</file>

<file path=ppt/tags/tag36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7"/>
  <p:tag name="KSO_WM_UNIT_ID" val="diagram20194755_1*i*17"/>
  <p:tag name="KSO_WM_TEMPLATE_CATEGORY" val="diagram"/>
  <p:tag name="KSO_WM_TEMPLATE_INDEX" val="20194755"/>
  <p:tag name="KSO_WM_UNIT_LAYERLEVEL" val="1"/>
  <p:tag name="KSO_WM_TAG_VERSION" val="1.0"/>
  <p:tag name="KSO_WM_BEAUTIFY_FLAG" val="#wm#"/>
  <p:tag name="KSO_WM_UNIT_COLOR_SCHEME_SHAPE_ID" val="71"/>
  <p:tag name="KSO_WM_UNIT_COLOR_SCHEME_PARENT_PAGE" val="0_1"/>
  <p:tag name="KSO_WM_UNIT_DECOLORIZATION" val="1"/>
</p:tagLst>
</file>

<file path=ppt/tags/tag36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8"/>
  <p:tag name="KSO_WM_UNIT_ID" val="diagram20194755_1*i*18"/>
  <p:tag name="KSO_WM_TEMPLATE_CATEGORY" val="diagram"/>
  <p:tag name="KSO_WM_TEMPLATE_INDEX" val="20194755"/>
  <p:tag name="KSO_WM_UNIT_LAYERLEVEL" val="1"/>
  <p:tag name="KSO_WM_TAG_VERSION" val="1.0"/>
  <p:tag name="KSO_WM_BEAUTIFY_FLAG" val="#wm#"/>
  <p:tag name="KSO_WM_UNIT_COLOR_SCHEME_SHAPE_ID" val="72"/>
  <p:tag name="KSO_WM_UNIT_COLOR_SCHEME_PARENT_PAGE" val="0_1"/>
  <p:tag name="KSO_WM_UNIT_DECOLORIZATION" val="1"/>
</p:tagLst>
</file>

<file path=ppt/tags/tag36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9"/>
  <p:tag name="KSO_WM_UNIT_ID" val="diagram20194755_1*i*19"/>
  <p:tag name="KSO_WM_TEMPLATE_CATEGORY" val="diagram"/>
  <p:tag name="KSO_WM_TEMPLATE_INDEX" val="20194755"/>
  <p:tag name="KSO_WM_UNIT_LAYERLEVEL" val="1"/>
  <p:tag name="KSO_WM_TAG_VERSION" val="1.0"/>
  <p:tag name="KSO_WM_BEAUTIFY_FLAG" val="#wm#"/>
  <p:tag name="KSO_WM_UNIT_COLOR_SCHEME_SHAPE_ID" val="73"/>
  <p:tag name="KSO_WM_UNIT_COLOR_SCHEME_PARENT_PAGE" val="0_1"/>
  <p:tag name="KSO_WM_UNIT_DECOLORIZATION" val="1"/>
</p:tagLst>
</file>

<file path=ppt/tags/tag36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0"/>
  <p:tag name="KSO_WM_UNIT_ID" val="diagram20194755_1*i*20"/>
  <p:tag name="KSO_WM_TEMPLATE_CATEGORY" val="diagram"/>
  <p:tag name="KSO_WM_TEMPLATE_INDEX" val="20194755"/>
  <p:tag name="KSO_WM_UNIT_LAYERLEVEL" val="1"/>
  <p:tag name="KSO_WM_TAG_VERSION" val="1.0"/>
  <p:tag name="KSO_WM_BEAUTIFY_FLAG" val="#wm#"/>
  <p:tag name="KSO_WM_UNIT_COLOR_SCHEME_SHAPE_ID" val="74"/>
  <p:tag name="KSO_WM_UNIT_COLOR_SCHEME_PARENT_PAGE" val="0_1"/>
  <p:tag name="KSO_WM_UNIT_DECOLORIZATION" val="1"/>
</p:tagLst>
</file>

<file path=ppt/tags/tag36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1"/>
  <p:tag name="KSO_WM_UNIT_ID" val="diagram20194755_1*i*21"/>
  <p:tag name="KSO_WM_TEMPLATE_CATEGORY" val="diagram"/>
  <p:tag name="KSO_WM_TEMPLATE_INDEX" val="20194755"/>
  <p:tag name="KSO_WM_UNIT_LAYERLEVEL" val="1"/>
  <p:tag name="KSO_WM_TAG_VERSION" val="1.0"/>
  <p:tag name="KSO_WM_BEAUTIFY_FLAG" val="#wm#"/>
  <p:tag name="KSO_WM_UNIT_COLOR_SCHEME_SHAPE_ID" val="75"/>
  <p:tag name="KSO_WM_UNIT_COLOR_SCHEME_PARENT_PAGE" val="0_1"/>
  <p:tag name="KSO_WM_UNIT_DECOLORIZATION" val="1"/>
</p:tagLst>
</file>

<file path=ppt/tags/tag36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2"/>
  <p:tag name="KSO_WM_UNIT_ID" val="diagram20194755_1*i*22"/>
  <p:tag name="KSO_WM_TEMPLATE_CATEGORY" val="diagram"/>
  <p:tag name="KSO_WM_TEMPLATE_INDEX" val="20194755"/>
  <p:tag name="KSO_WM_UNIT_LAYERLEVEL" val="1"/>
  <p:tag name="KSO_WM_TAG_VERSION" val="1.0"/>
  <p:tag name="KSO_WM_BEAUTIFY_FLAG" val="#wm#"/>
  <p:tag name="KSO_WM_UNIT_COLOR_SCHEME_SHAPE_ID" val="76"/>
  <p:tag name="KSO_WM_UNIT_COLOR_SCHEME_PARENT_PAGE" val="0_1"/>
  <p:tag name="KSO_WM_UNIT_DECOLORIZATION" val="1"/>
</p:tagLst>
</file>

<file path=ppt/tags/tag3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4"/>
  <p:tag name="KSO_WM_TEMPLATE_CATEGORY" val="diagram"/>
  <p:tag name="KSO_WM_TEMPLATE_INDEX" val="20194848"/>
  <p:tag name="KSO_WM_UNIT_LAYERLEVEL" val="1"/>
  <p:tag name="KSO_WM_TAG_VERSION" val="1.0"/>
  <p:tag name="KSO_WM_BEAUTIFY_FLAG" val="#wm#"/>
  <p:tag name="KSO_WM_UNIT_TYPE" val="i"/>
  <p:tag name="KSO_WM_UNIT_INDEX" val="4"/>
</p:tagLst>
</file>

<file path=ppt/tags/tag37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3"/>
  <p:tag name="KSO_WM_UNIT_ID" val="diagram20194755_1*i*23"/>
  <p:tag name="KSO_WM_TEMPLATE_CATEGORY" val="diagram"/>
  <p:tag name="KSO_WM_TEMPLATE_INDEX" val="20194755"/>
  <p:tag name="KSO_WM_UNIT_LAYERLEVEL" val="1"/>
  <p:tag name="KSO_WM_TAG_VERSION" val="1.0"/>
  <p:tag name="KSO_WM_BEAUTIFY_FLAG" val="#wm#"/>
  <p:tag name="KSO_WM_UNIT_COLOR_SCHEME_SHAPE_ID" val="77"/>
  <p:tag name="KSO_WM_UNIT_COLOR_SCHEME_PARENT_PAGE" val="0_1"/>
  <p:tag name="KSO_WM_UNIT_DECOLORIZATION" val="1"/>
</p:tagLst>
</file>

<file path=ppt/tags/tag37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4"/>
  <p:tag name="KSO_WM_UNIT_ID" val="diagram20194755_1*i*24"/>
  <p:tag name="KSO_WM_TEMPLATE_CATEGORY" val="diagram"/>
  <p:tag name="KSO_WM_TEMPLATE_INDEX" val="20194755"/>
  <p:tag name="KSO_WM_UNIT_LAYERLEVEL" val="1"/>
  <p:tag name="KSO_WM_TAG_VERSION" val="1.0"/>
  <p:tag name="KSO_WM_BEAUTIFY_FLAG" val="#wm#"/>
  <p:tag name="KSO_WM_UNIT_COLOR_SCHEME_SHAPE_ID" val="78"/>
  <p:tag name="KSO_WM_UNIT_COLOR_SCHEME_PARENT_PAGE" val="0_1"/>
  <p:tag name="KSO_WM_UNIT_DECOLORIZATION" val="1"/>
</p:tagLst>
</file>

<file path=ppt/tags/tag37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5"/>
  <p:tag name="KSO_WM_UNIT_ID" val="diagram20194755_1*i*25"/>
  <p:tag name="KSO_WM_TEMPLATE_CATEGORY" val="diagram"/>
  <p:tag name="KSO_WM_TEMPLATE_INDEX" val="20194755"/>
  <p:tag name="KSO_WM_UNIT_LAYERLEVEL" val="1"/>
  <p:tag name="KSO_WM_TAG_VERSION" val="1.0"/>
  <p:tag name="KSO_WM_BEAUTIFY_FLAG" val="#wm#"/>
  <p:tag name="KSO_WM_UNIT_COLOR_SCHEME_SHAPE_ID" val="79"/>
  <p:tag name="KSO_WM_UNIT_COLOR_SCHEME_PARENT_PAGE" val="0_1"/>
  <p:tag name="KSO_WM_UNIT_DECOLORIZATION" val="1"/>
</p:tagLst>
</file>

<file path=ppt/tags/tag37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6"/>
  <p:tag name="KSO_WM_UNIT_ID" val="diagram20194755_1*i*26"/>
  <p:tag name="KSO_WM_TEMPLATE_CATEGORY" val="diagram"/>
  <p:tag name="KSO_WM_TEMPLATE_INDEX" val="20194755"/>
  <p:tag name="KSO_WM_UNIT_LAYERLEVEL" val="1"/>
  <p:tag name="KSO_WM_TAG_VERSION" val="1.0"/>
  <p:tag name="KSO_WM_BEAUTIFY_FLAG" val="#wm#"/>
  <p:tag name="KSO_WM_UNIT_COLOR_SCHEME_SHAPE_ID" val="58"/>
  <p:tag name="KSO_WM_UNIT_COLOR_SCHEME_PARENT_PAGE" val="0_1"/>
  <p:tag name="KSO_WM_UNIT_DECOLORIZATION" val="1"/>
</p:tagLst>
</file>

<file path=ppt/tags/tag37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7"/>
  <p:tag name="KSO_WM_UNIT_ID" val="diagram20194755_1*i*27"/>
  <p:tag name="KSO_WM_TEMPLATE_CATEGORY" val="diagram"/>
  <p:tag name="KSO_WM_TEMPLATE_INDEX" val="20194755"/>
  <p:tag name="KSO_WM_UNIT_LAYERLEVEL" val="1"/>
  <p:tag name="KSO_WM_TAG_VERSION" val="1.0"/>
  <p:tag name="KSO_WM_BEAUTIFY_FLAG" val="#wm#"/>
  <p:tag name="KSO_WM_UNIT_COLOR_SCHEME_SHAPE_ID" val="59"/>
  <p:tag name="KSO_WM_UNIT_COLOR_SCHEME_PARENT_PAGE" val="0_1"/>
  <p:tag name="KSO_WM_UNIT_DECOLORIZATION" val="1"/>
</p:tagLst>
</file>

<file path=ppt/tags/tag37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8"/>
  <p:tag name="KSO_WM_UNIT_ID" val="diagram20194755_1*i*28"/>
  <p:tag name="KSO_WM_TEMPLATE_CATEGORY" val="diagram"/>
  <p:tag name="KSO_WM_TEMPLATE_INDEX" val="20194755"/>
  <p:tag name="KSO_WM_UNIT_LAYERLEVEL" val="1"/>
  <p:tag name="KSO_WM_TAG_VERSION" val="1.0"/>
  <p:tag name="KSO_WM_BEAUTIFY_FLAG" val="#wm#"/>
  <p:tag name="KSO_WM_UNIT_COLOR_SCHEME_SHAPE_ID" val="60"/>
  <p:tag name="KSO_WM_UNIT_COLOR_SCHEME_PARENT_PAGE" val="0_1"/>
  <p:tag name="KSO_WM_UNIT_DECOLORIZATION" val="1"/>
</p:tagLst>
</file>

<file path=ppt/tags/tag37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9"/>
  <p:tag name="KSO_WM_UNIT_ID" val="diagram20194755_1*i*29"/>
  <p:tag name="KSO_WM_TEMPLATE_CATEGORY" val="diagram"/>
  <p:tag name="KSO_WM_TEMPLATE_INDEX" val="20194755"/>
  <p:tag name="KSO_WM_UNIT_LAYERLEVEL" val="1"/>
  <p:tag name="KSO_WM_TAG_VERSION" val="1.0"/>
  <p:tag name="KSO_WM_BEAUTIFY_FLAG" val="#wm#"/>
  <p:tag name="KSO_WM_UNIT_COLOR_SCHEME_SHAPE_ID" val="61"/>
  <p:tag name="KSO_WM_UNIT_COLOR_SCHEME_PARENT_PAGE" val="0_1"/>
  <p:tag name="KSO_WM_UNIT_DECOLORIZATION" val="1"/>
</p:tagLst>
</file>

<file path=ppt/tags/tag37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0"/>
  <p:tag name="KSO_WM_UNIT_ID" val="diagram20194755_1*i*30"/>
  <p:tag name="KSO_WM_TEMPLATE_CATEGORY" val="diagram"/>
  <p:tag name="KSO_WM_TEMPLATE_INDEX" val="20194755"/>
  <p:tag name="KSO_WM_UNIT_LAYERLEVEL" val="1"/>
  <p:tag name="KSO_WM_TAG_VERSION" val="1.0"/>
  <p:tag name="KSO_WM_BEAUTIFY_FLAG" val="#wm#"/>
  <p:tag name="KSO_WM_UNIT_COLOR_SCHEME_SHAPE_ID" val="62"/>
  <p:tag name="KSO_WM_UNIT_COLOR_SCHEME_PARENT_PAGE" val="0_1"/>
  <p:tag name="KSO_WM_UNIT_DECOLORIZATION" val="1"/>
</p:tagLst>
</file>

<file path=ppt/tags/tag37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1"/>
  <p:tag name="KSO_WM_UNIT_ID" val="diagram20194755_1*i*31"/>
  <p:tag name="KSO_WM_TEMPLATE_CATEGORY" val="diagram"/>
  <p:tag name="KSO_WM_TEMPLATE_INDEX" val="20194755"/>
  <p:tag name="KSO_WM_UNIT_LAYERLEVEL" val="1"/>
  <p:tag name="KSO_WM_TAG_VERSION" val="1.0"/>
  <p:tag name="KSO_WM_BEAUTIFY_FLAG" val="#wm#"/>
  <p:tag name="KSO_WM_UNIT_COLOR_SCHEME_SHAPE_ID" val="63"/>
  <p:tag name="KSO_WM_UNIT_COLOR_SCHEME_PARENT_PAGE" val="0_1"/>
  <p:tag name="KSO_WM_UNIT_DECOLORIZATION" val="1"/>
</p:tagLst>
</file>

<file path=ppt/tags/tag37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2"/>
  <p:tag name="KSO_WM_UNIT_ID" val="diagram20194755_1*i*32"/>
  <p:tag name="KSO_WM_TEMPLATE_CATEGORY" val="diagram"/>
  <p:tag name="KSO_WM_TEMPLATE_INDEX" val="20194755"/>
  <p:tag name="KSO_WM_UNIT_LAYERLEVEL" val="1"/>
  <p:tag name="KSO_WM_TAG_VERSION" val="1.0"/>
  <p:tag name="KSO_WM_BEAUTIFY_FLAG" val="#wm#"/>
  <p:tag name="KSO_WM_UNIT_COLOR_SCHEME_SHAPE_ID" val="64"/>
  <p:tag name="KSO_WM_UNIT_COLOR_SCHEME_PARENT_PAGE" val="0_1"/>
  <p:tag name="KSO_WM_UNIT_DECOLORIZATION" val="1"/>
</p:tagLst>
</file>

<file path=ppt/tags/tag38.xml><?xml version="1.0" encoding="utf-8"?>
<p:tagLst xmlns:p="http://schemas.openxmlformats.org/presentationml/2006/main">
  <p:tag name="KSO_WM_UNIT_ISCONTENTSTITLE" val="0"/>
  <p:tag name="KSO_WM_UNIT_PRESET_TEXT" val="此处可添加您的大标题内容"/>
  <p:tag name="KSO_WM_UNIT_TEXT_PART_ID" val="2-X"/>
  <p:tag name="KSO_WM_UNIT_TEXT_PART_SIZE" val="49.2*559"/>
  <p:tag name="KSO_WM_UNIT_VALUE" val="26"/>
  <p:tag name="KSO_WM_UNIT_HIGHLIGHT" val="0"/>
  <p:tag name="KSO_WM_UNIT_COMPATIBLE" val="0"/>
  <p:tag name="KSO_WM_UNIT_DIAGRAM_ISNUMVISUAL" val="0"/>
  <p:tag name="KSO_WM_UNIT_DIAGRAM_ISREFERUNIT" val="0"/>
  <p:tag name="KSO_WM_UNIT_TYPE" val="a"/>
  <p:tag name="KSO_WM_UNIT_INDEX" val="1"/>
  <p:tag name="KSO_WM_UNIT_ID" val="diagram20194848_1*a*1"/>
  <p:tag name="KSO_WM_TEMPLATE_CATEGORY" val="diagram"/>
  <p:tag name="KSO_WM_TEMPLATE_INDEX" val="20194848"/>
  <p:tag name="KSO_WM_UNIT_LAYERLEVEL" val="1"/>
  <p:tag name="KSO_WM_TAG_VERSION" val="1.0"/>
  <p:tag name="KSO_WM_BEAUTIFY_FLAG" val="#wm#"/>
  <p:tag name="KSO_WM_UNIT_NOCLEAR" val="0"/>
  <p:tag name="KSO_WM_UNIT_TEXT_PART_ID_V2" val="a-3-1"/>
</p:tagLst>
</file>

<file path=ppt/tags/tag38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3"/>
  <p:tag name="KSO_WM_UNIT_ID" val="diagram20194755_1*i*33"/>
  <p:tag name="KSO_WM_TEMPLATE_CATEGORY" val="diagram"/>
  <p:tag name="KSO_WM_TEMPLATE_INDEX" val="20194755"/>
  <p:tag name="KSO_WM_UNIT_LAYERLEVEL" val="1"/>
  <p:tag name="KSO_WM_TAG_VERSION" val="1.0"/>
  <p:tag name="KSO_WM_BEAUTIFY_FLAG" val="#wm#"/>
  <p:tag name="KSO_WM_UNIT_COLOR_SCHEME_SHAPE_ID" val="65"/>
  <p:tag name="KSO_WM_UNIT_COLOR_SCHEME_PARENT_PAGE" val="0_1"/>
  <p:tag name="KSO_WM_UNIT_DECOLORIZATION" val="1"/>
</p:tagLst>
</file>

<file path=ppt/tags/tag38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4"/>
  <p:tag name="KSO_WM_UNIT_ID" val="diagram20194755_1*i*34"/>
  <p:tag name="KSO_WM_TEMPLATE_CATEGORY" val="diagram"/>
  <p:tag name="KSO_WM_TEMPLATE_INDEX" val="20194755"/>
  <p:tag name="KSO_WM_UNIT_LAYERLEVEL" val="1"/>
  <p:tag name="KSO_WM_TAG_VERSION" val="1.0"/>
  <p:tag name="KSO_WM_BEAUTIFY_FLAG" val="#wm#"/>
  <p:tag name="KSO_WM_UNIT_COLOR_SCHEME_SHAPE_ID" val="66"/>
  <p:tag name="KSO_WM_UNIT_COLOR_SCHEME_PARENT_PAGE" val="0_1"/>
  <p:tag name="KSO_WM_UNIT_DECOLORIZATION" val="1"/>
</p:tagLst>
</file>

<file path=ppt/tags/tag38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5"/>
  <p:tag name="KSO_WM_UNIT_ID" val="diagram20194755_1*i*35"/>
  <p:tag name="KSO_WM_TEMPLATE_CATEGORY" val="diagram"/>
  <p:tag name="KSO_WM_TEMPLATE_INDEX" val="20194755"/>
  <p:tag name="KSO_WM_UNIT_LAYERLEVEL" val="1"/>
  <p:tag name="KSO_WM_TAG_VERSION" val="1.0"/>
  <p:tag name="KSO_WM_BEAUTIFY_FLAG" val="#wm#"/>
  <p:tag name="KSO_WM_UNIT_COLOR_SCHEME_SHAPE_ID" val="67"/>
  <p:tag name="KSO_WM_UNIT_COLOR_SCHEME_PARENT_PAGE" val="0_1"/>
  <p:tag name="KSO_WM_UNIT_DECOLORIZATION" val="1"/>
</p:tagLst>
</file>

<file path=ppt/tags/tag38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6"/>
  <p:tag name="KSO_WM_UNIT_ID" val="diagram20194755_1*i*36"/>
  <p:tag name="KSO_WM_TEMPLATE_CATEGORY" val="diagram"/>
  <p:tag name="KSO_WM_TEMPLATE_INDEX" val="20194755"/>
  <p:tag name="KSO_WM_UNIT_LAYERLEVEL" val="1"/>
  <p:tag name="KSO_WM_TAG_VERSION" val="1.0"/>
  <p:tag name="KSO_WM_BEAUTIFY_FLAG" val="#wm#"/>
  <p:tag name="KSO_WM_UNIT_COLOR_SCHEME_SHAPE_ID" val="68"/>
  <p:tag name="KSO_WM_UNIT_COLOR_SCHEME_PARENT_PAGE" val="0_1"/>
  <p:tag name="KSO_WM_UNIT_DECOLORIZATION" val="1"/>
</p:tagLst>
</file>

<file path=ppt/tags/tag38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7"/>
  <p:tag name="KSO_WM_UNIT_ID" val="diagram20194755_1*i*37"/>
  <p:tag name="KSO_WM_TEMPLATE_CATEGORY" val="diagram"/>
  <p:tag name="KSO_WM_TEMPLATE_INDEX" val="20194755"/>
  <p:tag name="KSO_WM_UNIT_LAYERLEVEL" val="1"/>
  <p:tag name="KSO_WM_TAG_VERSION" val="1.0"/>
  <p:tag name="KSO_WM_BEAUTIFY_FLAG" val="#wm#"/>
  <p:tag name="KSO_WM_UNIT_COLOR_SCHEME_SHAPE_ID" val="47"/>
  <p:tag name="KSO_WM_UNIT_COLOR_SCHEME_PARENT_PAGE" val="0_1"/>
  <p:tag name="KSO_WM_UNIT_DECOLORIZATION" val="1"/>
</p:tagLst>
</file>

<file path=ppt/tags/tag38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8"/>
  <p:tag name="KSO_WM_UNIT_ID" val="diagram20194755_1*i*38"/>
  <p:tag name="KSO_WM_TEMPLATE_CATEGORY" val="diagram"/>
  <p:tag name="KSO_WM_TEMPLATE_INDEX" val="20194755"/>
  <p:tag name="KSO_WM_UNIT_LAYERLEVEL" val="1"/>
  <p:tag name="KSO_WM_TAG_VERSION" val="1.0"/>
  <p:tag name="KSO_WM_BEAUTIFY_FLAG" val="#wm#"/>
  <p:tag name="KSO_WM_UNIT_COLOR_SCHEME_SHAPE_ID" val="48"/>
  <p:tag name="KSO_WM_UNIT_COLOR_SCHEME_PARENT_PAGE" val="0_1"/>
  <p:tag name="KSO_WM_UNIT_DECOLORIZATION" val="1"/>
</p:tagLst>
</file>

<file path=ppt/tags/tag38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9"/>
  <p:tag name="KSO_WM_UNIT_ID" val="diagram20194755_1*i*39"/>
  <p:tag name="KSO_WM_TEMPLATE_CATEGORY" val="diagram"/>
  <p:tag name="KSO_WM_TEMPLATE_INDEX" val="20194755"/>
  <p:tag name="KSO_WM_UNIT_LAYERLEVEL" val="1"/>
  <p:tag name="KSO_WM_TAG_VERSION" val="1.0"/>
  <p:tag name="KSO_WM_BEAUTIFY_FLAG" val="#wm#"/>
  <p:tag name="KSO_WM_UNIT_COLOR_SCHEME_SHAPE_ID" val="49"/>
  <p:tag name="KSO_WM_UNIT_COLOR_SCHEME_PARENT_PAGE" val="0_1"/>
  <p:tag name="KSO_WM_UNIT_DECOLORIZATION" val="1"/>
</p:tagLst>
</file>

<file path=ppt/tags/tag38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0"/>
  <p:tag name="KSO_WM_UNIT_ID" val="diagram20194755_1*i*40"/>
  <p:tag name="KSO_WM_TEMPLATE_CATEGORY" val="diagram"/>
  <p:tag name="KSO_WM_TEMPLATE_INDEX" val="20194755"/>
  <p:tag name="KSO_WM_UNIT_LAYERLEVEL" val="1"/>
  <p:tag name="KSO_WM_TAG_VERSION" val="1.0"/>
  <p:tag name="KSO_WM_BEAUTIFY_FLAG" val="#wm#"/>
  <p:tag name="KSO_WM_UNIT_COLOR_SCHEME_SHAPE_ID" val="50"/>
  <p:tag name="KSO_WM_UNIT_COLOR_SCHEME_PARENT_PAGE" val="0_1"/>
  <p:tag name="KSO_WM_UNIT_DECOLORIZATION" val="1"/>
</p:tagLst>
</file>

<file path=ppt/tags/tag38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1"/>
  <p:tag name="KSO_WM_UNIT_ID" val="diagram20194755_1*i*41"/>
  <p:tag name="KSO_WM_TEMPLATE_CATEGORY" val="diagram"/>
  <p:tag name="KSO_WM_TEMPLATE_INDEX" val="20194755"/>
  <p:tag name="KSO_WM_UNIT_LAYERLEVEL" val="1"/>
  <p:tag name="KSO_WM_TAG_VERSION" val="1.0"/>
  <p:tag name="KSO_WM_BEAUTIFY_FLAG" val="#wm#"/>
  <p:tag name="KSO_WM_UNIT_COLOR_SCHEME_SHAPE_ID" val="51"/>
  <p:tag name="KSO_WM_UNIT_COLOR_SCHEME_PARENT_PAGE" val="0_1"/>
  <p:tag name="KSO_WM_UNIT_DECOLORIZATION" val="1"/>
</p:tagLst>
</file>

<file path=ppt/tags/tag38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2"/>
  <p:tag name="KSO_WM_UNIT_ID" val="diagram20194755_1*i*42"/>
  <p:tag name="KSO_WM_TEMPLATE_CATEGORY" val="diagram"/>
  <p:tag name="KSO_WM_TEMPLATE_INDEX" val="20194755"/>
  <p:tag name="KSO_WM_UNIT_LAYERLEVEL" val="1"/>
  <p:tag name="KSO_WM_TAG_VERSION" val="1.0"/>
  <p:tag name="KSO_WM_BEAUTIFY_FLAG" val="#wm#"/>
  <p:tag name="KSO_WM_UNIT_COLOR_SCHEME_SHAPE_ID" val="52"/>
  <p:tag name="KSO_WM_UNIT_COLOR_SCHEME_PARENT_PAGE" val="0_1"/>
  <p:tag name="KSO_WM_UNIT_DECOLORIZATION" val="1"/>
</p:tagLst>
</file>

<file path=ppt/tags/tag3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5"/>
  <p:tag name="KSO_WM_TEMPLATE_CATEGORY" val="diagram"/>
  <p:tag name="KSO_WM_TEMPLATE_INDEX" val="20194848"/>
  <p:tag name="KSO_WM_UNIT_LAYERLEVEL" val="1"/>
  <p:tag name="KSO_WM_TAG_VERSION" val="1.0"/>
  <p:tag name="KSO_WM_BEAUTIFY_FLAG" val="#wm#"/>
  <p:tag name="KSO_WM_UNIT_TYPE" val="i"/>
  <p:tag name="KSO_WM_UNIT_INDEX" val="5"/>
</p:tagLst>
</file>

<file path=ppt/tags/tag39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3"/>
  <p:tag name="KSO_WM_UNIT_ID" val="diagram20194755_1*i*43"/>
  <p:tag name="KSO_WM_TEMPLATE_CATEGORY" val="diagram"/>
  <p:tag name="KSO_WM_TEMPLATE_INDEX" val="20194755"/>
  <p:tag name="KSO_WM_UNIT_LAYERLEVEL" val="1"/>
  <p:tag name="KSO_WM_TAG_VERSION" val="1.0"/>
  <p:tag name="KSO_WM_BEAUTIFY_FLAG" val="#wm#"/>
  <p:tag name="KSO_WM_UNIT_COLOR_SCHEME_SHAPE_ID" val="53"/>
  <p:tag name="KSO_WM_UNIT_COLOR_SCHEME_PARENT_PAGE" val="0_1"/>
  <p:tag name="KSO_WM_UNIT_DECOLORIZATION" val="1"/>
</p:tagLst>
</file>

<file path=ppt/tags/tag39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4"/>
  <p:tag name="KSO_WM_UNIT_ID" val="diagram20194755_1*i*44"/>
  <p:tag name="KSO_WM_TEMPLATE_CATEGORY" val="diagram"/>
  <p:tag name="KSO_WM_TEMPLATE_INDEX" val="20194755"/>
  <p:tag name="KSO_WM_UNIT_LAYERLEVEL" val="1"/>
  <p:tag name="KSO_WM_TAG_VERSION" val="1.0"/>
  <p:tag name="KSO_WM_BEAUTIFY_FLAG" val="#wm#"/>
  <p:tag name="KSO_WM_UNIT_COLOR_SCHEME_SHAPE_ID" val="54"/>
  <p:tag name="KSO_WM_UNIT_COLOR_SCHEME_PARENT_PAGE" val="0_1"/>
  <p:tag name="KSO_WM_UNIT_DECOLORIZATION" val="1"/>
</p:tagLst>
</file>

<file path=ppt/tags/tag39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5"/>
  <p:tag name="KSO_WM_UNIT_ID" val="diagram20194755_1*i*45"/>
  <p:tag name="KSO_WM_TEMPLATE_CATEGORY" val="diagram"/>
  <p:tag name="KSO_WM_TEMPLATE_INDEX" val="20194755"/>
  <p:tag name="KSO_WM_UNIT_LAYERLEVEL" val="1"/>
  <p:tag name="KSO_WM_TAG_VERSION" val="1.0"/>
  <p:tag name="KSO_WM_BEAUTIFY_FLAG" val="#wm#"/>
  <p:tag name="KSO_WM_UNIT_COLOR_SCHEME_SHAPE_ID" val="55"/>
  <p:tag name="KSO_WM_UNIT_COLOR_SCHEME_PARENT_PAGE" val="0_1"/>
  <p:tag name="KSO_WM_UNIT_DECOLORIZATION" val="1"/>
</p:tagLst>
</file>

<file path=ppt/tags/tag39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6"/>
  <p:tag name="KSO_WM_UNIT_ID" val="diagram20194755_1*i*46"/>
  <p:tag name="KSO_WM_TEMPLATE_CATEGORY" val="diagram"/>
  <p:tag name="KSO_WM_TEMPLATE_INDEX" val="20194755"/>
  <p:tag name="KSO_WM_UNIT_LAYERLEVEL" val="1"/>
  <p:tag name="KSO_WM_TAG_VERSION" val="1.0"/>
  <p:tag name="KSO_WM_BEAUTIFY_FLAG" val="#wm#"/>
  <p:tag name="KSO_WM_UNIT_COLOR_SCHEME_SHAPE_ID" val="56"/>
  <p:tag name="KSO_WM_UNIT_COLOR_SCHEME_PARENT_PAGE" val="0_1"/>
  <p:tag name="KSO_WM_UNIT_DECOLORIZATION" val="1"/>
</p:tagLst>
</file>

<file path=ppt/tags/tag39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7"/>
  <p:tag name="KSO_WM_UNIT_ID" val="diagram20194755_1*i*47"/>
  <p:tag name="KSO_WM_TEMPLATE_CATEGORY" val="diagram"/>
  <p:tag name="KSO_WM_TEMPLATE_INDEX" val="20194755"/>
  <p:tag name="KSO_WM_UNIT_LAYERLEVEL" val="1"/>
  <p:tag name="KSO_WM_TAG_VERSION" val="1.0"/>
  <p:tag name="KSO_WM_BEAUTIFY_FLAG" val="#wm#"/>
  <p:tag name="KSO_WM_UNIT_COLOR_SCHEME_SHAPE_ID" val="57"/>
  <p:tag name="KSO_WM_UNIT_COLOR_SCHEME_PARENT_PAGE" val="0_1"/>
  <p:tag name="KSO_WM_UNIT_DECOLORIZATION" val="1"/>
</p:tagLst>
</file>

<file path=ppt/tags/tag39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8"/>
  <p:tag name="KSO_WM_UNIT_ID" val="diagram20194755_1*i*48"/>
  <p:tag name="KSO_WM_TEMPLATE_CATEGORY" val="diagram"/>
  <p:tag name="KSO_WM_TEMPLATE_INDEX" val="20194755"/>
  <p:tag name="KSO_WM_UNIT_LAYERLEVEL" val="1"/>
  <p:tag name="KSO_WM_TAG_VERSION" val="1.0"/>
  <p:tag name="KSO_WM_BEAUTIFY_FLAG" val="#wm#"/>
  <p:tag name="KSO_WM_UNIT_COLOR_SCHEME_SHAPE_ID" val="36"/>
  <p:tag name="KSO_WM_UNIT_COLOR_SCHEME_PARENT_PAGE" val="0_1"/>
  <p:tag name="KSO_WM_UNIT_DECOLORIZATION" val="1"/>
</p:tagLst>
</file>

<file path=ppt/tags/tag39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9"/>
  <p:tag name="KSO_WM_UNIT_ID" val="diagram20194755_1*i*49"/>
  <p:tag name="KSO_WM_TEMPLATE_CATEGORY" val="diagram"/>
  <p:tag name="KSO_WM_TEMPLATE_INDEX" val="20194755"/>
  <p:tag name="KSO_WM_UNIT_LAYERLEVEL" val="1"/>
  <p:tag name="KSO_WM_TAG_VERSION" val="1.0"/>
  <p:tag name="KSO_WM_BEAUTIFY_FLAG" val="#wm#"/>
  <p:tag name="KSO_WM_UNIT_COLOR_SCHEME_SHAPE_ID" val="37"/>
  <p:tag name="KSO_WM_UNIT_COLOR_SCHEME_PARENT_PAGE" val="0_1"/>
  <p:tag name="KSO_WM_UNIT_DECOLORIZATION" val="1"/>
</p:tagLst>
</file>

<file path=ppt/tags/tag39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0"/>
  <p:tag name="KSO_WM_UNIT_ID" val="diagram20194755_1*i*50"/>
  <p:tag name="KSO_WM_TEMPLATE_CATEGORY" val="diagram"/>
  <p:tag name="KSO_WM_TEMPLATE_INDEX" val="20194755"/>
  <p:tag name="KSO_WM_UNIT_LAYERLEVEL" val="1"/>
  <p:tag name="KSO_WM_TAG_VERSION" val="1.0"/>
  <p:tag name="KSO_WM_BEAUTIFY_FLAG" val="#wm#"/>
  <p:tag name="KSO_WM_UNIT_COLOR_SCHEME_SHAPE_ID" val="38"/>
  <p:tag name="KSO_WM_UNIT_COLOR_SCHEME_PARENT_PAGE" val="0_1"/>
  <p:tag name="KSO_WM_UNIT_DECOLORIZATION" val="1"/>
</p:tagLst>
</file>

<file path=ppt/tags/tag39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1"/>
  <p:tag name="KSO_WM_UNIT_ID" val="diagram20194755_1*i*51"/>
  <p:tag name="KSO_WM_TEMPLATE_CATEGORY" val="diagram"/>
  <p:tag name="KSO_WM_TEMPLATE_INDEX" val="20194755"/>
  <p:tag name="KSO_WM_UNIT_LAYERLEVEL" val="1"/>
  <p:tag name="KSO_WM_TAG_VERSION" val="1.0"/>
  <p:tag name="KSO_WM_BEAUTIFY_FLAG" val="#wm#"/>
  <p:tag name="KSO_WM_UNIT_COLOR_SCHEME_SHAPE_ID" val="39"/>
  <p:tag name="KSO_WM_UNIT_COLOR_SCHEME_PARENT_PAGE" val="0_1"/>
  <p:tag name="KSO_WM_UNIT_DECOLORIZATION" val="1"/>
</p:tagLst>
</file>

<file path=ppt/tags/tag39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2"/>
  <p:tag name="KSO_WM_UNIT_ID" val="diagram20194755_1*i*52"/>
  <p:tag name="KSO_WM_TEMPLATE_CATEGORY" val="diagram"/>
  <p:tag name="KSO_WM_TEMPLATE_INDEX" val="20194755"/>
  <p:tag name="KSO_WM_UNIT_LAYERLEVEL" val="1"/>
  <p:tag name="KSO_WM_TAG_VERSION" val="1.0"/>
  <p:tag name="KSO_WM_BEAUTIFY_FLAG" val="#wm#"/>
  <p:tag name="KSO_WM_UNIT_COLOR_SCHEME_SHAPE_ID" val="40"/>
  <p:tag name="KSO_WM_UNIT_COLOR_SCHEME_PARENT_PAGE" val="0_1"/>
  <p:tag name="KSO_WM_UNIT_DECOLORIZATION" val="1"/>
</p:tagLst>
</file>

<file path=ppt/tags/tag4.xml><?xml version="1.0" encoding="utf-8"?>
<p:tagLst xmlns:p="http://schemas.openxmlformats.org/presentationml/2006/main">
  <p:tag name="THINKCELLSHAPEDONOTDELETE" val="thinkcellActiveDocDoNotDelete"/>
</p:tagLst>
</file>

<file path=ppt/tags/tag4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7"/>
  <p:tag name="KSO_WM_TEMPLATE_CATEGORY" val="diagram"/>
  <p:tag name="KSO_WM_TEMPLATE_INDEX" val="20194848"/>
  <p:tag name="KSO_WM_UNIT_LAYERLEVEL" val="1"/>
  <p:tag name="KSO_WM_TAG_VERSION" val="1.0"/>
  <p:tag name="KSO_WM_BEAUTIFY_FLAG" val="#wm#"/>
  <p:tag name="KSO_WM_UNIT_TYPE" val="i"/>
  <p:tag name="KSO_WM_UNIT_INDEX" val="7"/>
</p:tagLst>
</file>

<file path=ppt/tags/tag40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3"/>
  <p:tag name="KSO_WM_UNIT_ID" val="diagram20194755_1*i*53"/>
  <p:tag name="KSO_WM_TEMPLATE_CATEGORY" val="diagram"/>
  <p:tag name="KSO_WM_TEMPLATE_INDEX" val="20194755"/>
  <p:tag name="KSO_WM_UNIT_LAYERLEVEL" val="1"/>
  <p:tag name="KSO_WM_TAG_VERSION" val="1.0"/>
  <p:tag name="KSO_WM_BEAUTIFY_FLAG" val="#wm#"/>
  <p:tag name="KSO_WM_UNIT_COLOR_SCHEME_SHAPE_ID" val="41"/>
  <p:tag name="KSO_WM_UNIT_COLOR_SCHEME_PARENT_PAGE" val="0_1"/>
  <p:tag name="KSO_WM_UNIT_DECOLORIZATION" val="1"/>
</p:tagLst>
</file>

<file path=ppt/tags/tag40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4"/>
  <p:tag name="KSO_WM_UNIT_ID" val="diagram20194755_1*i*54"/>
  <p:tag name="KSO_WM_TEMPLATE_CATEGORY" val="diagram"/>
  <p:tag name="KSO_WM_TEMPLATE_INDEX" val="20194755"/>
  <p:tag name="KSO_WM_UNIT_LAYERLEVEL" val="1"/>
  <p:tag name="KSO_WM_TAG_VERSION" val="1.0"/>
  <p:tag name="KSO_WM_BEAUTIFY_FLAG" val="#wm#"/>
  <p:tag name="KSO_WM_UNIT_COLOR_SCHEME_SHAPE_ID" val="42"/>
  <p:tag name="KSO_WM_UNIT_COLOR_SCHEME_PARENT_PAGE" val="0_1"/>
  <p:tag name="KSO_WM_UNIT_DECOLORIZATION" val="1"/>
</p:tagLst>
</file>

<file path=ppt/tags/tag40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5"/>
  <p:tag name="KSO_WM_UNIT_ID" val="diagram20194755_1*i*55"/>
  <p:tag name="KSO_WM_TEMPLATE_CATEGORY" val="diagram"/>
  <p:tag name="KSO_WM_TEMPLATE_INDEX" val="20194755"/>
  <p:tag name="KSO_WM_UNIT_LAYERLEVEL" val="1"/>
  <p:tag name="KSO_WM_TAG_VERSION" val="1.0"/>
  <p:tag name="KSO_WM_BEAUTIFY_FLAG" val="#wm#"/>
  <p:tag name="KSO_WM_UNIT_COLOR_SCHEME_SHAPE_ID" val="43"/>
  <p:tag name="KSO_WM_UNIT_COLOR_SCHEME_PARENT_PAGE" val="0_1"/>
  <p:tag name="KSO_WM_UNIT_DECOLORIZATION" val="1"/>
</p:tagLst>
</file>

<file path=ppt/tags/tag40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6"/>
  <p:tag name="KSO_WM_UNIT_ID" val="diagram20194755_1*i*56"/>
  <p:tag name="KSO_WM_TEMPLATE_CATEGORY" val="diagram"/>
  <p:tag name="KSO_WM_TEMPLATE_INDEX" val="20194755"/>
  <p:tag name="KSO_WM_UNIT_LAYERLEVEL" val="1"/>
  <p:tag name="KSO_WM_TAG_VERSION" val="1.0"/>
  <p:tag name="KSO_WM_BEAUTIFY_FLAG" val="#wm#"/>
  <p:tag name="KSO_WM_UNIT_COLOR_SCHEME_SHAPE_ID" val="44"/>
  <p:tag name="KSO_WM_UNIT_COLOR_SCHEME_PARENT_PAGE" val="0_1"/>
  <p:tag name="KSO_WM_UNIT_DECOLORIZATION" val="1"/>
</p:tagLst>
</file>

<file path=ppt/tags/tag40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7"/>
  <p:tag name="KSO_WM_UNIT_ID" val="diagram20194755_1*i*57"/>
  <p:tag name="KSO_WM_TEMPLATE_CATEGORY" val="diagram"/>
  <p:tag name="KSO_WM_TEMPLATE_INDEX" val="20194755"/>
  <p:tag name="KSO_WM_UNIT_LAYERLEVEL" val="1"/>
  <p:tag name="KSO_WM_TAG_VERSION" val="1.0"/>
  <p:tag name="KSO_WM_BEAUTIFY_FLAG" val="#wm#"/>
  <p:tag name="KSO_WM_UNIT_COLOR_SCHEME_SHAPE_ID" val="45"/>
  <p:tag name="KSO_WM_UNIT_COLOR_SCHEME_PARENT_PAGE" val="0_1"/>
  <p:tag name="KSO_WM_UNIT_DECOLORIZATION" val="1"/>
</p:tagLst>
</file>

<file path=ppt/tags/tag40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8"/>
  <p:tag name="KSO_WM_UNIT_ID" val="diagram20194755_1*i*58"/>
  <p:tag name="KSO_WM_TEMPLATE_CATEGORY" val="diagram"/>
  <p:tag name="KSO_WM_TEMPLATE_INDEX" val="20194755"/>
  <p:tag name="KSO_WM_UNIT_LAYERLEVEL" val="1"/>
  <p:tag name="KSO_WM_TAG_VERSION" val="1.0"/>
  <p:tag name="KSO_WM_BEAUTIFY_FLAG" val="#wm#"/>
  <p:tag name="KSO_WM_UNIT_COLOR_SCHEME_SHAPE_ID" val="46"/>
  <p:tag name="KSO_WM_UNIT_COLOR_SCHEME_PARENT_PAGE" val="0_1"/>
  <p:tag name="KSO_WM_UNIT_DECOLORIZATION" val="1"/>
</p:tagLst>
</file>

<file path=ppt/tags/tag40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9"/>
  <p:tag name="KSO_WM_UNIT_ID" val="diagram20194755_1*i*59"/>
  <p:tag name="KSO_WM_TEMPLATE_CATEGORY" val="diagram"/>
  <p:tag name="KSO_WM_TEMPLATE_INDEX" val="20194755"/>
  <p:tag name="KSO_WM_UNIT_LAYERLEVEL" val="1"/>
  <p:tag name="KSO_WM_TAG_VERSION" val="1.0"/>
  <p:tag name="KSO_WM_BEAUTIFY_FLAG" val="#wm#"/>
  <p:tag name="KSO_WM_UNIT_COLOR_SCHEME_SHAPE_ID" val="25"/>
  <p:tag name="KSO_WM_UNIT_COLOR_SCHEME_PARENT_PAGE" val="0_1"/>
  <p:tag name="KSO_WM_UNIT_DECOLORIZATION" val="1"/>
</p:tagLst>
</file>

<file path=ppt/tags/tag40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0"/>
  <p:tag name="KSO_WM_UNIT_ID" val="diagram20194755_1*i*60"/>
  <p:tag name="KSO_WM_TEMPLATE_CATEGORY" val="diagram"/>
  <p:tag name="KSO_WM_TEMPLATE_INDEX" val="20194755"/>
  <p:tag name="KSO_WM_UNIT_LAYERLEVEL" val="1"/>
  <p:tag name="KSO_WM_TAG_VERSION" val="1.0"/>
  <p:tag name="KSO_WM_BEAUTIFY_FLAG" val="#wm#"/>
  <p:tag name="KSO_WM_UNIT_COLOR_SCHEME_SHAPE_ID" val="26"/>
  <p:tag name="KSO_WM_UNIT_COLOR_SCHEME_PARENT_PAGE" val="0_1"/>
  <p:tag name="KSO_WM_UNIT_DECOLORIZATION" val="1"/>
</p:tagLst>
</file>

<file path=ppt/tags/tag40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1"/>
  <p:tag name="KSO_WM_UNIT_ID" val="diagram20194755_1*i*61"/>
  <p:tag name="KSO_WM_TEMPLATE_CATEGORY" val="diagram"/>
  <p:tag name="KSO_WM_TEMPLATE_INDEX" val="20194755"/>
  <p:tag name="KSO_WM_UNIT_LAYERLEVEL" val="1"/>
  <p:tag name="KSO_WM_TAG_VERSION" val="1.0"/>
  <p:tag name="KSO_WM_BEAUTIFY_FLAG" val="#wm#"/>
  <p:tag name="KSO_WM_UNIT_COLOR_SCHEME_SHAPE_ID" val="27"/>
  <p:tag name="KSO_WM_UNIT_COLOR_SCHEME_PARENT_PAGE" val="0_1"/>
  <p:tag name="KSO_WM_UNIT_DECOLORIZATION" val="1"/>
</p:tagLst>
</file>

<file path=ppt/tags/tag40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2"/>
  <p:tag name="KSO_WM_UNIT_ID" val="diagram20194755_1*i*62"/>
  <p:tag name="KSO_WM_TEMPLATE_CATEGORY" val="diagram"/>
  <p:tag name="KSO_WM_TEMPLATE_INDEX" val="20194755"/>
  <p:tag name="KSO_WM_UNIT_LAYERLEVEL" val="1"/>
  <p:tag name="KSO_WM_TAG_VERSION" val="1.0"/>
  <p:tag name="KSO_WM_BEAUTIFY_FLAG" val="#wm#"/>
  <p:tag name="KSO_WM_UNIT_COLOR_SCHEME_SHAPE_ID" val="28"/>
  <p:tag name="KSO_WM_UNIT_COLOR_SCHEME_PARENT_PAGE" val="0_1"/>
  <p:tag name="KSO_WM_UNIT_DECOLORIZATION" val="1"/>
</p:tagLst>
</file>

<file path=ppt/tags/tag4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8"/>
  <p:tag name="KSO_WM_TEMPLATE_CATEGORY" val="diagram"/>
  <p:tag name="KSO_WM_TEMPLATE_INDEX" val="20194848"/>
  <p:tag name="KSO_WM_UNIT_LAYERLEVEL" val="1"/>
  <p:tag name="KSO_WM_TAG_VERSION" val="1.0"/>
  <p:tag name="KSO_WM_BEAUTIFY_FLAG" val="#wm#"/>
  <p:tag name="KSO_WM_UNIT_TYPE" val="i"/>
  <p:tag name="KSO_WM_UNIT_INDEX" val="8"/>
</p:tagLst>
</file>

<file path=ppt/tags/tag41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3"/>
  <p:tag name="KSO_WM_UNIT_ID" val="diagram20194755_1*i*63"/>
  <p:tag name="KSO_WM_TEMPLATE_CATEGORY" val="diagram"/>
  <p:tag name="KSO_WM_TEMPLATE_INDEX" val="20194755"/>
  <p:tag name="KSO_WM_UNIT_LAYERLEVEL" val="1"/>
  <p:tag name="KSO_WM_TAG_VERSION" val="1.0"/>
  <p:tag name="KSO_WM_BEAUTIFY_FLAG" val="#wm#"/>
  <p:tag name="KSO_WM_UNIT_COLOR_SCHEME_SHAPE_ID" val="29"/>
  <p:tag name="KSO_WM_UNIT_COLOR_SCHEME_PARENT_PAGE" val="0_1"/>
  <p:tag name="KSO_WM_UNIT_DECOLORIZATION" val="1"/>
</p:tagLst>
</file>

<file path=ppt/tags/tag41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4"/>
  <p:tag name="KSO_WM_UNIT_ID" val="diagram20194755_1*i*64"/>
  <p:tag name="KSO_WM_TEMPLATE_CATEGORY" val="diagram"/>
  <p:tag name="KSO_WM_TEMPLATE_INDEX" val="20194755"/>
  <p:tag name="KSO_WM_UNIT_LAYERLEVEL" val="1"/>
  <p:tag name="KSO_WM_TAG_VERSION" val="1.0"/>
  <p:tag name="KSO_WM_BEAUTIFY_FLAG" val="#wm#"/>
  <p:tag name="KSO_WM_UNIT_COLOR_SCHEME_SHAPE_ID" val="30"/>
  <p:tag name="KSO_WM_UNIT_COLOR_SCHEME_PARENT_PAGE" val="0_1"/>
  <p:tag name="KSO_WM_UNIT_DECOLORIZATION" val="1"/>
</p:tagLst>
</file>

<file path=ppt/tags/tag41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5"/>
  <p:tag name="KSO_WM_UNIT_ID" val="diagram20194755_1*i*65"/>
  <p:tag name="KSO_WM_TEMPLATE_CATEGORY" val="diagram"/>
  <p:tag name="KSO_WM_TEMPLATE_INDEX" val="20194755"/>
  <p:tag name="KSO_WM_UNIT_LAYERLEVEL" val="1"/>
  <p:tag name="KSO_WM_TAG_VERSION" val="1.0"/>
  <p:tag name="KSO_WM_BEAUTIFY_FLAG" val="#wm#"/>
  <p:tag name="KSO_WM_UNIT_COLOR_SCHEME_SHAPE_ID" val="31"/>
  <p:tag name="KSO_WM_UNIT_COLOR_SCHEME_PARENT_PAGE" val="0_1"/>
  <p:tag name="KSO_WM_UNIT_DECOLORIZATION" val="1"/>
</p:tagLst>
</file>

<file path=ppt/tags/tag41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6"/>
  <p:tag name="KSO_WM_UNIT_ID" val="diagram20194755_1*i*66"/>
  <p:tag name="KSO_WM_TEMPLATE_CATEGORY" val="diagram"/>
  <p:tag name="KSO_WM_TEMPLATE_INDEX" val="20194755"/>
  <p:tag name="KSO_WM_UNIT_LAYERLEVEL" val="1"/>
  <p:tag name="KSO_WM_TAG_VERSION" val="1.0"/>
  <p:tag name="KSO_WM_BEAUTIFY_FLAG" val="#wm#"/>
  <p:tag name="KSO_WM_UNIT_COLOR_SCHEME_SHAPE_ID" val="32"/>
  <p:tag name="KSO_WM_UNIT_COLOR_SCHEME_PARENT_PAGE" val="0_1"/>
  <p:tag name="KSO_WM_UNIT_DECOLORIZATION" val="1"/>
</p:tagLst>
</file>

<file path=ppt/tags/tag41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7"/>
  <p:tag name="KSO_WM_UNIT_ID" val="diagram20194755_1*i*67"/>
  <p:tag name="KSO_WM_TEMPLATE_CATEGORY" val="diagram"/>
  <p:tag name="KSO_WM_TEMPLATE_INDEX" val="20194755"/>
  <p:tag name="KSO_WM_UNIT_LAYERLEVEL" val="1"/>
  <p:tag name="KSO_WM_TAG_VERSION" val="1.0"/>
  <p:tag name="KSO_WM_BEAUTIFY_FLAG" val="#wm#"/>
  <p:tag name="KSO_WM_UNIT_COLOR_SCHEME_SHAPE_ID" val="33"/>
  <p:tag name="KSO_WM_UNIT_COLOR_SCHEME_PARENT_PAGE" val="0_1"/>
  <p:tag name="KSO_WM_UNIT_DECOLORIZATION" val="1"/>
</p:tagLst>
</file>

<file path=ppt/tags/tag41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8"/>
  <p:tag name="KSO_WM_UNIT_ID" val="diagram20194755_1*i*68"/>
  <p:tag name="KSO_WM_TEMPLATE_CATEGORY" val="diagram"/>
  <p:tag name="KSO_WM_TEMPLATE_INDEX" val="20194755"/>
  <p:tag name="KSO_WM_UNIT_LAYERLEVEL" val="1"/>
  <p:tag name="KSO_WM_TAG_VERSION" val="1.0"/>
  <p:tag name="KSO_WM_BEAUTIFY_FLAG" val="#wm#"/>
  <p:tag name="KSO_WM_UNIT_COLOR_SCHEME_SHAPE_ID" val="34"/>
  <p:tag name="KSO_WM_UNIT_COLOR_SCHEME_PARENT_PAGE" val="0_1"/>
  <p:tag name="KSO_WM_UNIT_DECOLORIZATION" val="1"/>
</p:tagLst>
</file>

<file path=ppt/tags/tag41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9"/>
  <p:tag name="KSO_WM_UNIT_ID" val="diagram20194755_1*i*69"/>
  <p:tag name="KSO_WM_TEMPLATE_CATEGORY" val="diagram"/>
  <p:tag name="KSO_WM_TEMPLATE_INDEX" val="20194755"/>
  <p:tag name="KSO_WM_UNIT_LAYERLEVEL" val="1"/>
  <p:tag name="KSO_WM_TAG_VERSION" val="1.0"/>
  <p:tag name="KSO_WM_BEAUTIFY_FLAG" val="#wm#"/>
  <p:tag name="KSO_WM_UNIT_COLOR_SCHEME_SHAPE_ID" val="35"/>
  <p:tag name="KSO_WM_UNIT_COLOR_SCHEME_PARENT_PAGE" val="0_1"/>
  <p:tag name="KSO_WM_UNIT_DECOLORIZATION" val="1"/>
</p:tagLst>
</file>

<file path=ppt/tags/tag417.xml><?xml version="1.0" encoding="utf-8"?>
<p:tagLst xmlns:p="http://schemas.openxmlformats.org/presentationml/2006/main">
  <p:tag name="KSO_WM_UNIT_TEXT_PART_ID_V2" val="d-4-2"/>
  <p:tag name="KSO_WM_UNIT_PRESET_TEXT" val="单击此处添加小标题：&#13;点击此处添加正文，文字是您思想的提炼，为了最终演示发布的良好效果，请尽量言简意赅的阐述观点；根据需要可酌情增减文字，以便观者可以准确理解您所传达的信息。您的正文已经简明扼要，字字珠玑，但信息却千丝万缕、错综复杂，需要用更多的文字来表述；但请您尽可能提炼思想的精髓，恰如其分的表达观点，往往可以事半功倍。&#13;我们为您  标注了最  适合的位  置您输入  的文字到  这里时就  是最佳视&#13;为了能让  您有更直  观的字数  感受并进  一步方便    &#13;单击此处添加小标题：&#13;点击此处添加正文，文字是您思想的提炼，为了最终演示发布的良好效果，请尽量言简意赅。"/>
  <p:tag name="KSO_WM_UNIT_NOCLEAR" val="1"/>
  <p:tag name="KSO_WM_UNIT_VALUE" val="468"/>
  <p:tag name="KSO_WM_UNIT_HIGHLIGHT" val="0"/>
  <p:tag name="KSO_WM_UNIT_COMPATIBLE" val="0"/>
  <p:tag name="KSO_WM_UNIT_DIAGRAM_ISNUMVISUAL" val="0"/>
  <p:tag name="KSO_WM_UNIT_DIAGRAM_ISREFERUNIT" val="0"/>
  <p:tag name="KSO_WM_UNIT_TYPE" val="f"/>
  <p:tag name="KSO_WM_UNIT_INDEX" val="1"/>
  <p:tag name="KSO_WM_UNIT_ID" val="diagram20194755_1*f*1"/>
  <p:tag name="KSO_WM_TEMPLATE_CATEGORY" val="diagram"/>
  <p:tag name="KSO_WM_TEMPLATE_INDEX" val="20194755"/>
  <p:tag name="KSO_WM_UNIT_LAYERLEVEL" val="1"/>
  <p:tag name="KSO_WM_TAG_VERSION" val="1.0"/>
  <p:tag name="KSO_WM_BEAUTIFY_FLAG" val="#wm#"/>
  <p:tag name="KSO_WM_UNIT_COLOR_SCHEME_SHAPE_ID" val="2"/>
  <p:tag name="KSO_WM_UNIT_COLOR_SCHEME_PARENT_PAGE" val="0_1"/>
</p:tagLst>
</file>

<file path=ppt/tags/tag41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71"/>
  <p:tag name="KSO_WM_UNIT_ID" val="diagram20194755_1*i*71"/>
  <p:tag name="KSO_WM_TEMPLATE_CATEGORY" val="diagram"/>
  <p:tag name="KSO_WM_TEMPLATE_INDEX" val="20194755"/>
  <p:tag name="KSO_WM_UNIT_LAYERLEVEL" val="1"/>
  <p:tag name="KSO_WM_TAG_VERSION" val="1.0"/>
  <p:tag name="KSO_WM_BEAUTIFY_FLAG" val="#wm#"/>
  <p:tag name="KSO_WM_UNIT_COLOR_SCHEME_SHAPE_ID" val="14"/>
  <p:tag name="KSO_WM_UNIT_COLOR_SCHEME_PARENT_PAGE" val="0_1"/>
</p:tagLst>
</file>

<file path=ppt/tags/tag41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72"/>
  <p:tag name="KSO_WM_UNIT_ID" val="diagram20194755_1*i*72"/>
  <p:tag name="KSO_WM_TEMPLATE_CATEGORY" val="diagram"/>
  <p:tag name="KSO_WM_TEMPLATE_INDEX" val="20194755"/>
  <p:tag name="KSO_WM_UNIT_LAYERLEVEL" val="1"/>
  <p:tag name="KSO_WM_TAG_VERSION" val="1.0"/>
  <p:tag name="KSO_WM_BEAUTIFY_FLAG" val="#wm#"/>
  <p:tag name="KSO_WM_UNIT_COLOR_SCHEME_SHAPE_ID" val="15"/>
  <p:tag name="KSO_WM_UNIT_COLOR_SCHEME_PARENT_PAGE" val="0_1"/>
</p:tagLst>
</file>

<file path=ppt/tags/tag42.xml><?xml version="1.0" encoding="utf-8"?>
<p:tagLst xmlns:p="http://schemas.openxmlformats.org/presentationml/2006/main">
  <p:tag name="KSO_WM_SLIDE_ID" val="diagram20194848_1"/>
  <p:tag name="KSO_WM_TEMPLATE_SUBCATEGORY" val="0"/>
  <p:tag name="KSO_WM_SLIDE_TYPE" val="text"/>
  <p:tag name="KSO_WM_SLIDE_SUBTYPE" val="pureTxt"/>
  <p:tag name="KSO_WM_SLIDE_ITEM_CNT" val="0"/>
  <p:tag name="KSO_WM_SLIDE_INDEX" val="1"/>
  <p:tag name="KSO_WM_SLIDE_SIZE" val="960*540"/>
  <p:tag name="KSO_WM_SLIDE_POSITION" val="0*0"/>
  <p:tag name="KSO_WM_TAG_VERSION" val="1.0"/>
  <p:tag name="KSO_WM_BEAUTIFY_FLAG" val="#wm#"/>
  <p:tag name="KSO_WM_TEMPLATE_CATEGORY" val="diagram"/>
  <p:tag name="KSO_WM_TEMPLATE_INDEX" val="20194848"/>
  <p:tag name="KSO_WM_SLIDE_LAYOUT" val="a_f"/>
  <p:tag name="KSO_WM_SLIDE_LAYOUT_CNT" val="1_2"/>
</p:tagLst>
</file>

<file path=ppt/tags/tag42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73"/>
  <p:tag name="KSO_WM_UNIT_ID" val="diagram20194755_1*i*73"/>
  <p:tag name="KSO_WM_TEMPLATE_CATEGORY" val="diagram"/>
  <p:tag name="KSO_WM_TEMPLATE_INDEX" val="20194755"/>
  <p:tag name="KSO_WM_UNIT_LAYERLEVEL" val="1"/>
  <p:tag name="KSO_WM_TAG_VERSION" val="1.0"/>
  <p:tag name="KSO_WM_BEAUTIFY_FLAG" val="#wm#"/>
  <p:tag name="KSO_WM_UNIT_COLOR_SCHEME_SHAPE_ID" val="12"/>
  <p:tag name="KSO_WM_UNIT_COLOR_SCHEME_PARENT_PAGE" val="0_1"/>
</p:tagLst>
</file>

<file path=ppt/tags/tag42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74"/>
  <p:tag name="KSO_WM_UNIT_ID" val="diagram20194755_1*i*74"/>
  <p:tag name="KSO_WM_TEMPLATE_CATEGORY" val="diagram"/>
  <p:tag name="KSO_WM_TEMPLATE_INDEX" val="20194755"/>
  <p:tag name="KSO_WM_UNIT_LAYERLEVEL" val="1"/>
  <p:tag name="KSO_WM_TAG_VERSION" val="1.0"/>
  <p:tag name="KSO_WM_BEAUTIFY_FLAG" val="#wm#"/>
  <p:tag name="KSO_WM_UNIT_COLOR_SCHEME_SHAPE_ID" val="13"/>
  <p:tag name="KSO_WM_UNIT_COLOR_SCHEME_PARENT_PAGE" val="0_1"/>
</p:tagLst>
</file>

<file path=ppt/tags/tag422.xml><?xml version="1.0" encoding="utf-8"?>
<p:tagLst xmlns:p="http://schemas.openxmlformats.org/presentationml/2006/main">
  <p:tag name="KSO_WM_SLIDE_ID" val="diagram20194755_1"/>
  <p:tag name="KSO_WM_SLIDE_ITEM_CNT" val="0"/>
  <p:tag name="KSO_WM_SLIDE_INDEX" val="1"/>
  <p:tag name="KSO_WM_TAG_VERSION" val="1.0"/>
  <p:tag name="KSO_WM_BEAUTIFY_FLAG" val="#wm#"/>
  <p:tag name="KSO_WM_TEMPLATE_CATEGORY" val="diagram"/>
  <p:tag name="KSO_WM_TEMPLATE_INDEX" val="20194755"/>
  <p:tag name="KSO_WM_SLIDE_LAYOUT" val="a_f"/>
  <p:tag name="KSO_WM_SLIDE_LAYOUT_CNT" val="1_1"/>
  <p:tag name="KSO_WM_SLIDE_TYPE" val="text"/>
  <p:tag name="KSO_WM_SLIDE_SUBTYPE" val="pureTxt"/>
  <p:tag name="KSO_WM_SLIDE_SIZE" val="928*474"/>
  <p:tag name="KSO_WM_SLIDE_POSITION" val="26*50"/>
  <p:tag name="KSO_WM_SLIDE_COLORSCHEME_VERSION" val="3.2"/>
</p:tagLst>
</file>

<file path=ppt/tags/tag42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
  <p:tag name="KSO_WM_UNIT_ID" val="diagram20194720_1*i*1"/>
  <p:tag name="KSO_WM_TEMPLATE_CATEGORY" val="diagram"/>
  <p:tag name="KSO_WM_TEMPLATE_INDEX" val="20194720"/>
  <p:tag name="KSO_WM_UNIT_LAYERLEVEL" val="1"/>
  <p:tag name="KSO_WM_TAG_VERSION" val="1.0"/>
  <p:tag name="KSO_WM_BEAUTIFY_FLAG" val="#wm#"/>
  <p:tag name="KSO_WM_UNIT_COLOR_SCHEME_SHAPE_ID" val="5"/>
  <p:tag name="KSO_WM_UNIT_COLOR_SCHEME_PARENT_PAGE" val="0_1"/>
  <p:tag name="KSO_WM_UNIT_DECOLORIZATION" val="1"/>
</p:tagLst>
</file>

<file path=ppt/tags/tag42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
  <p:tag name="KSO_WM_UNIT_ID" val="diagram20194720_1*i*2"/>
  <p:tag name="KSO_WM_TEMPLATE_CATEGORY" val="diagram"/>
  <p:tag name="KSO_WM_TEMPLATE_INDEX" val="20194720"/>
  <p:tag name="KSO_WM_UNIT_LAYERLEVEL" val="1"/>
  <p:tag name="KSO_WM_TAG_VERSION" val="1.0"/>
  <p:tag name="KSO_WM_BEAUTIFY_FLAG" val="#wm#"/>
  <p:tag name="KSO_WM_UNIT_COLOR_SCHEME_SHAPE_ID" val="6"/>
  <p:tag name="KSO_WM_UNIT_COLOR_SCHEME_PARENT_PAGE" val="0_1"/>
</p:tagLst>
</file>

<file path=ppt/tags/tag42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
  <p:tag name="KSO_WM_UNIT_ID" val="diagram20194720_1*i*3"/>
  <p:tag name="KSO_WM_TEMPLATE_CATEGORY" val="diagram"/>
  <p:tag name="KSO_WM_TEMPLATE_INDEX" val="20194720"/>
  <p:tag name="KSO_WM_UNIT_LAYERLEVEL" val="1"/>
  <p:tag name="KSO_WM_TAG_VERSION" val="1.0"/>
  <p:tag name="KSO_WM_BEAUTIFY_FLAG" val="#wm#"/>
  <p:tag name="KSO_WM_UNIT_COLOR_SCHEME_SHAPE_ID" val="7"/>
  <p:tag name="KSO_WM_UNIT_COLOR_SCHEME_PARENT_PAGE" val="0_1"/>
  <p:tag name="KSO_WM_UNIT_FOIL_COLOR" val="1"/>
</p:tagLst>
</file>

<file path=ppt/tags/tag42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
  <p:tag name="KSO_WM_UNIT_ID" val="diagram20194720_1*i*4"/>
  <p:tag name="KSO_WM_TEMPLATE_CATEGORY" val="diagram"/>
  <p:tag name="KSO_WM_TEMPLATE_INDEX" val="20194720"/>
  <p:tag name="KSO_WM_UNIT_LAYERLEVEL" val="1"/>
  <p:tag name="KSO_WM_TAG_VERSION" val="1.0"/>
  <p:tag name="KSO_WM_BEAUTIFY_FLAG" val="#wm#"/>
  <p:tag name="KSO_WM_UNIT_COLOR_SCHEME_SHAPE_ID" val="8"/>
  <p:tag name="KSO_WM_UNIT_COLOR_SCHEME_PARENT_PAGE" val="0_1"/>
</p:tagLst>
</file>

<file path=ppt/tags/tag427.xml><?xml version="1.0" encoding="utf-8"?>
<p:tagLst xmlns:p="http://schemas.openxmlformats.org/presentationml/2006/main">
  <p:tag name="KSO_WM_UNIT_TEXT_PART_ID_V2" val="d-2-2"/>
  <p:tag name="KSO_WM_UNIT_PRESET_TEXT" val="单击此处添加小标题:&#13;点击此处添加正文文字是您思想的提炼。&#13;为了最终呈现发布的良好效果，请言简意赅的阐述您的观点，并根据需要酌情增减文字即便信息复杂，需要用更多的文字来表。&#13;述请您尽可能提炼思想的精髓。&#13;恰如其分的表达观点，往往事半功倍。"/>
  <p:tag name="KSO_WM_UNIT_NOCLEAR" val="1"/>
  <p:tag name="KSO_WM_UNIT_VALUE" val="182"/>
  <p:tag name="KSO_WM_UNIT_HIGHLIGHT" val="0"/>
  <p:tag name="KSO_WM_UNIT_COMPATIBLE" val="0"/>
  <p:tag name="KSO_WM_UNIT_DIAGRAM_ISNUMVISUAL" val="0"/>
  <p:tag name="KSO_WM_UNIT_DIAGRAM_ISREFERUNIT" val="0"/>
  <p:tag name="KSO_WM_UNIT_TYPE" val="f"/>
  <p:tag name="KSO_WM_UNIT_INDEX" val="1"/>
  <p:tag name="KSO_WM_UNIT_ID" val="diagram20194720_1*f*1"/>
  <p:tag name="KSO_WM_TEMPLATE_CATEGORY" val="diagram"/>
  <p:tag name="KSO_WM_TEMPLATE_INDEX" val="20194720"/>
  <p:tag name="KSO_WM_UNIT_LAYERLEVEL" val="1"/>
  <p:tag name="KSO_WM_TAG_VERSION" val="1.0"/>
  <p:tag name="KSO_WM_BEAUTIFY_FLAG" val="#wm#"/>
  <p:tag name="KSO_WM_UNIT_COLOR_SCHEME_SHAPE_ID" val="3"/>
  <p:tag name="KSO_WM_UNIT_COLOR_SCHEME_PARENT_PAGE" val="0_1"/>
</p:tagLst>
</file>

<file path=ppt/tags/tag428.xml><?xml version="1.0" encoding="utf-8"?>
<p:tagLst xmlns:p="http://schemas.openxmlformats.org/presentationml/2006/main">
  <p:tag name="KSO_WM_UNIT_TEXT_PART_ID_V2" val="a-3-2"/>
  <p:tag name="KSO_WM_UNIT_ISCONTENTSTITLE" val="0"/>
  <p:tag name="KSO_WM_UNIT_PRESET_TEXT" val="单击添加大标题"/>
  <p:tag name="KSO_WM_UNIT_NOCLEAR" val="0"/>
  <p:tag name="KSO_WM_UNIT_VALUE" val="17"/>
  <p:tag name="KSO_WM_UNIT_HIGHLIGHT" val="0"/>
  <p:tag name="KSO_WM_UNIT_COMPATIBLE" val="0"/>
  <p:tag name="KSO_WM_UNIT_DIAGRAM_ISNUMVISUAL" val="0"/>
  <p:tag name="KSO_WM_UNIT_DIAGRAM_ISREFERUNIT" val="0"/>
  <p:tag name="KSO_WM_UNIT_TYPE" val="a"/>
  <p:tag name="KSO_WM_UNIT_INDEX" val="1"/>
  <p:tag name="KSO_WM_UNIT_ID" val="diagram20194720_1*a*1"/>
  <p:tag name="KSO_WM_TEMPLATE_CATEGORY" val="diagram"/>
  <p:tag name="KSO_WM_TEMPLATE_INDEX" val="20194720"/>
  <p:tag name="KSO_WM_UNIT_LAYERLEVEL" val="1"/>
  <p:tag name="KSO_WM_TAG_VERSION" val="1.0"/>
  <p:tag name="KSO_WM_BEAUTIFY_FLAG" val="#wm#"/>
  <p:tag name="KSO_WM_UNIT_COLOR_SCHEME_SHAPE_ID" val="10"/>
  <p:tag name="KSO_WM_UNIT_COLOR_SCHEME_PARENT_PAGE" val="0_1"/>
</p:tagLst>
</file>

<file path=ppt/tags/tag429.xml><?xml version="1.0" encoding="utf-8"?>
<p:tagLst xmlns:p="http://schemas.openxmlformats.org/presentationml/2006/main">
  <p:tag name="KSO_WM_SLIDE_ID" val="diagram20194720_1"/>
  <p:tag name="KSO_WM_SLIDE_ITEM_CNT" val="0"/>
  <p:tag name="KSO_WM_SLIDE_INDEX" val="1"/>
  <p:tag name="KSO_WM_TAG_VERSION" val="1.0"/>
  <p:tag name="KSO_WM_BEAUTIFY_FLAG" val="#wm#"/>
  <p:tag name="KSO_WM_TEMPLATE_CATEGORY" val="diagram"/>
  <p:tag name="KSO_WM_TEMPLATE_INDEX" val="20194720"/>
  <p:tag name="KSO_WM_SLIDE_LAYOUT" val="a_f"/>
  <p:tag name="KSO_WM_SLIDE_LAYOUT_CNT" val="1_1"/>
  <p:tag name="KSO_WM_SLIDE_TYPE" val="text"/>
  <p:tag name="KSO_WM_SLIDE_SUBTYPE" val="pureTxt"/>
  <p:tag name="KSO_WM_SLIDE_SIZE" val="817*432"/>
  <p:tag name="KSO_WM_SLIDE_POSITION" val="45*54"/>
  <p:tag name="KSO_WM_SLIDE_COLORSCHEME_VERSION" val="3.2"/>
  <p:tag name="KSO_WM_TEMPLATE_SUBCATEGORY" val="0"/>
</p:tagLst>
</file>

<file path=ppt/tags/tag4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
  <p:tag name="KSO_WM_UNIT_ID" val="diagram20194644_1*i*1"/>
  <p:tag name="KSO_WM_TEMPLATE_CATEGORY" val="diagram"/>
  <p:tag name="KSO_WM_TEMPLATE_INDEX" val="20194644"/>
  <p:tag name="KSO_WM_UNIT_LAYERLEVEL" val="1"/>
  <p:tag name="KSO_WM_TAG_VERSION" val="1.0"/>
  <p:tag name="KSO_WM_BEAUTIFY_FLAG" val="#wm#"/>
  <p:tag name="KSO_WM_UNIT_COLOR_SCHEME_SHAPE_ID" val="9"/>
  <p:tag name="KSO_WM_UNIT_COLOR_SCHEME_PARENT_PAGE" val="0_1"/>
</p:tagLst>
</file>

<file path=ppt/tags/tag430.xml><?xml version="1.0" encoding="utf-8"?>
<p:tagLst xmlns:p="http://schemas.openxmlformats.org/presentationml/2006/main">
  <p:tag name="KSO_WM_UNIT_LARGE_SHAPE" val="1"/>
  <p:tag name="KSO_WM_UNIT_HIGHLIGHT" val="0"/>
  <p:tag name="KSO_WM_UNIT_COMPATIBLE" val="0"/>
  <p:tag name="KSO_WM_UNIT_DIAGRAM_ISNUMVISUAL" val="0"/>
  <p:tag name="KSO_WM_UNIT_DIAGRAM_ISREFERUNIT" val="0"/>
  <p:tag name="KSO_WM_UNIT_ID" val="diagram20194848_1*i*1"/>
  <p:tag name="KSO_WM_TEMPLATE_CATEGORY" val="diagram"/>
  <p:tag name="KSO_WM_TEMPLATE_INDEX" val="20194848"/>
  <p:tag name="KSO_WM_UNIT_LAYERLEVEL" val="1"/>
  <p:tag name="KSO_WM_TAG_VERSION" val="1.0"/>
  <p:tag name="KSO_WM_BEAUTIFY_FLAG" val="#wm#"/>
  <p:tag name="KSO_WM_UNIT_TYPE" val="i"/>
  <p:tag name="KSO_WM_UNIT_INDEX" val="1"/>
</p:tagLst>
</file>

<file path=ppt/tags/tag43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2"/>
  <p:tag name="KSO_WM_TEMPLATE_CATEGORY" val="diagram"/>
  <p:tag name="KSO_WM_TEMPLATE_INDEX" val="20194848"/>
  <p:tag name="KSO_WM_UNIT_LAYERLEVEL" val="1"/>
  <p:tag name="KSO_WM_TAG_VERSION" val="1.0"/>
  <p:tag name="KSO_WM_BEAUTIFY_FLAG" val="#wm#"/>
  <p:tag name="KSO_WM_UNIT_TYPE" val="i"/>
  <p:tag name="KSO_WM_UNIT_INDEX" val="2"/>
</p:tagLst>
</file>

<file path=ppt/tags/tag43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3"/>
  <p:tag name="KSO_WM_TEMPLATE_CATEGORY" val="diagram"/>
  <p:tag name="KSO_WM_TEMPLATE_INDEX" val="20194848"/>
  <p:tag name="KSO_WM_UNIT_LAYERLEVEL" val="1"/>
  <p:tag name="KSO_WM_TAG_VERSION" val="1.0"/>
  <p:tag name="KSO_WM_BEAUTIFY_FLAG" val="#wm#"/>
  <p:tag name="KSO_WM_UNIT_TYPE" val="i"/>
  <p:tag name="KSO_WM_UNIT_INDEX" val="3"/>
</p:tagLst>
</file>

<file path=ppt/tags/tag43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4"/>
  <p:tag name="KSO_WM_TEMPLATE_CATEGORY" val="diagram"/>
  <p:tag name="KSO_WM_TEMPLATE_INDEX" val="20194848"/>
  <p:tag name="KSO_WM_UNIT_LAYERLEVEL" val="1"/>
  <p:tag name="KSO_WM_TAG_VERSION" val="1.0"/>
  <p:tag name="KSO_WM_BEAUTIFY_FLAG" val="#wm#"/>
  <p:tag name="KSO_WM_UNIT_TYPE" val="i"/>
  <p:tag name="KSO_WM_UNIT_INDEX" val="4"/>
</p:tagLst>
</file>

<file path=ppt/tags/tag434.xml><?xml version="1.0" encoding="utf-8"?>
<p:tagLst xmlns:p="http://schemas.openxmlformats.org/presentationml/2006/main">
  <p:tag name="KSO_WM_UNIT_ISCONTENTSTITLE" val="0"/>
  <p:tag name="KSO_WM_UNIT_PRESET_TEXT" val="此处可添加您的大标题内容"/>
  <p:tag name="KSO_WM_UNIT_TEXT_PART_ID" val="2-X"/>
  <p:tag name="KSO_WM_UNIT_TEXT_PART_SIZE" val="49.2*559"/>
  <p:tag name="KSO_WM_UNIT_VALUE" val="26"/>
  <p:tag name="KSO_WM_UNIT_HIGHLIGHT" val="0"/>
  <p:tag name="KSO_WM_UNIT_COMPATIBLE" val="0"/>
  <p:tag name="KSO_WM_UNIT_DIAGRAM_ISNUMVISUAL" val="0"/>
  <p:tag name="KSO_WM_UNIT_DIAGRAM_ISREFERUNIT" val="0"/>
  <p:tag name="KSO_WM_UNIT_TYPE" val="a"/>
  <p:tag name="KSO_WM_UNIT_INDEX" val="1"/>
  <p:tag name="KSO_WM_UNIT_ID" val="diagram20194848_1*a*1"/>
  <p:tag name="KSO_WM_TEMPLATE_CATEGORY" val="diagram"/>
  <p:tag name="KSO_WM_TEMPLATE_INDEX" val="20194848"/>
  <p:tag name="KSO_WM_UNIT_LAYERLEVEL" val="1"/>
  <p:tag name="KSO_WM_TAG_VERSION" val="1.0"/>
  <p:tag name="KSO_WM_BEAUTIFY_FLAG" val="#wm#"/>
  <p:tag name="KSO_WM_UNIT_NOCLEAR" val="0"/>
  <p:tag name="KSO_WM_UNIT_TEXT_PART_ID_V2" val="a-3-1"/>
</p:tagLst>
</file>

<file path=ppt/tags/tag43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5"/>
  <p:tag name="KSO_WM_TEMPLATE_CATEGORY" val="diagram"/>
  <p:tag name="KSO_WM_TEMPLATE_INDEX" val="20194848"/>
  <p:tag name="KSO_WM_UNIT_LAYERLEVEL" val="1"/>
  <p:tag name="KSO_WM_TAG_VERSION" val="1.0"/>
  <p:tag name="KSO_WM_BEAUTIFY_FLAG" val="#wm#"/>
  <p:tag name="KSO_WM_UNIT_TYPE" val="i"/>
  <p:tag name="KSO_WM_UNIT_INDEX" val="5"/>
</p:tagLst>
</file>

<file path=ppt/tags/tag43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7"/>
  <p:tag name="KSO_WM_TEMPLATE_CATEGORY" val="diagram"/>
  <p:tag name="KSO_WM_TEMPLATE_INDEX" val="20194848"/>
  <p:tag name="KSO_WM_UNIT_LAYERLEVEL" val="1"/>
  <p:tag name="KSO_WM_TAG_VERSION" val="1.0"/>
  <p:tag name="KSO_WM_BEAUTIFY_FLAG" val="#wm#"/>
  <p:tag name="KSO_WM_UNIT_TYPE" val="i"/>
  <p:tag name="KSO_WM_UNIT_INDEX" val="7"/>
</p:tagLst>
</file>

<file path=ppt/tags/tag43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8"/>
  <p:tag name="KSO_WM_TEMPLATE_CATEGORY" val="diagram"/>
  <p:tag name="KSO_WM_TEMPLATE_INDEX" val="20194848"/>
  <p:tag name="KSO_WM_UNIT_LAYERLEVEL" val="1"/>
  <p:tag name="KSO_WM_TAG_VERSION" val="1.0"/>
  <p:tag name="KSO_WM_BEAUTIFY_FLAG" val="#wm#"/>
  <p:tag name="KSO_WM_UNIT_TYPE" val="i"/>
  <p:tag name="KSO_WM_UNIT_INDEX" val="8"/>
</p:tagLst>
</file>

<file path=ppt/tags/tag438.xml><?xml version="1.0" encoding="utf-8"?>
<p:tagLst xmlns:p="http://schemas.openxmlformats.org/presentationml/2006/main">
  <p:tag name="KSO_WM_UNIT_TEXT_PART_ID_V2" val="d-2-2"/>
  <p:tag name="KSO_WM_UNIT_PRESET_TEXT" val="单击添加小标题：&#13;点击此处添加正文，文字是您思想的提炼。&#13;请言简意赅的阐述观点,根据需要增减文字。&#13;以便观者可以准确理解您所传达的完整信息。&#13;以便观者可以准确理解您所传达的完整信息。&#13;您的正文已经字字珠玑，但信息却错综复杂。&#13;需要用更多的文字来表述,请您尽可能提炼。&#13;否则容易造成观者的阅读压力，适得其反。"/>
  <p:tag name="KSO_WM_UNIT_NOCLEAR" val="1"/>
  <p:tag name="KSO_WM_UNIT_VALUE" val="234"/>
  <p:tag name="KSO_WM_UNIT_HIGHLIGHT" val="0"/>
  <p:tag name="KSO_WM_UNIT_COMPATIBLE" val="0"/>
  <p:tag name="KSO_WM_UNIT_DIAGRAM_ISNUMVISUAL" val="0"/>
  <p:tag name="KSO_WM_UNIT_DIAGRAM_ISREFERUNIT" val="0"/>
  <p:tag name="KSO_WM_UNIT_TYPE" val="f"/>
  <p:tag name="KSO_WM_UNIT_INDEX" val="1"/>
  <p:tag name="KSO_WM_UNIT_ID" val="diagram20194715_1*f*1"/>
  <p:tag name="KSO_WM_TEMPLATE_CATEGORY" val="diagram"/>
  <p:tag name="KSO_WM_TEMPLATE_INDEX" val="20194715"/>
  <p:tag name="KSO_WM_UNIT_LAYERLEVEL" val="1"/>
  <p:tag name="KSO_WM_TAG_VERSION" val="1.0"/>
  <p:tag name="KSO_WM_BEAUTIFY_FLAG" val="#wm#"/>
  <p:tag name="KSO_WM_UNIT_COLOR_SCHEME_SHAPE_ID" val="5"/>
  <p:tag name="KSO_WM_UNIT_COLOR_SCHEME_PARENT_PAGE" val="0_1"/>
</p:tagLst>
</file>

<file path=ppt/tags/tag439.xml><?xml version="1.0" encoding="utf-8"?>
<p:tagLst xmlns:p="http://schemas.openxmlformats.org/presentationml/2006/main">
  <p:tag name="KSO_WM_SLIDE_ID" val="diagram20194848_1"/>
  <p:tag name="KSO_WM_TEMPLATE_SUBCATEGORY" val="0"/>
  <p:tag name="KSO_WM_SLIDE_TYPE" val="text"/>
  <p:tag name="KSO_WM_SLIDE_SUBTYPE" val="pureTxt"/>
  <p:tag name="KSO_WM_SLIDE_ITEM_CNT" val="0"/>
  <p:tag name="KSO_WM_SLIDE_INDEX" val="1"/>
  <p:tag name="KSO_WM_SLIDE_SIZE" val="960*540"/>
  <p:tag name="KSO_WM_SLIDE_POSITION" val="0*0"/>
  <p:tag name="KSO_WM_TAG_VERSION" val="1.0"/>
  <p:tag name="KSO_WM_BEAUTIFY_FLAG" val="#wm#"/>
  <p:tag name="KSO_WM_TEMPLATE_CATEGORY" val="diagram"/>
  <p:tag name="KSO_WM_TEMPLATE_INDEX" val="20194848"/>
  <p:tag name="KSO_WM_SLIDE_LAYOUT" val="a_f"/>
  <p:tag name="KSO_WM_SLIDE_LAYOUT_CNT" val="1_2"/>
</p:tagLst>
</file>

<file path=ppt/tags/tag4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
  <p:tag name="KSO_WM_UNIT_ID" val="diagram20194644_1*i*2"/>
  <p:tag name="KSO_WM_TEMPLATE_CATEGORY" val="diagram"/>
  <p:tag name="KSO_WM_TEMPLATE_INDEX" val="20194644"/>
  <p:tag name="KSO_WM_UNIT_LAYERLEVEL" val="1"/>
  <p:tag name="KSO_WM_TAG_VERSION" val="1.0"/>
  <p:tag name="KSO_WM_BEAUTIFY_FLAG" val="#wm#"/>
  <p:tag name="KSO_WM_UNIT_COLOR_SCHEME_SHAPE_ID" val="17"/>
  <p:tag name="KSO_WM_UNIT_COLOR_SCHEME_PARENT_PAGE" val="0_1"/>
  <p:tag name="KSO_WM_UNIT_FOIL_COLOR" val="1"/>
</p:tagLst>
</file>

<file path=ppt/tags/tag44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
  <p:tag name="KSO_WM_UNIT_ID" val="diagram20194720_1*i*1"/>
  <p:tag name="KSO_WM_TEMPLATE_CATEGORY" val="diagram"/>
  <p:tag name="KSO_WM_TEMPLATE_INDEX" val="20194720"/>
  <p:tag name="KSO_WM_UNIT_LAYERLEVEL" val="1"/>
  <p:tag name="KSO_WM_TAG_VERSION" val="1.0"/>
  <p:tag name="KSO_WM_BEAUTIFY_FLAG" val="#wm#"/>
  <p:tag name="KSO_WM_UNIT_COLOR_SCHEME_SHAPE_ID" val="5"/>
  <p:tag name="KSO_WM_UNIT_COLOR_SCHEME_PARENT_PAGE" val="0_1"/>
  <p:tag name="KSO_WM_UNIT_DECOLORIZATION" val="1"/>
</p:tagLst>
</file>

<file path=ppt/tags/tag44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
  <p:tag name="KSO_WM_UNIT_ID" val="diagram20194720_1*i*2"/>
  <p:tag name="KSO_WM_TEMPLATE_CATEGORY" val="diagram"/>
  <p:tag name="KSO_WM_TEMPLATE_INDEX" val="20194720"/>
  <p:tag name="KSO_WM_UNIT_LAYERLEVEL" val="1"/>
  <p:tag name="KSO_WM_TAG_VERSION" val="1.0"/>
  <p:tag name="KSO_WM_BEAUTIFY_FLAG" val="#wm#"/>
  <p:tag name="KSO_WM_UNIT_COLOR_SCHEME_SHAPE_ID" val="6"/>
  <p:tag name="KSO_WM_UNIT_COLOR_SCHEME_PARENT_PAGE" val="0_1"/>
</p:tagLst>
</file>

<file path=ppt/tags/tag44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
  <p:tag name="KSO_WM_UNIT_ID" val="diagram20194720_1*i*3"/>
  <p:tag name="KSO_WM_TEMPLATE_CATEGORY" val="diagram"/>
  <p:tag name="KSO_WM_TEMPLATE_INDEX" val="20194720"/>
  <p:tag name="KSO_WM_UNIT_LAYERLEVEL" val="1"/>
  <p:tag name="KSO_WM_TAG_VERSION" val="1.0"/>
  <p:tag name="KSO_WM_BEAUTIFY_FLAG" val="#wm#"/>
  <p:tag name="KSO_WM_UNIT_COLOR_SCHEME_SHAPE_ID" val="7"/>
  <p:tag name="KSO_WM_UNIT_COLOR_SCHEME_PARENT_PAGE" val="0_1"/>
  <p:tag name="KSO_WM_UNIT_FOIL_COLOR" val="1"/>
</p:tagLst>
</file>

<file path=ppt/tags/tag44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
  <p:tag name="KSO_WM_UNIT_ID" val="diagram20194720_1*i*4"/>
  <p:tag name="KSO_WM_TEMPLATE_CATEGORY" val="diagram"/>
  <p:tag name="KSO_WM_TEMPLATE_INDEX" val="20194720"/>
  <p:tag name="KSO_WM_UNIT_LAYERLEVEL" val="1"/>
  <p:tag name="KSO_WM_TAG_VERSION" val="1.0"/>
  <p:tag name="KSO_WM_BEAUTIFY_FLAG" val="#wm#"/>
  <p:tag name="KSO_WM_UNIT_COLOR_SCHEME_SHAPE_ID" val="8"/>
  <p:tag name="KSO_WM_UNIT_COLOR_SCHEME_PARENT_PAGE" val="0_1"/>
</p:tagLst>
</file>

<file path=ppt/tags/tag444.xml><?xml version="1.0" encoding="utf-8"?>
<p:tagLst xmlns:p="http://schemas.openxmlformats.org/presentationml/2006/main">
  <p:tag name="KSO_WM_UNIT_TEXT_PART_ID_V2" val="d-2-2"/>
  <p:tag name="KSO_WM_UNIT_PRESET_TEXT" val="单击此处添加小标题:&#13;点击此处添加正文文字是您思想的提炼。&#13;为了最终呈现发布的良好效果，请言简意赅的阐述您的观点，并根据需要酌情增减文字即便信息复杂，需要用更多的文字来表。&#13;述请您尽可能提炼思想的精髓。&#13;恰如其分的表达观点，往往事半功倍。"/>
  <p:tag name="KSO_WM_UNIT_NOCLEAR" val="1"/>
  <p:tag name="KSO_WM_UNIT_VALUE" val="182"/>
  <p:tag name="KSO_WM_UNIT_HIGHLIGHT" val="0"/>
  <p:tag name="KSO_WM_UNIT_COMPATIBLE" val="0"/>
  <p:tag name="KSO_WM_UNIT_DIAGRAM_ISNUMVISUAL" val="0"/>
  <p:tag name="KSO_WM_UNIT_DIAGRAM_ISREFERUNIT" val="0"/>
  <p:tag name="KSO_WM_UNIT_TYPE" val="f"/>
  <p:tag name="KSO_WM_UNIT_INDEX" val="1"/>
  <p:tag name="KSO_WM_UNIT_ID" val="diagram20194720_1*f*1"/>
  <p:tag name="KSO_WM_TEMPLATE_CATEGORY" val="diagram"/>
  <p:tag name="KSO_WM_TEMPLATE_INDEX" val="20194720"/>
  <p:tag name="KSO_WM_UNIT_LAYERLEVEL" val="1"/>
  <p:tag name="KSO_WM_TAG_VERSION" val="1.0"/>
  <p:tag name="KSO_WM_BEAUTIFY_FLAG" val="#wm#"/>
  <p:tag name="KSO_WM_UNIT_COLOR_SCHEME_SHAPE_ID" val="3"/>
  <p:tag name="KSO_WM_UNIT_COLOR_SCHEME_PARENT_PAGE" val="0_1"/>
</p:tagLst>
</file>

<file path=ppt/tags/tag445.xml><?xml version="1.0" encoding="utf-8"?>
<p:tagLst xmlns:p="http://schemas.openxmlformats.org/presentationml/2006/main">
  <p:tag name="KSO_WM_UNIT_TEXT_PART_ID_V2" val="a-3-2"/>
  <p:tag name="KSO_WM_UNIT_ISCONTENTSTITLE" val="0"/>
  <p:tag name="KSO_WM_UNIT_PRESET_TEXT" val="单击添加大标题"/>
  <p:tag name="KSO_WM_UNIT_NOCLEAR" val="0"/>
  <p:tag name="KSO_WM_UNIT_VALUE" val="17"/>
  <p:tag name="KSO_WM_UNIT_HIGHLIGHT" val="0"/>
  <p:tag name="KSO_WM_UNIT_COMPATIBLE" val="0"/>
  <p:tag name="KSO_WM_UNIT_DIAGRAM_ISNUMVISUAL" val="0"/>
  <p:tag name="KSO_WM_UNIT_DIAGRAM_ISREFERUNIT" val="0"/>
  <p:tag name="KSO_WM_UNIT_TYPE" val="a"/>
  <p:tag name="KSO_WM_UNIT_INDEX" val="1"/>
  <p:tag name="KSO_WM_UNIT_ID" val="diagram20194720_1*a*1"/>
  <p:tag name="KSO_WM_TEMPLATE_CATEGORY" val="diagram"/>
  <p:tag name="KSO_WM_TEMPLATE_INDEX" val="20194720"/>
  <p:tag name="KSO_WM_UNIT_LAYERLEVEL" val="1"/>
  <p:tag name="KSO_WM_TAG_VERSION" val="1.0"/>
  <p:tag name="KSO_WM_BEAUTIFY_FLAG" val="#wm#"/>
  <p:tag name="KSO_WM_UNIT_COLOR_SCHEME_SHAPE_ID" val="10"/>
  <p:tag name="KSO_WM_UNIT_COLOR_SCHEME_PARENT_PAGE" val="0_1"/>
</p:tagLst>
</file>

<file path=ppt/tags/tag446.xml><?xml version="1.0" encoding="utf-8"?>
<p:tagLst xmlns:p="http://schemas.openxmlformats.org/presentationml/2006/main">
  <p:tag name="KSO_WM_SLIDE_ID" val="diagram20194720_1"/>
  <p:tag name="KSO_WM_SLIDE_ITEM_CNT" val="0"/>
  <p:tag name="KSO_WM_SLIDE_INDEX" val="1"/>
  <p:tag name="KSO_WM_TAG_VERSION" val="1.0"/>
  <p:tag name="KSO_WM_BEAUTIFY_FLAG" val="#wm#"/>
  <p:tag name="KSO_WM_TEMPLATE_CATEGORY" val="diagram"/>
  <p:tag name="KSO_WM_TEMPLATE_INDEX" val="20194720"/>
  <p:tag name="KSO_WM_SLIDE_LAYOUT" val="a_f"/>
  <p:tag name="KSO_WM_SLIDE_LAYOUT_CNT" val="1_1"/>
  <p:tag name="KSO_WM_SLIDE_TYPE" val="text"/>
  <p:tag name="KSO_WM_SLIDE_SUBTYPE" val="pureTxt"/>
  <p:tag name="KSO_WM_SLIDE_SIZE" val="817*432"/>
  <p:tag name="KSO_WM_SLIDE_POSITION" val="45*54"/>
  <p:tag name="KSO_WM_SLIDE_COLORSCHEME_VERSION" val="3.2"/>
  <p:tag name="KSO_WM_TEMPLATE_SUBCATEGORY" val="0"/>
</p:tagLst>
</file>

<file path=ppt/tags/tag447.xml><?xml version="1.0" encoding="utf-8"?>
<p:tagLst xmlns:p="http://schemas.openxmlformats.org/presentationml/2006/main">
  <p:tag name="KSO_WM_UNIT_LARGE_SHAPE" val="1"/>
  <p:tag name="KSO_WM_UNIT_HIGHLIGHT" val="0"/>
  <p:tag name="KSO_WM_UNIT_COMPATIBLE" val="0"/>
  <p:tag name="KSO_WM_UNIT_DIAGRAM_ISNUMVISUAL" val="0"/>
  <p:tag name="KSO_WM_UNIT_DIAGRAM_ISREFERUNIT" val="0"/>
  <p:tag name="KSO_WM_UNIT_ID" val="diagram20194848_1*i*1"/>
  <p:tag name="KSO_WM_TEMPLATE_CATEGORY" val="diagram"/>
  <p:tag name="KSO_WM_TEMPLATE_INDEX" val="20194848"/>
  <p:tag name="KSO_WM_UNIT_LAYERLEVEL" val="1"/>
  <p:tag name="KSO_WM_TAG_VERSION" val="1.0"/>
  <p:tag name="KSO_WM_BEAUTIFY_FLAG" val="#wm#"/>
  <p:tag name="KSO_WM_UNIT_TYPE" val="i"/>
  <p:tag name="KSO_WM_UNIT_INDEX" val="1"/>
</p:tagLst>
</file>

<file path=ppt/tags/tag44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2"/>
  <p:tag name="KSO_WM_TEMPLATE_CATEGORY" val="diagram"/>
  <p:tag name="KSO_WM_TEMPLATE_INDEX" val="20194848"/>
  <p:tag name="KSO_WM_UNIT_LAYERLEVEL" val="1"/>
  <p:tag name="KSO_WM_TAG_VERSION" val="1.0"/>
  <p:tag name="KSO_WM_BEAUTIFY_FLAG" val="#wm#"/>
  <p:tag name="KSO_WM_UNIT_TYPE" val="i"/>
  <p:tag name="KSO_WM_UNIT_INDEX" val="2"/>
</p:tagLst>
</file>

<file path=ppt/tags/tag44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3"/>
  <p:tag name="KSO_WM_TEMPLATE_CATEGORY" val="diagram"/>
  <p:tag name="KSO_WM_TEMPLATE_INDEX" val="20194848"/>
  <p:tag name="KSO_WM_UNIT_LAYERLEVEL" val="1"/>
  <p:tag name="KSO_WM_TAG_VERSION" val="1.0"/>
  <p:tag name="KSO_WM_BEAUTIFY_FLAG" val="#wm#"/>
  <p:tag name="KSO_WM_UNIT_TYPE" val="i"/>
  <p:tag name="KSO_WM_UNIT_INDEX" val="3"/>
</p:tagLst>
</file>

<file path=ppt/tags/tag45.xml><?xml version="1.0" encoding="utf-8"?>
<p:tagLst xmlns:p="http://schemas.openxmlformats.org/presentationml/2006/main">
  <p:tag name="KSO_WM_UNIT_TEXT_PART_ID_V2" val="d-3-2"/>
  <p:tag name="KSO_WM_UNIT_PRESET_TEXT" val="点击此处添加正文，文字是您思想的提炼，为了最终呈现发布的良好效果。&#13;请言简意赅的阐述观点，并根据需要酌情增减文字您的正文已经字字珠玑，但信息却千丝万缕，需要用更多的文字来表述；但请您尽可能提炼思想的精髓，恰如其分的表达观点，往往事半功倍。&#13;为了能让您有更直观的字数感受，并进一步方便使用，我们为您标注了最适合的位置。您输入的文字到这里时，就是最佳视觉效果。"/>
  <p:tag name="KSO_WM_UNIT_NOCLEAR" val="1"/>
  <p:tag name="KSO_WM_UNIT_VALUE" val="273"/>
  <p:tag name="KSO_WM_UNIT_HIGHLIGHT" val="0"/>
  <p:tag name="KSO_WM_UNIT_COMPATIBLE" val="0"/>
  <p:tag name="KSO_WM_UNIT_DIAGRAM_ISNUMVISUAL" val="0"/>
  <p:tag name="KSO_WM_UNIT_DIAGRAM_ISREFERUNIT" val="0"/>
  <p:tag name="KSO_WM_UNIT_TYPE" val="f"/>
  <p:tag name="KSO_WM_UNIT_INDEX" val="1"/>
  <p:tag name="KSO_WM_UNIT_ID" val="diagram20194644_1*f*1"/>
  <p:tag name="KSO_WM_TEMPLATE_CATEGORY" val="diagram"/>
  <p:tag name="KSO_WM_TEMPLATE_INDEX" val="20194644"/>
  <p:tag name="KSO_WM_UNIT_LAYERLEVEL" val="1"/>
  <p:tag name="KSO_WM_TAG_VERSION" val="1.0"/>
  <p:tag name="KSO_WM_BEAUTIFY_FLAG" val="#wm#"/>
  <p:tag name="KSO_WM_UNIT_COLOR_SCHEME_SHAPE_ID" val="5"/>
  <p:tag name="KSO_WM_UNIT_COLOR_SCHEME_PARENT_PAGE" val="0_1"/>
</p:tagLst>
</file>

<file path=ppt/tags/tag45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4"/>
  <p:tag name="KSO_WM_TEMPLATE_CATEGORY" val="diagram"/>
  <p:tag name="KSO_WM_TEMPLATE_INDEX" val="20194848"/>
  <p:tag name="KSO_WM_UNIT_LAYERLEVEL" val="1"/>
  <p:tag name="KSO_WM_TAG_VERSION" val="1.0"/>
  <p:tag name="KSO_WM_BEAUTIFY_FLAG" val="#wm#"/>
  <p:tag name="KSO_WM_UNIT_TYPE" val="i"/>
  <p:tag name="KSO_WM_UNIT_INDEX" val="4"/>
</p:tagLst>
</file>

<file path=ppt/tags/tag451.xml><?xml version="1.0" encoding="utf-8"?>
<p:tagLst xmlns:p="http://schemas.openxmlformats.org/presentationml/2006/main">
  <p:tag name="KSO_WM_UNIT_ISCONTENTSTITLE" val="0"/>
  <p:tag name="KSO_WM_UNIT_PRESET_TEXT" val="此处可添加您的大标题内容"/>
  <p:tag name="KSO_WM_UNIT_TEXT_PART_ID" val="2-X"/>
  <p:tag name="KSO_WM_UNIT_TEXT_PART_SIZE" val="49.2*559"/>
  <p:tag name="KSO_WM_UNIT_VALUE" val="26"/>
  <p:tag name="KSO_WM_UNIT_HIGHLIGHT" val="0"/>
  <p:tag name="KSO_WM_UNIT_COMPATIBLE" val="0"/>
  <p:tag name="KSO_WM_UNIT_DIAGRAM_ISNUMVISUAL" val="0"/>
  <p:tag name="KSO_WM_UNIT_DIAGRAM_ISREFERUNIT" val="0"/>
  <p:tag name="KSO_WM_UNIT_TYPE" val="a"/>
  <p:tag name="KSO_WM_UNIT_INDEX" val="1"/>
  <p:tag name="KSO_WM_UNIT_ID" val="diagram20194848_1*a*1"/>
  <p:tag name="KSO_WM_TEMPLATE_CATEGORY" val="diagram"/>
  <p:tag name="KSO_WM_TEMPLATE_INDEX" val="20194848"/>
  <p:tag name="KSO_WM_UNIT_LAYERLEVEL" val="1"/>
  <p:tag name="KSO_WM_TAG_VERSION" val="1.0"/>
  <p:tag name="KSO_WM_BEAUTIFY_FLAG" val="#wm#"/>
  <p:tag name="KSO_WM_UNIT_NOCLEAR" val="0"/>
  <p:tag name="KSO_WM_UNIT_TEXT_PART_ID_V2" val="a-3-1"/>
</p:tagLst>
</file>

<file path=ppt/tags/tag45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5"/>
  <p:tag name="KSO_WM_TEMPLATE_CATEGORY" val="diagram"/>
  <p:tag name="KSO_WM_TEMPLATE_INDEX" val="20194848"/>
  <p:tag name="KSO_WM_UNIT_LAYERLEVEL" val="1"/>
  <p:tag name="KSO_WM_TAG_VERSION" val="1.0"/>
  <p:tag name="KSO_WM_BEAUTIFY_FLAG" val="#wm#"/>
  <p:tag name="KSO_WM_UNIT_TYPE" val="i"/>
  <p:tag name="KSO_WM_UNIT_INDEX" val="5"/>
</p:tagLst>
</file>

<file path=ppt/tags/tag45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7"/>
  <p:tag name="KSO_WM_TEMPLATE_CATEGORY" val="diagram"/>
  <p:tag name="KSO_WM_TEMPLATE_INDEX" val="20194848"/>
  <p:tag name="KSO_WM_UNIT_LAYERLEVEL" val="1"/>
  <p:tag name="KSO_WM_TAG_VERSION" val="1.0"/>
  <p:tag name="KSO_WM_BEAUTIFY_FLAG" val="#wm#"/>
  <p:tag name="KSO_WM_UNIT_TYPE" val="i"/>
  <p:tag name="KSO_WM_UNIT_INDEX" val="7"/>
</p:tagLst>
</file>

<file path=ppt/tags/tag45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8"/>
  <p:tag name="KSO_WM_TEMPLATE_CATEGORY" val="diagram"/>
  <p:tag name="KSO_WM_TEMPLATE_INDEX" val="20194848"/>
  <p:tag name="KSO_WM_UNIT_LAYERLEVEL" val="1"/>
  <p:tag name="KSO_WM_TAG_VERSION" val="1.0"/>
  <p:tag name="KSO_WM_BEAUTIFY_FLAG" val="#wm#"/>
  <p:tag name="KSO_WM_UNIT_TYPE" val="i"/>
  <p:tag name="KSO_WM_UNIT_INDEX" val="8"/>
</p:tagLst>
</file>

<file path=ppt/tags/tag455.xml><?xml version="1.0" encoding="utf-8"?>
<p:tagLst xmlns:p="http://schemas.openxmlformats.org/presentationml/2006/main">
  <p:tag name="KSO_WM_UNIT_TEXT_PART_ID_V2" val="d-2-2"/>
  <p:tag name="KSO_WM_UNIT_PRESET_TEXT" val="单击添加小标题：&#13;点击此处添加正文，文字是您思想的提炼。&#13;请言简意赅的阐述观点,根据需要增减文字。&#13;以便观者可以准确理解您所传达的完整信息。&#13;以便观者可以准确理解您所传达的完整信息。&#13;您的正文已经字字珠玑，但信息却错综复杂。&#13;需要用更多的文字来表述,请您尽可能提炼。&#13;否则容易造成观者的阅读压力，适得其反。"/>
  <p:tag name="KSO_WM_UNIT_NOCLEAR" val="1"/>
  <p:tag name="KSO_WM_UNIT_VALUE" val="234"/>
  <p:tag name="KSO_WM_UNIT_HIGHLIGHT" val="0"/>
  <p:tag name="KSO_WM_UNIT_COMPATIBLE" val="0"/>
  <p:tag name="KSO_WM_UNIT_DIAGRAM_ISNUMVISUAL" val="0"/>
  <p:tag name="KSO_WM_UNIT_DIAGRAM_ISREFERUNIT" val="0"/>
  <p:tag name="KSO_WM_UNIT_TYPE" val="f"/>
  <p:tag name="KSO_WM_UNIT_INDEX" val="1"/>
  <p:tag name="KSO_WM_UNIT_ID" val="diagram20194715_1*f*1"/>
  <p:tag name="KSO_WM_TEMPLATE_CATEGORY" val="diagram"/>
  <p:tag name="KSO_WM_TEMPLATE_INDEX" val="20194715"/>
  <p:tag name="KSO_WM_UNIT_LAYERLEVEL" val="1"/>
  <p:tag name="KSO_WM_TAG_VERSION" val="1.0"/>
  <p:tag name="KSO_WM_BEAUTIFY_FLAG" val="#wm#"/>
  <p:tag name="KSO_WM_UNIT_COLOR_SCHEME_SHAPE_ID" val="5"/>
  <p:tag name="KSO_WM_UNIT_COLOR_SCHEME_PARENT_PAGE" val="0_1"/>
</p:tagLst>
</file>

<file path=ppt/tags/tag456.xml><?xml version="1.0" encoding="utf-8"?>
<p:tagLst xmlns:p="http://schemas.openxmlformats.org/presentationml/2006/main">
  <p:tag name="KSO_WM_SLIDE_ID" val="diagram20194848_1"/>
  <p:tag name="KSO_WM_TEMPLATE_SUBCATEGORY" val="0"/>
  <p:tag name="KSO_WM_SLIDE_TYPE" val="text"/>
  <p:tag name="KSO_WM_SLIDE_SUBTYPE" val="pureTxt"/>
  <p:tag name="KSO_WM_SLIDE_ITEM_CNT" val="0"/>
  <p:tag name="KSO_WM_SLIDE_INDEX" val="1"/>
  <p:tag name="KSO_WM_SLIDE_SIZE" val="960*540"/>
  <p:tag name="KSO_WM_SLIDE_POSITION" val="0*0"/>
  <p:tag name="KSO_WM_TAG_VERSION" val="1.0"/>
  <p:tag name="KSO_WM_BEAUTIFY_FLAG" val="#wm#"/>
  <p:tag name="KSO_WM_TEMPLATE_CATEGORY" val="diagram"/>
  <p:tag name="KSO_WM_TEMPLATE_INDEX" val="20194848"/>
  <p:tag name="KSO_WM_SLIDE_LAYOUT" val="a_f"/>
  <p:tag name="KSO_WM_SLIDE_LAYOUT_CNT" val="1_2"/>
</p:tagLst>
</file>

<file path=ppt/tags/tag45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
  <p:tag name="KSO_WM_UNIT_ID" val="diagram20194755_1*i*1"/>
  <p:tag name="KSO_WM_TEMPLATE_CATEGORY" val="diagram"/>
  <p:tag name="KSO_WM_TEMPLATE_INDEX" val="20194755"/>
  <p:tag name="KSO_WM_UNIT_LAYERLEVEL" val="1"/>
  <p:tag name="KSO_WM_TAG_VERSION" val="1.0"/>
  <p:tag name="KSO_WM_BEAUTIFY_FLAG" val="#wm#"/>
  <p:tag name="KSO_WM_UNIT_COLOR_SCHEME_SHAPE_ID" val="16"/>
  <p:tag name="KSO_WM_UNIT_COLOR_SCHEME_PARENT_PAGE" val="0_1"/>
</p:tagLst>
</file>

<file path=ppt/tags/tag45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
  <p:tag name="KSO_WM_UNIT_ID" val="diagram20194755_1*i*2"/>
  <p:tag name="KSO_WM_TEMPLATE_CATEGORY" val="diagram"/>
  <p:tag name="KSO_WM_TEMPLATE_INDEX" val="20194755"/>
  <p:tag name="KSO_WM_UNIT_LAYERLEVEL" val="1"/>
  <p:tag name="KSO_WM_TAG_VERSION" val="1.0"/>
  <p:tag name="KSO_WM_BEAUTIFY_FLAG" val="#wm#"/>
  <p:tag name="KSO_WM_UNIT_COLOR_SCHEME_SHAPE_ID" val="17"/>
  <p:tag name="KSO_WM_UNIT_COLOR_SCHEME_PARENT_PAGE" val="0_1"/>
</p:tagLst>
</file>

<file path=ppt/tags/tag45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
  <p:tag name="KSO_WM_UNIT_ID" val="diagram20194755_1*i*4"/>
  <p:tag name="KSO_WM_TEMPLATE_CATEGORY" val="diagram"/>
  <p:tag name="KSO_WM_TEMPLATE_INDEX" val="20194755"/>
  <p:tag name="KSO_WM_UNIT_LAYERLEVEL" val="1"/>
  <p:tag name="KSO_WM_TAG_VERSION" val="1.0"/>
  <p:tag name="KSO_WM_BEAUTIFY_FLAG" val="#wm#"/>
  <p:tag name="KSO_WM_UNIT_COLOR_SCHEME_SHAPE_ID" val="80"/>
  <p:tag name="KSO_WM_UNIT_COLOR_SCHEME_PARENT_PAGE" val="0_1"/>
  <p:tag name="KSO_WM_UNIT_DECOLORIZATION" val="1"/>
</p:tagLst>
</file>

<file path=ppt/tags/tag46.xml><?xml version="1.0" encoding="utf-8"?>
<p:tagLst xmlns:p="http://schemas.openxmlformats.org/presentationml/2006/main">
  <p:tag name="KSO_WM_UNIT_TEXT_PART_ID_V2" val="a-1-2"/>
  <p:tag name="KSO_WM_UNIT_ISCONTENTSTITLE" val="0"/>
  <p:tag name="KSO_WM_UNIT_PRESET_TEXT" val="单击添加大标题"/>
  <p:tag name="KSO_WM_UNIT_NOCLEAR" val="0"/>
  <p:tag name="KSO_WM_UNIT_VALUE" val="8"/>
  <p:tag name="KSO_WM_UNIT_HIGHLIGHT" val="0"/>
  <p:tag name="KSO_WM_UNIT_COMPATIBLE" val="0"/>
  <p:tag name="KSO_WM_UNIT_DIAGRAM_ISNUMVISUAL" val="0"/>
  <p:tag name="KSO_WM_UNIT_DIAGRAM_ISREFERUNIT" val="0"/>
  <p:tag name="KSO_WM_UNIT_TYPE" val="a"/>
  <p:tag name="KSO_WM_UNIT_INDEX" val="1"/>
  <p:tag name="KSO_WM_UNIT_ID" val="diagram20194644_1*a*1"/>
  <p:tag name="KSO_WM_TEMPLATE_CATEGORY" val="diagram"/>
  <p:tag name="KSO_WM_TEMPLATE_INDEX" val="20194644"/>
  <p:tag name="KSO_WM_UNIT_LAYERLEVEL" val="1"/>
  <p:tag name="KSO_WM_TAG_VERSION" val="1.0"/>
  <p:tag name="KSO_WM_BEAUTIFY_FLAG" val="#wm#"/>
  <p:tag name="KSO_WM_UNIT_COLOR_SCHEME_SHAPE_ID" val="6"/>
  <p:tag name="KSO_WM_UNIT_COLOR_SCHEME_PARENT_PAGE" val="0_1"/>
</p:tagLst>
</file>

<file path=ppt/tags/tag46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
  <p:tag name="KSO_WM_UNIT_ID" val="diagram20194755_1*i*5"/>
  <p:tag name="KSO_WM_TEMPLATE_CATEGORY" val="diagram"/>
  <p:tag name="KSO_WM_TEMPLATE_INDEX" val="20194755"/>
  <p:tag name="KSO_WM_UNIT_LAYERLEVEL" val="1"/>
  <p:tag name="KSO_WM_TAG_VERSION" val="1.0"/>
  <p:tag name="KSO_WM_BEAUTIFY_FLAG" val="#wm#"/>
  <p:tag name="KSO_WM_UNIT_COLOR_SCHEME_SHAPE_ID" val="81"/>
  <p:tag name="KSO_WM_UNIT_COLOR_SCHEME_PARENT_PAGE" val="0_1"/>
  <p:tag name="KSO_WM_UNIT_DECOLORIZATION" val="1"/>
</p:tagLst>
</file>

<file path=ppt/tags/tag46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
  <p:tag name="KSO_WM_UNIT_ID" val="diagram20194755_1*i*6"/>
  <p:tag name="KSO_WM_TEMPLATE_CATEGORY" val="diagram"/>
  <p:tag name="KSO_WM_TEMPLATE_INDEX" val="20194755"/>
  <p:tag name="KSO_WM_UNIT_LAYERLEVEL" val="1"/>
  <p:tag name="KSO_WM_TAG_VERSION" val="1.0"/>
  <p:tag name="KSO_WM_BEAUTIFY_FLAG" val="#wm#"/>
  <p:tag name="KSO_WM_UNIT_COLOR_SCHEME_SHAPE_ID" val="82"/>
  <p:tag name="KSO_WM_UNIT_COLOR_SCHEME_PARENT_PAGE" val="0_1"/>
  <p:tag name="KSO_WM_UNIT_DECOLORIZATION" val="1"/>
</p:tagLst>
</file>

<file path=ppt/tags/tag46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7"/>
  <p:tag name="KSO_WM_UNIT_ID" val="diagram20194755_1*i*7"/>
  <p:tag name="KSO_WM_TEMPLATE_CATEGORY" val="diagram"/>
  <p:tag name="KSO_WM_TEMPLATE_INDEX" val="20194755"/>
  <p:tag name="KSO_WM_UNIT_LAYERLEVEL" val="1"/>
  <p:tag name="KSO_WM_TAG_VERSION" val="1.0"/>
  <p:tag name="KSO_WM_BEAUTIFY_FLAG" val="#wm#"/>
  <p:tag name="KSO_WM_UNIT_COLOR_SCHEME_SHAPE_ID" val="83"/>
  <p:tag name="KSO_WM_UNIT_COLOR_SCHEME_PARENT_PAGE" val="0_1"/>
  <p:tag name="KSO_WM_UNIT_DECOLORIZATION" val="1"/>
</p:tagLst>
</file>

<file path=ppt/tags/tag46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8"/>
  <p:tag name="KSO_WM_UNIT_ID" val="diagram20194755_1*i*8"/>
  <p:tag name="KSO_WM_TEMPLATE_CATEGORY" val="diagram"/>
  <p:tag name="KSO_WM_TEMPLATE_INDEX" val="20194755"/>
  <p:tag name="KSO_WM_UNIT_LAYERLEVEL" val="1"/>
  <p:tag name="KSO_WM_TAG_VERSION" val="1.0"/>
  <p:tag name="KSO_WM_BEAUTIFY_FLAG" val="#wm#"/>
  <p:tag name="KSO_WM_UNIT_COLOR_SCHEME_SHAPE_ID" val="84"/>
  <p:tag name="KSO_WM_UNIT_COLOR_SCHEME_PARENT_PAGE" val="0_1"/>
  <p:tag name="KSO_WM_UNIT_DECOLORIZATION" val="1"/>
</p:tagLst>
</file>

<file path=ppt/tags/tag46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9"/>
  <p:tag name="KSO_WM_UNIT_ID" val="diagram20194755_1*i*9"/>
  <p:tag name="KSO_WM_TEMPLATE_CATEGORY" val="diagram"/>
  <p:tag name="KSO_WM_TEMPLATE_INDEX" val="20194755"/>
  <p:tag name="KSO_WM_UNIT_LAYERLEVEL" val="1"/>
  <p:tag name="KSO_WM_TAG_VERSION" val="1.0"/>
  <p:tag name="KSO_WM_BEAUTIFY_FLAG" val="#wm#"/>
  <p:tag name="KSO_WM_UNIT_COLOR_SCHEME_SHAPE_ID" val="85"/>
  <p:tag name="KSO_WM_UNIT_COLOR_SCHEME_PARENT_PAGE" val="0_1"/>
  <p:tag name="KSO_WM_UNIT_DECOLORIZATION" val="1"/>
</p:tagLst>
</file>

<file path=ppt/tags/tag46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0"/>
  <p:tag name="KSO_WM_UNIT_ID" val="diagram20194755_1*i*10"/>
  <p:tag name="KSO_WM_TEMPLATE_CATEGORY" val="diagram"/>
  <p:tag name="KSO_WM_TEMPLATE_INDEX" val="20194755"/>
  <p:tag name="KSO_WM_UNIT_LAYERLEVEL" val="1"/>
  <p:tag name="KSO_WM_TAG_VERSION" val="1.0"/>
  <p:tag name="KSO_WM_BEAUTIFY_FLAG" val="#wm#"/>
  <p:tag name="KSO_WM_UNIT_COLOR_SCHEME_SHAPE_ID" val="86"/>
  <p:tag name="KSO_WM_UNIT_COLOR_SCHEME_PARENT_PAGE" val="0_1"/>
  <p:tag name="KSO_WM_UNIT_DECOLORIZATION" val="1"/>
</p:tagLst>
</file>

<file path=ppt/tags/tag46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1"/>
  <p:tag name="KSO_WM_UNIT_ID" val="diagram20194755_1*i*11"/>
  <p:tag name="KSO_WM_TEMPLATE_CATEGORY" val="diagram"/>
  <p:tag name="KSO_WM_TEMPLATE_INDEX" val="20194755"/>
  <p:tag name="KSO_WM_UNIT_LAYERLEVEL" val="1"/>
  <p:tag name="KSO_WM_TAG_VERSION" val="1.0"/>
  <p:tag name="KSO_WM_BEAUTIFY_FLAG" val="#wm#"/>
  <p:tag name="KSO_WM_UNIT_COLOR_SCHEME_SHAPE_ID" val="87"/>
  <p:tag name="KSO_WM_UNIT_COLOR_SCHEME_PARENT_PAGE" val="0_1"/>
  <p:tag name="KSO_WM_UNIT_DECOLORIZATION" val="1"/>
</p:tagLst>
</file>

<file path=ppt/tags/tag46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2"/>
  <p:tag name="KSO_WM_UNIT_ID" val="diagram20194755_1*i*12"/>
  <p:tag name="KSO_WM_TEMPLATE_CATEGORY" val="diagram"/>
  <p:tag name="KSO_WM_TEMPLATE_INDEX" val="20194755"/>
  <p:tag name="KSO_WM_UNIT_LAYERLEVEL" val="1"/>
  <p:tag name="KSO_WM_TAG_VERSION" val="1.0"/>
  <p:tag name="KSO_WM_BEAUTIFY_FLAG" val="#wm#"/>
  <p:tag name="KSO_WM_UNIT_COLOR_SCHEME_SHAPE_ID" val="88"/>
  <p:tag name="KSO_WM_UNIT_COLOR_SCHEME_PARENT_PAGE" val="0_1"/>
  <p:tag name="KSO_WM_UNIT_DECOLORIZATION" val="1"/>
</p:tagLst>
</file>

<file path=ppt/tags/tag46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3"/>
  <p:tag name="KSO_WM_UNIT_ID" val="diagram20194755_1*i*13"/>
  <p:tag name="KSO_WM_TEMPLATE_CATEGORY" val="diagram"/>
  <p:tag name="KSO_WM_TEMPLATE_INDEX" val="20194755"/>
  <p:tag name="KSO_WM_UNIT_LAYERLEVEL" val="1"/>
  <p:tag name="KSO_WM_TAG_VERSION" val="1.0"/>
  <p:tag name="KSO_WM_BEAUTIFY_FLAG" val="#wm#"/>
  <p:tag name="KSO_WM_UNIT_COLOR_SCHEME_SHAPE_ID" val="89"/>
  <p:tag name="KSO_WM_UNIT_COLOR_SCHEME_PARENT_PAGE" val="0_1"/>
  <p:tag name="KSO_WM_UNIT_DECOLORIZATION" val="1"/>
</p:tagLst>
</file>

<file path=ppt/tags/tag46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4"/>
  <p:tag name="KSO_WM_UNIT_ID" val="diagram20194755_1*i*14"/>
  <p:tag name="KSO_WM_TEMPLATE_CATEGORY" val="diagram"/>
  <p:tag name="KSO_WM_TEMPLATE_INDEX" val="20194755"/>
  <p:tag name="KSO_WM_UNIT_LAYERLEVEL" val="1"/>
  <p:tag name="KSO_WM_TAG_VERSION" val="1.0"/>
  <p:tag name="KSO_WM_BEAUTIFY_FLAG" val="#wm#"/>
  <p:tag name="KSO_WM_UNIT_COLOR_SCHEME_SHAPE_ID" val="90"/>
  <p:tag name="KSO_WM_UNIT_COLOR_SCHEME_PARENT_PAGE" val="0_1"/>
  <p:tag name="KSO_WM_UNIT_DECOLORIZATION" val="1"/>
</p:tagLst>
</file>

<file path=ppt/tags/tag4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4"/>
  <p:tag name="KSO_WM_TEMPLATE_CATEGORY" val="diagram"/>
  <p:tag name="KSO_WM_TEMPLATE_INDEX" val="20194848"/>
  <p:tag name="KSO_WM_UNIT_LAYERLEVEL" val="1"/>
  <p:tag name="KSO_WM_TAG_VERSION" val="1.0"/>
  <p:tag name="KSO_WM_BEAUTIFY_FLAG" val="#wm#"/>
  <p:tag name="KSO_WM_UNIT_TYPE" val="i"/>
  <p:tag name="KSO_WM_UNIT_INDEX" val="4"/>
</p:tagLst>
</file>

<file path=ppt/tags/tag47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5"/>
  <p:tag name="KSO_WM_UNIT_ID" val="diagram20194755_1*i*15"/>
  <p:tag name="KSO_WM_TEMPLATE_CATEGORY" val="diagram"/>
  <p:tag name="KSO_WM_TEMPLATE_INDEX" val="20194755"/>
  <p:tag name="KSO_WM_UNIT_LAYERLEVEL" val="1"/>
  <p:tag name="KSO_WM_TAG_VERSION" val="1.0"/>
  <p:tag name="KSO_WM_BEAUTIFY_FLAG" val="#wm#"/>
  <p:tag name="KSO_WM_UNIT_COLOR_SCHEME_SHAPE_ID" val="69"/>
  <p:tag name="KSO_WM_UNIT_COLOR_SCHEME_PARENT_PAGE" val="0_1"/>
  <p:tag name="KSO_WM_UNIT_DECOLORIZATION" val="1"/>
</p:tagLst>
</file>

<file path=ppt/tags/tag47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6"/>
  <p:tag name="KSO_WM_UNIT_ID" val="diagram20194755_1*i*16"/>
  <p:tag name="KSO_WM_TEMPLATE_CATEGORY" val="diagram"/>
  <p:tag name="KSO_WM_TEMPLATE_INDEX" val="20194755"/>
  <p:tag name="KSO_WM_UNIT_LAYERLEVEL" val="1"/>
  <p:tag name="KSO_WM_TAG_VERSION" val="1.0"/>
  <p:tag name="KSO_WM_BEAUTIFY_FLAG" val="#wm#"/>
  <p:tag name="KSO_WM_UNIT_COLOR_SCHEME_SHAPE_ID" val="70"/>
  <p:tag name="KSO_WM_UNIT_COLOR_SCHEME_PARENT_PAGE" val="0_1"/>
  <p:tag name="KSO_WM_UNIT_DECOLORIZATION" val="1"/>
</p:tagLst>
</file>

<file path=ppt/tags/tag47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7"/>
  <p:tag name="KSO_WM_UNIT_ID" val="diagram20194755_1*i*17"/>
  <p:tag name="KSO_WM_TEMPLATE_CATEGORY" val="diagram"/>
  <p:tag name="KSO_WM_TEMPLATE_INDEX" val="20194755"/>
  <p:tag name="KSO_WM_UNIT_LAYERLEVEL" val="1"/>
  <p:tag name="KSO_WM_TAG_VERSION" val="1.0"/>
  <p:tag name="KSO_WM_BEAUTIFY_FLAG" val="#wm#"/>
  <p:tag name="KSO_WM_UNIT_COLOR_SCHEME_SHAPE_ID" val="71"/>
  <p:tag name="KSO_WM_UNIT_COLOR_SCHEME_PARENT_PAGE" val="0_1"/>
  <p:tag name="KSO_WM_UNIT_DECOLORIZATION" val="1"/>
</p:tagLst>
</file>

<file path=ppt/tags/tag47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8"/>
  <p:tag name="KSO_WM_UNIT_ID" val="diagram20194755_1*i*18"/>
  <p:tag name="KSO_WM_TEMPLATE_CATEGORY" val="diagram"/>
  <p:tag name="KSO_WM_TEMPLATE_INDEX" val="20194755"/>
  <p:tag name="KSO_WM_UNIT_LAYERLEVEL" val="1"/>
  <p:tag name="KSO_WM_TAG_VERSION" val="1.0"/>
  <p:tag name="KSO_WM_BEAUTIFY_FLAG" val="#wm#"/>
  <p:tag name="KSO_WM_UNIT_COLOR_SCHEME_SHAPE_ID" val="72"/>
  <p:tag name="KSO_WM_UNIT_COLOR_SCHEME_PARENT_PAGE" val="0_1"/>
  <p:tag name="KSO_WM_UNIT_DECOLORIZATION" val="1"/>
</p:tagLst>
</file>

<file path=ppt/tags/tag47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9"/>
  <p:tag name="KSO_WM_UNIT_ID" val="diagram20194755_1*i*19"/>
  <p:tag name="KSO_WM_TEMPLATE_CATEGORY" val="diagram"/>
  <p:tag name="KSO_WM_TEMPLATE_INDEX" val="20194755"/>
  <p:tag name="KSO_WM_UNIT_LAYERLEVEL" val="1"/>
  <p:tag name="KSO_WM_TAG_VERSION" val="1.0"/>
  <p:tag name="KSO_WM_BEAUTIFY_FLAG" val="#wm#"/>
  <p:tag name="KSO_WM_UNIT_COLOR_SCHEME_SHAPE_ID" val="73"/>
  <p:tag name="KSO_WM_UNIT_COLOR_SCHEME_PARENT_PAGE" val="0_1"/>
  <p:tag name="KSO_WM_UNIT_DECOLORIZATION" val="1"/>
</p:tagLst>
</file>

<file path=ppt/tags/tag47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0"/>
  <p:tag name="KSO_WM_UNIT_ID" val="diagram20194755_1*i*20"/>
  <p:tag name="KSO_WM_TEMPLATE_CATEGORY" val="diagram"/>
  <p:tag name="KSO_WM_TEMPLATE_INDEX" val="20194755"/>
  <p:tag name="KSO_WM_UNIT_LAYERLEVEL" val="1"/>
  <p:tag name="KSO_WM_TAG_VERSION" val="1.0"/>
  <p:tag name="KSO_WM_BEAUTIFY_FLAG" val="#wm#"/>
  <p:tag name="KSO_WM_UNIT_COLOR_SCHEME_SHAPE_ID" val="74"/>
  <p:tag name="KSO_WM_UNIT_COLOR_SCHEME_PARENT_PAGE" val="0_1"/>
  <p:tag name="KSO_WM_UNIT_DECOLORIZATION" val="1"/>
</p:tagLst>
</file>

<file path=ppt/tags/tag47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1"/>
  <p:tag name="KSO_WM_UNIT_ID" val="diagram20194755_1*i*21"/>
  <p:tag name="KSO_WM_TEMPLATE_CATEGORY" val="diagram"/>
  <p:tag name="KSO_WM_TEMPLATE_INDEX" val="20194755"/>
  <p:tag name="KSO_WM_UNIT_LAYERLEVEL" val="1"/>
  <p:tag name="KSO_WM_TAG_VERSION" val="1.0"/>
  <p:tag name="KSO_WM_BEAUTIFY_FLAG" val="#wm#"/>
  <p:tag name="KSO_WM_UNIT_COLOR_SCHEME_SHAPE_ID" val="75"/>
  <p:tag name="KSO_WM_UNIT_COLOR_SCHEME_PARENT_PAGE" val="0_1"/>
  <p:tag name="KSO_WM_UNIT_DECOLORIZATION" val="1"/>
</p:tagLst>
</file>

<file path=ppt/tags/tag47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2"/>
  <p:tag name="KSO_WM_UNIT_ID" val="diagram20194755_1*i*22"/>
  <p:tag name="KSO_WM_TEMPLATE_CATEGORY" val="diagram"/>
  <p:tag name="KSO_WM_TEMPLATE_INDEX" val="20194755"/>
  <p:tag name="KSO_WM_UNIT_LAYERLEVEL" val="1"/>
  <p:tag name="KSO_WM_TAG_VERSION" val="1.0"/>
  <p:tag name="KSO_WM_BEAUTIFY_FLAG" val="#wm#"/>
  <p:tag name="KSO_WM_UNIT_COLOR_SCHEME_SHAPE_ID" val="76"/>
  <p:tag name="KSO_WM_UNIT_COLOR_SCHEME_PARENT_PAGE" val="0_1"/>
  <p:tag name="KSO_WM_UNIT_DECOLORIZATION" val="1"/>
</p:tagLst>
</file>

<file path=ppt/tags/tag47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3"/>
  <p:tag name="KSO_WM_UNIT_ID" val="diagram20194755_1*i*23"/>
  <p:tag name="KSO_WM_TEMPLATE_CATEGORY" val="diagram"/>
  <p:tag name="KSO_WM_TEMPLATE_INDEX" val="20194755"/>
  <p:tag name="KSO_WM_UNIT_LAYERLEVEL" val="1"/>
  <p:tag name="KSO_WM_TAG_VERSION" val="1.0"/>
  <p:tag name="KSO_WM_BEAUTIFY_FLAG" val="#wm#"/>
  <p:tag name="KSO_WM_UNIT_COLOR_SCHEME_SHAPE_ID" val="77"/>
  <p:tag name="KSO_WM_UNIT_COLOR_SCHEME_PARENT_PAGE" val="0_1"/>
  <p:tag name="KSO_WM_UNIT_DECOLORIZATION" val="1"/>
</p:tagLst>
</file>

<file path=ppt/tags/tag47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4"/>
  <p:tag name="KSO_WM_UNIT_ID" val="diagram20194755_1*i*24"/>
  <p:tag name="KSO_WM_TEMPLATE_CATEGORY" val="diagram"/>
  <p:tag name="KSO_WM_TEMPLATE_INDEX" val="20194755"/>
  <p:tag name="KSO_WM_UNIT_LAYERLEVEL" val="1"/>
  <p:tag name="KSO_WM_TAG_VERSION" val="1.0"/>
  <p:tag name="KSO_WM_BEAUTIFY_FLAG" val="#wm#"/>
  <p:tag name="KSO_WM_UNIT_COLOR_SCHEME_SHAPE_ID" val="78"/>
  <p:tag name="KSO_WM_UNIT_COLOR_SCHEME_PARENT_PAGE" val="0_1"/>
  <p:tag name="KSO_WM_UNIT_DECOLORIZATION" val="1"/>
</p:tagLst>
</file>

<file path=ppt/tags/tag48.xml><?xml version="1.0" encoding="utf-8"?>
<p:tagLst xmlns:p="http://schemas.openxmlformats.org/presentationml/2006/main">
  <p:tag name="KSO_WM_SLIDE_ID" val="diagram20194644_1"/>
  <p:tag name="KSO_WM_SLIDE_ITEM_CNT" val="0"/>
  <p:tag name="KSO_WM_SLIDE_INDEX" val="1"/>
  <p:tag name="KSO_WM_TAG_VERSION" val="1.0"/>
  <p:tag name="KSO_WM_BEAUTIFY_FLAG" val="#wm#"/>
  <p:tag name="KSO_WM_TEMPLATE_CATEGORY" val="diagram"/>
  <p:tag name="KSO_WM_TEMPLATE_INDEX" val="20194644"/>
  <p:tag name="KSO_WM_SLIDE_LAYOUT" val="a_f"/>
  <p:tag name="KSO_WM_SLIDE_LAYOUT_CNT" val="1_1"/>
  <p:tag name="KSO_WM_SLIDE_TYPE" val="text"/>
  <p:tag name="KSO_WM_SLIDE_SUBTYPE" val="pureTxt"/>
  <p:tag name="KSO_WM_SLIDE_SIZE" val="882*459"/>
  <p:tag name="KSO_WM_SLIDE_POSITION" val="42*53"/>
  <p:tag name="KSO_WM_SLIDE_COLORSCHEME_VERSION" val="3.2"/>
</p:tagLst>
</file>

<file path=ppt/tags/tag48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5"/>
  <p:tag name="KSO_WM_UNIT_ID" val="diagram20194755_1*i*25"/>
  <p:tag name="KSO_WM_TEMPLATE_CATEGORY" val="diagram"/>
  <p:tag name="KSO_WM_TEMPLATE_INDEX" val="20194755"/>
  <p:tag name="KSO_WM_UNIT_LAYERLEVEL" val="1"/>
  <p:tag name="KSO_WM_TAG_VERSION" val="1.0"/>
  <p:tag name="KSO_WM_BEAUTIFY_FLAG" val="#wm#"/>
  <p:tag name="KSO_WM_UNIT_COLOR_SCHEME_SHAPE_ID" val="79"/>
  <p:tag name="KSO_WM_UNIT_COLOR_SCHEME_PARENT_PAGE" val="0_1"/>
  <p:tag name="KSO_WM_UNIT_DECOLORIZATION" val="1"/>
</p:tagLst>
</file>

<file path=ppt/tags/tag48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6"/>
  <p:tag name="KSO_WM_UNIT_ID" val="diagram20194755_1*i*26"/>
  <p:tag name="KSO_WM_TEMPLATE_CATEGORY" val="diagram"/>
  <p:tag name="KSO_WM_TEMPLATE_INDEX" val="20194755"/>
  <p:tag name="KSO_WM_UNIT_LAYERLEVEL" val="1"/>
  <p:tag name="KSO_WM_TAG_VERSION" val="1.0"/>
  <p:tag name="KSO_WM_BEAUTIFY_FLAG" val="#wm#"/>
  <p:tag name="KSO_WM_UNIT_COLOR_SCHEME_SHAPE_ID" val="58"/>
  <p:tag name="KSO_WM_UNIT_COLOR_SCHEME_PARENT_PAGE" val="0_1"/>
  <p:tag name="KSO_WM_UNIT_DECOLORIZATION" val="1"/>
</p:tagLst>
</file>

<file path=ppt/tags/tag48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7"/>
  <p:tag name="KSO_WM_UNIT_ID" val="diagram20194755_1*i*27"/>
  <p:tag name="KSO_WM_TEMPLATE_CATEGORY" val="diagram"/>
  <p:tag name="KSO_WM_TEMPLATE_INDEX" val="20194755"/>
  <p:tag name="KSO_WM_UNIT_LAYERLEVEL" val="1"/>
  <p:tag name="KSO_WM_TAG_VERSION" val="1.0"/>
  <p:tag name="KSO_WM_BEAUTIFY_FLAG" val="#wm#"/>
  <p:tag name="KSO_WM_UNIT_COLOR_SCHEME_SHAPE_ID" val="59"/>
  <p:tag name="KSO_WM_UNIT_COLOR_SCHEME_PARENT_PAGE" val="0_1"/>
  <p:tag name="KSO_WM_UNIT_DECOLORIZATION" val="1"/>
</p:tagLst>
</file>

<file path=ppt/tags/tag48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8"/>
  <p:tag name="KSO_WM_UNIT_ID" val="diagram20194755_1*i*28"/>
  <p:tag name="KSO_WM_TEMPLATE_CATEGORY" val="diagram"/>
  <p:tag name="KSO_WM_TEMPLATE_INDEX" val="20194755"/>
  <p:tag name="KSO_WM_UNIT_LAYERLEVEL" val="1"/>
  <p:tag name="KSO_WM_TAG_VERSION" val="1.0"/>
  <p:tag name="KSO_WM_BEAUTIFY_FLAG" val="#wm#"/>
  <p:tag name="KSO_WM_UNIT_COLOR_SCHEME_SHAPE_ID" val="60"/>
  <p:tag name="KSO_WM_UNIT_COLOR_SCHEME_PARENT_PAGE" val="0_1"/>
  <p:tag name="KSO_WM_UNIT_DECOLORIZATION" val="1"/>
</p:tagLst>
</file>

<file path=ppt/tags/tag48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9"/>
  <p:tag name="KSO_WM_UNIT_ID" val="diagram20194755_1*i*29"/>
  <p:tag name="KSO_WM_TEMPLATE_CATEGORY" val="diagram"/>
  <p:tag name="KSO_WM_TEMPLATE_INDEX" val="20194755"/>
  <p:tag name="KSO_WM_UNIT_LAYERLEVEL" val="1"/>
  <p:tag name="KSO_WM_TAG_VERSION" val="1.0"/>
  <p:tag name="KSO_WM_BEAUTIFY_FLAG" val="#wm#"/>
  <p:tag name="KSO_WM_UNIT_COLOR_SCHEME_SHAPE_ID" val="61"/>
  <p:tag name="KSO_WM_UNIT_COLOR_SCHEME_PARENT_PAGE" val="0_1"/>
  <p:tag name="KSO_WM_UNIT_DECOLORIZATION" val="1"/>
</p:tagLst>
</file>

<file path=ppt/tags/tag48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0"/>
  <p:tag name="KSO_WM_UNIT_ID" val="diagram20194755_1*i*30"/>
  <p:tag name="KSO_WM_TEMPLATE_CATEGORY" val="diagram"/>
  <p:tag name="KSO_WM_TEMPLATE_INDEX" val="20194755"/>
  <p:tag name="KSO_WM_UNIT_LAYERLEVEL" val="1"/>
  <p:tag name="KSO_WM_TAG_VERSION" val="1.0"/>
  <p:tag name="KSO_WM_BEAUTIFY_FLAG" val="#wm#"/>
  <p:tag name="KSO_WM_UNIT_COLOR_SCHEME_SHAPE_ID" val="62"/>
  <p:tag name="KSO_WM_UNIT_COLOR_SCHEME_PARENT_PAGE" val="0_1"/>
  <p:tag name="KSO_WM_UNIT_DECOLORIZATION" val="1"/>
</p:tagLst>
</file>

<file path=ppt/tags/tag48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1"/>
  <p:tag name="KSO_WM_UNIT_ID" val="diagram20194755_1*i*31"/>
  <p:tag name="KSO_WM_TEMPLATE_CATEGORY" val="diagram"/>
  <p:tag name="KSO_WM_TEMPLATE_INDEX" val="20194755"/>
  <p:tag name="KSO_WM_UNIT_LAYERLEVEL" val="1"/>
  <p:tag name="KSO_WM_TAG_VERSION" val="1.0"/>
  <p:tag name="KSO_WM_BEAUTIFY_FLAG" val="#wm#"/>
  <p:tag name="KSO_WM_UNIT_COLOR_SCHEME_SHAPE_ID" val="63"/>
  <p:tag name="KSO_WM_UNIT_COLOR_SCHEME_PARENT_PAGE" val="0_1"/>
  <p:tag name="KSO_WM_UNIT_DECOLORIZATION" val="1"/>
</p:tagLst>
</file>

<file path=ppt/tags/tag48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2"/>
  <p:tag name="KSO_WM_UNIT_ID" val="diagram20194755_1*i*32"/>
  <p:tag name="KSO_WM_TEMPLATE_CATEGORY" val="diagram"/>
  <p:tag name="KSO_WM_TEMPLATE_INDEX" val="20194755"/>
  <p:tag name="KSO_WM_UNIT_LAYERLEVEL" val="1"/>
  <p:tag name="KSO_WM_TAG_VERSION" val="1.0"/>
  <p:tag name="KSO_WM_BEAUTIFY_FLAG" val="#wm#"/>
  <p:tag name="KSO_WM_UNIT_COLOR_SCHEME_SHAPE_ID" val="64"/>
  <p:tag name="KSO_WM_UNIT_COLOR_SCHEME_PARENT_PAGE" val="0_1"/>
  <p:tag name="KSO_WM_UNIT_DECOLORIZATION" val="1"/>
</p:tagLst>
</file>

<file path=ppt/tags/tag48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3"/>
  <p:tag name="KSO_WM_UNIT_ID" val="diagram20194755_1*i*33"/>
  <p:tag name="KSO_WM_TEMPLATE_CATEGORY" val="diagram"/>
  <p:tag name="KSO_WM_TEMPLATE_INDEX" val="20194755"/>
  <p:tag name="KSO_WM_UNIT_LAYERLEVEL" val="1"/>
  <p:tag name="KSO_WM_TAG_VERSION" val="1.0"/>
  <p:tag name="KSO_WM_BEAUTIFY_FLAG" val="#wm#"/>
  <p:tag name="KSO_WM_UNIT_COLOR_SCHEME_SHAPE_ID" val="65"/>
  <p:tag name="KSO_WM_UNIT_COLOR_SCHEME_PARENT_PAGE" val="0_1"/>
  <p:tag name="KSO_WM_UNIT_DECOLORIZATION" val="1"/>
</p:tagLst>
</file>

<file path=ppt/tags/tag48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4"/>
  <p:tag name="KSO_WM_UNIT_ID" val="diagram20194755_1*i*34"/>
  <p:tag name="KSO_WM_TEMPLATE_CATEGORY" val="diagram"/>
  <p:tag name="KSO_WM_TEMPLATE_INDEX" val="20194755"/>
  <p:tag name="KSO_WM_UNIT_LAYERLEVEL" val="1"/>
  <p:tag name="KSO_WM_TAG_VERSION" val="1.0"/>
  <p:tag name="KSO_WM_BEAUTIFY_FLAG" val="#wm#"/>
  <p:tag name="KSO_WM_UNIT_COLOR_SCHEME_SHAPE_ID" val="66"/>
  <p:tag name="KSO_WM_UNIT_COLOR_SCHEME_PARENT_PAGE" val="0_1"/>
  <p:tag name="KSO_WM_UNIT_DECOLORIZATION" val="1"/>
</p:tagLst>
</file>

<file path=ppt/tags/tag49.xml><?xml version="1.0" encoding="utf-8"?>
<p:tagLst xmlns:p="http://schemas.openxmlformats.org/presentationml/2006/main">
  <p:tag name="KSO_WM_UNIT_LARGE_SHAPE" val="1"/>
  <p:tag name="KSO_WM_UNIT_HIGHLIGHT" val="0"/>
  <p:tag name="KSO_WM_UNIT_COMPATIBLE" val="0"/>
  <p:tag name="KSO_WM_UNIT_DIAGRAM_ISNUMVISUAL" val="0"/>
  <p:tag name="KSO_WM_UNIT_DIAGRAM_ISREFERUNIT" val="0"/>
  <p:tag name="KSO_WM_UNIT_ID" val="diagram20194848_1*i*1"/>
  <p:tag name="KSO_WM_TEMPLATE_CATEGORY" val="diagram"/>
  <p:tag name="KSO_WM_TEMPLATE_INDEX" val="20194848"/>
  <p:tag name="KSO_WM_UNIT_LAYERLEVEL" val="1"/>
  <p:tag name="KSO_WM_TAG_VERSION" val="1.0"/>
  <p:tag name="KSO_WM_BEAUTIFY_FLAG" val="#wm#"/>
  <p:tag name="KSO_WM_UNIT_TYPE" val="i"/>
  <p:tag name="KSO_WM_UNIT_INDEX" val="1"/>
</p:tagLst>
</file>

<file path=ppt/tags/tag49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5"/>
  <p:tag name="KSO_WM_UNIT_ID" val="diagram20194755_1*i*35"/>
  <p:tag name="KSO_WM_TEMPLATE_CATEGORY" val="diagram"/>
  <p:tag name="KSO_WM_TEMPLATE_INDEX" val="20194755"/>
  <p:tag name="KSO_WM_UNIT_LAYERLEVEL" val="1"/>
  <p:tag name="KSO_WM_TAG_VERSION" val="1.0"/>
  <p:tag name="KSO_WM_BEAUTIFY_FLAG" val="#wm#"/>
  <p:tag name="KSO_WM_UNIT_COLOR_SCHEME_SHAPE_ID" val="67"/>
  <p:tag name="KSO_WM_UNIT_COLOR_SCHEME_PARENT_PAGE" val="0_1"/>
  <p:tag name="KSO_WM_UNIT_DECOLORIZATION" val="1"/>
</p:tagLst>
</file>

<file path=ppt/tags/tag49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6"/>
  <p:tag name="KSO_WM_UNIT_ID" val="diagram20194755_1*i*36"/>
  <p:tag name="KSO_WM_TEMPLATE_CATEGORY" val="diagram"/>
  <p:tag name="KSO_WM_TEMPLATE_INDEX" val="20194755"/>
  <p:tag name="KSO_WM_UNIT_LAYERLEVEL" val="1"/>
  <p:tag name="KSO_WM_TAG_VERSION" val="1.0"/>
  <p:tag name="KSO_WM_BEAUTIFY_FLAG" val="#wm#"/>
  <p:tag name="KSO_WM_UNIT_COLOR_SCHEME_SHAPE_ID" val="68"/>
  <p:tag name="KSO_WM_UNIT_COLOR_SCHEME_PARENT_PAGE" val="0_1"/>
  <p:tag name="KSO_WM_UNIT_DECOLORIZATION" val="1"/>
</p:tagLst>
</file>

<file path=ppt/tags/tag49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7"/>
  <p:tag name="KSO_WM_UNIT_ID" val="diagram20194755_1*i*37"/>
  <p:tag name="KSO_WM_TEMPLATE_CATEGORY" val="diagram"/>
  <p:tag name="KSO_WM_TEMPLATE_INDEX" val="20194755"/>
  <p:tag name="KSO_WM_UNIT_LAYERLEVEL" val="1"/>
  <p:tag name="KSO_WM_TAG_VERSION" val="1.0"/>
  <p:tag name="KSO_WM_BEAUTIFY_FLAG" val="#wm#"/>
  <p:tag name="KSO_WM_UNIT_COLOR_SCHEME_SHAPE_ID" val="47"/>
  <p:tag name="KSO_WM_UNIT_COLOR_SCHEME_PARENT_PAGE" val="0_1"/>
  <p:tag name="KSO_WM_UNIT_DECOLORIZATION" val="1"/>
</p:tagLst>
</file>

<file path=ppt/tags/tag49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8"/>
  <p:tag name="KSO_WM_UNIT_ID" val="diagram20194755_1*i*38"/>
  <p:tag name="KSO_WM_TEMPLATE_CATEGORY" val="diagram"/>
  <p:tag name="KSO_WM_TEMPLATE_INDEX" val="20194755"/>
  <p:tag name="KSO_WM_UNIT_LAYERLEVEL" val="1"/>
  <p:tag name="KSO_WM_TAG_VERSION" val="1.0"/>
  <p:tag name="KSO_WM_BEAUTIFY_FLAG" val="#wm#"/>
  <p:tag name="KSO_WM_UNIT_COLOR_SCHEME_SHAPE_ID" val="48"/>
  <p:tag name="KSO_WM_UNIT_COLOR_SCHEME_PARENT_PAGE" val="0_1"/>
  <p:tag name="KSO_WM_UNIT_DECOLORIZATION" val="1"/>
</p:tagLst>
</file>

<file path=ppt/tags/tag49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9"/>
  <p:tag name="KSO_WM_UNIT_ID" val="diagram20194755_1*i*39"/>
  <p:tag name="KSO_WM_TEMPLATE_CATEGORY" val="diagram"/>
  <p:tag name="KSO_WM_TEMPLATE_INDEX" val="20194755"/>
  <p:tag name="KSO_WM_UNIT_LAYERLEVEL" val="1"/>
  <p:tag name="KSO_WM_TAG_VERSION" val="1.0"/>
  <p:tag name="KSO_WM_BEAUTIFY_FLAG" val="#wm#"/>
  <p:tag name="KSO_WM_UNIT_COLOR_SCHEME_SHAPE_ID" val="49"/>
  <p:tag name="KSO_WM_UNIT_COLOR_SCHEME_PARENT_PAGE" val="0_1"/>
  <p:tag name="KSO_WM_UNIT_DECOLORIZATION" val="1"/>
</p:tagLst>
</file>

<file path=ppt/tags/tag49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0"/>
  <p:tag name="KSO_WM_UNIT_ID" val="diagram20194755_1*i*40"/>
  <p:tag name="KSO_WM_TEMPLATE_CATEGORY" val="diagram"/>
  <p:tag name="KSO_WM_TEMPLATE_INDEX" val="20194755"/>
  <p:tag name="KSO_WM_UNIT_LAYERLEVEL" val="1"/>
  <p:tag name="KSO_WM_TAG_VERSION" val="1.0"/>
  <p:tag name="KSO_WM_BEAUTIFY_FLAG" val="#wm#"/>
  <p:tag name="KSO_WM_UNIT_COLOR_SCHEME_SHAPE_ID" val="50"/>
  <p:tag name="KSO_WM_UNIT_COLOR_SCHEME_PARENT_PAGE" val="0_1"/>
  <p:tag name="KSO_WM_UNIT_DECOLORIZATION" val="1"/>
</p:tagLst>
</file>

<file path=ppt/tags/tag49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1"/>
  <p:tag name="KSO_WM_UNIT_ID" val="diagram20194755_1*i*41"/>
  <p:tag name="KSO_WM_TEMPLATE_CATEGORY" val="diagram"/>
  <p:tag name="KSO_WM_TEMPLATE_INDEX" val="20194755"/>
  <p:tag name="KSO_WM_UNIT_LAYERLEVEL" val="1"/>
  <p:tag name="KSO_WM_TAG_VERSION" val="1.0"/>
  <p:tag name="KSO_WM_BEAUTIFY_FLAG" val="#wm#"/>
  <p:tag name="KSO_WM_UNIT_COLOR_SCHEME_SHAPE_ID" val="51"/>
  <p:tag name="KSO_WM_UNIT_COLOR_SCHEME_PARENT_PAGE" val="0_1"/>
  <p:tag name="KSO_WM_UNIT_DECOLORIZATION" val="1"/>
</p:tagLst>
</file>

<file path=ppt/tags/tag49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2"/>
  <p:tag name="KSO_WM_UNIT_ID" val="diagram20194755_1*i*42"/>
  <p:tag name="KSO_WM_TEMPLATE_CATEGORY" val="diagram"/>
  <p:tag name="KSO_WM_TEMPLATE_INDEX" val="20194755"/>
  <p:tag name="KSO_WM_UNIT_LAYERLEVEL" val="1"/>
  <p:tag name="KSO_WM_TAG_VERSION" val="1.0"/>
  <p:tag name="KSO_WM_BEAUTIFY_FLAG" val="#wm#"/>
  <p:tag name="KSO_WM_UNIT_COLOR_SCHEME_SHAPE_ID" val="52"/>
  <p:tag name="KSO_WM_UNIT_COLOR_SCHEME_PARENT_PAGE" val="0_1"/>
  <p:tag name="KSO_WM_UNIT_DECOLORIZATION" val="1"/>
</p:tagLst>
</file>

<file path=ppt/tags/tag49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3"/>
  <p:tag name="KSO_WM_UNIT_ID" val="diagram20194755_1*i*43"/>
  <p:tag name="KSO_WM_TEMPLATE_CATEGORY" val="diagram"/>
  <p:tag name="KSO_WM_TEMPLATE_INDEX" val="20194755"/>
  <p:tag name="KSO_WM_UNIT_LAYERLEVEL" val="1"/>
  <p:tag name="KSO_WM_TAG_VERSION" val="1.0"/>
  <p:tag name="KSO_WM_BEAUTIFY_FLAG" val="#wm#"/>
  <p:tag name="KSO_WM_UNIT_COLOR_SCHEME_SHAPE_ID" val="53"/>
  <p:tag name="KSO_WM_UNIT_COLOR_SCHEME_PARENT_PAGE" val="0_1"/>
  <p:tag name="KSO_WM_UNIT_DECOLORIZATION" val="1"/>
</p:tagLst>
</file>

<file path=ppt/tags/tag49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4"/>
  <p:tag name="KSO_WM_UNIT_ID" val="diagram20194755_1*i*44"/>
  <p:tag name="KSO_WM_TEMPLATE_CATEGORY" val="diagram"/>
  <p:tag name="KSO_WM_TEMPLATE_INDEX" val="20194755"/>
  <p:tag name="KSO_WM_UNIT_LAYERLEVEL" val="1"/>
  <p:tag name="KSO_WM_TAG_VERSION" val="1.0"/>
  <p:tag name="KSO_WM_BEAUTIFY_FLAG" val="#wm#"/>
  <p:tag name="KSO_WM_UNIT_COLOR_SCHEME_SHAPE_ID" val="54"/>
  <p:tag name="KSO_WM_UNIT_COLOR_SCHEME_PARENT_PAGE" val="0_1"/>
  <p:tag name="KSO_WM_UNIT_DECOLORIZATION" val="1"/>
</p:tagLst>
</file>

<file path=ppt/tags/tag5.xml><?xml version="1.0" encoding="utf-8"?>
<p:tagLst xmlns:p="http://schemas.openxmlformats.org/presentationml/2006/main">
  <p:tag name="THINKCELLSHAPEDONOTDELETE" val="thinkcellActiveDocDoNotDelete"/>
</p:tagLst>
</file>

<file path=ppt/tags/tag5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2"/>
  <p:tag name="KSO_WM_TEMPLATE_CATEGORY" val="diagram"/>
  <p:tag name="KSO_WM_TEMPLATE_INDEX" val="20194848"/>
  <p:tag name="KSO_WM_UNIT_LAYERLEVEL" val="1"/>
  <p:tag name="KSO_WM_TAG_VERSION" val="1.0"/>
  <p:tag name="KSO_WM_BEAUTIFY_FLAG" val="#wm#"/>
  <p:tag name="KSO_WM_UNIT_TYPE" val="i"/>
  <p:tag name="KSO_WM_UNIT_INDEX" val="2"/>
</p:tagLst>
</file>

<file path=ppt/tags/tag50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5"/>
  <p:tag name="KSO_WM_UNIT_ID" val="diagram20194755_1*i*45"/>
  <p:tag name="KSO_WM_TEMPLATE_CATEGORY" val="diagram"/>
  <p:tag name="KSO_WM_TEMPLATE_INDEX" val="20194755"/>
  <p:tag name="KSO_WM_UNIT_LAYERLEVEL" val="1"/>
  <p:tag name="KSO_WM_TAG_VERSION" val="1.0"/>
  <p:tag name="KSO_WM_BEAUTIFY_FLAG" val="#wm#"/>
  <p:tag name="KSO_WM_UNIT_COLOR_SCHEME_SHAPE_ID" val="55"/>
  <p:tag name="KSO_WM_UNIT_COLOR_SCHEME_PARENT_PAGE" val="0_1"/>
  <p:tag name="KSO_WM_UNIT_DECOLORIZATION" val="1"/>
</p:tagLst>
</file>

<file path=ppt/tags/tag50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6"/>
  <p:tag name="KSO_WM_UNIT_ID" val="diagram20194755_1*i*46"/>
  <p:tag name="KSO_WM_TEMPLATE_CATEGORY" val="diagram"/>
  <p:tag name="KSO_WM_TEMPLATE_INDEX" val="20194755"/>
  <p:tag name="KSO_WM_UNIT_LAYERLEVEL" val="1"/>
  <p:tag name="KSO_WM_TAG_VERSION" val="1.0"/>
  <p:tag name="KSO_WM_BEAUTIFY_FLAG" val="#wm#"/>
  <p:tag name="KSO_WM_UNIT_COLOR_SCHEME_SHAPE_ID" val="56"/>
  <p:tag name="KSO_WM_UNIT_COLOR_SCHEME_PARENT_PAGE" val="0_1"/>
  <p:tag name="KSO_WM_UNIT_DECOLORIZATION" val="1"/>
</p:tagLst>
</file>

<file path=ppt/tags/tag50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7"/>
  <p:tag name="KSO_WM_UNIT_ID" val="diagram20194755_1*i*47"/>
  <p:tag name="KSO_WM_TEMPLATE_CATEGORY" val="diagram"/>
  <p:tag name="KSO_WM_TEMPLATE_INDEX" val="20194755"/>
  <p:tag name="KSO_WM_UNIT_LAYERLEVEL" val="1"/>
  <p:tag name="KSO_WM_TAG_VERSION" val="1.0"/>
  <p:tag name="KSO_WM_BEAUTIFY_FLAG" val="#wm#"/>
  <p:tag name="KSO_WM_UNIT_COLOR_SCHEME_SHAPE_ID" val="57"/>
  <p:tag name="KSO_WM_UNIT_COLOR_SCHEME_PARENT_PAGE" val="0_1"/>
  <p:tag name="KSO_WM_UNIT_DECOLORIZATION" val="1"/>
</p:tagLst>
</file>

<file path=ppt/tags/tag50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8"/>
  <p:tag name="KSO_WM_UNIT_ID" val="diagram20194755_1*i*48"/>
  <p:tag name="KSO_WM_TEMPLATE_CATEGORY" val="diagram"/>
  <p:tag name="KSO_WM_TEMPLATE_INDEX" val="20194755"/>
  <p:tag name="KSO_WM_UNIT_LAYERLEVEL" val="1"/>
  <p:tag name="KSO_WM_TAG_VERSION" val="1.0"/>
  <p:tag name="KSO_WM_BEAUTIFY_FLAG" val="#wm#"/>
  <p:tag name="KSO_WM_UNIT_COLOR_SCHEME_SHAPE_ID" val="36"/>
  <p:tag name="KSO_WM_UNIT_COLOR_SCHEME_PARENT_PAGE" val="0_1"/>
  <p:tag name="KSO_WM_UNIT_DECOLORIZATION" val="1"/>
</p:tagLst>
</file>

<file path=ppt/tags/tag50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9"/>
  <p:tag name="KSO_WM_UNIT_ID" val="diagram20194755_1*i*49"/>
  <p:tag name="KSO_WM_TEMPLATE_CATEGORY" val="diagram"/>
  <p:tag name="KSO_WM_TEMPLATE_INDEX" val="20194755"/>
  <p:tag name="KSO_WM_UNIT_LAYERLEVEL" val="1"/>
  <p:tag name="KSO_WM_TAG_VERSION" val="1.0"/>
  <p:tag name="KSO_WM_BEAUTIFY_FLAG" val="#wm#"/>
  <p:tag name="KSO_WM_UNIT_COLOR_SCHEME_SHAPE_ID" val="37"/>
  <p:tag name="KSO_WM_UNIT_COLOR_SCHEME_PARENT_PAGE" val="0_1"/>
  <p:tag name="KSO_WM_UNIT_DECOLORIZATION" val="1"/>
</p:tagLst>
</file>

<file path=ppt/tags/tag50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0"/>
  <p:tag name="KSO_WM_UNIT_ID" val="diagram20194755_1*i*50"/>
  <p:tag name="KSO_WM_TEMPLATE_CATEGORY" val="diagram"/>
  <p:tag name="KSO_WM_TEMPLATE_INDEX" val="20194755"/>
  <p:tag name="KSO_WM_UNIT_LAYERLEVEL" val="1"/>
  <p:tag name="KSO_WM_TAG_VERSION" val="1.0"/>
  <p:tag name="KSO_WM_BEAUTIFY_FLAG" val="#wm#"/>
  <p:tag name="KSO_WM_UNIT_COLOR_SCHEME_SHAPE_ID" val="38"/>
  <p:tag name="KSO_WM_UNIT_COLOR_SCHEME_PARENT_PAGE" val="0_1"/>
  <p:tag name="KSO_WM_UNIT_DECOLORIZATION" val="1"/>
</p:tagLst>
</file>

<file path=ppt/tags/tag50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1"/>
  <p:tag name="KSO_WM_UNIT_ID" val="diagram20194755_1*i*51"/>
  <p:tag name="KSO_WM_TEMPLATE_CATEGORY" val="diagram"/>
  <p:tag name="KSO_WM_TEMPLATE_INDEX" val="20194755"/>
  <p:tag name="KSO_WM_UNIT_LAYERLEVEL" val="1"/>
  <p:tag name="KSO_WM_TAG_VERSION" val="1.0"/>
  <p:tag name="KSO_WM_BEAUTIFY_FLAG" val="#wm#"/>
  <p:tag name="KSO_WM_UNIT_COLOR_SCHEME_SHAPE_ID" val="39"/>
  <p:tag name="KSO_WM_UNIT_COLOR_SCHEME_PARENT_PAGE" val="0_1"/>
  <p:tag name="KSO_WM_UNIT_DECOLORIZATION" val="1"/>
</p:tagLst>
</file>

<file path=ppt/tags/tag50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2"/>
  <p:tag name="KSO_WM_UNIT_ID" val="diagram20194755_1*i*52"/>
  <p:tag name="KSO_WM_TEMPLATE_CATEGORY" val="diagram"/>
  <p:tag name="KSO_WM_TEMPLATE_INDEX" val="20194755"/>
  <p:tag name="KSO_WM_UNIT_LAYERLEVEL" val="1"/>
  <p:tag name="KSO_WM_TAG_VERSION" val="1.0"/>
  <p:tag name="KSO_WM_BEAUTIFY_FLAG" val="#wm#"/>
  <p:tag name="KSO_WM_UNIT_COLOR_SCHEME_SHAPE_ID" val="40"/>
  <p:tag name="KSO_WM_UNIT_COLOR_SCHEME_PARENT_PAGE" val="0_1"/>
  <p:tag name="KSO_WM_UNIT_DECOLORIZATION" val="1"/>
</p:tagLst>
</file>

<file path=ppt/tags/tag50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3"/>
  <p:tag name="KSO_WM_UNIT_ID" val="diagram20194755_1*i*53"/>
  <p:tag name="KSO_WM_TEMPLATE_CATEGORY" val="diagram"/>
  <p:tag name="KSO_WM_TEMPLATE_INDEX" val="20194755"/>
  <p:tag name="KSO_WM_UNIT_LAYERLEVEL" val="1"/>
  <p:tag name="KSO_WM_TAG_VERSION" val="1.0"/>
  <p:tag name="KSO_WM_BEAUTIFY_FLAG" val="#wm#"/>
  <p:tag name="KSO_WM_UNIT_COLOR_SCHEME_SHAPE_ID" val="41"/>
  <p:tag name="KSO_WM_UNIT_COLOR_SCHEME_PARENT_PAGE" val="0_1"/>
  <p:tag name="KSO_WM_UNIT_DECOLORIZATION" val="1"/>
</p:tagLst>
</file>

<file path=ppt/tags/tag50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4"/>
  <p:tag name="KSO_WM_UNIT_ID" val="diagram20194755_1*i*54"/>
  <p:tag name="KSO_WM_TEMPLATE_CATEGORY" val="diagram"/>
  <p:tag name="KSO_WM_TEMPLATE_INDEX" val="20194755"/>
  <p:tag name="KSO_WM_UNIT_LAYERLEVEL" val="1"/>
  <p:tag name="KSO_WM_TAG_VERSION" val="1.0"/>
  <p:tag name="KSO_WM_BEAUTIFY_FLAG" val="#wm#"/>
  <p:tag name="KSO_WM_UNIT_COLOR_SCHEME_SHAPE_ID" val="42"/>
  <p:tag name="KSO_WM_UNIT_COLOR_SCHEME_PARENT_PAGE" val="0_1"/>
  <p:tag name="KSO_WM_UNIT_DECOLORIZATION" val="1"/>
</p:tagLst>
</file>

<file path=ppt/tags/tag5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3"/>
  <p:tag name="KSO_WM_TEMPLATE_CATEGORY" val="diagram"/>
  <p:tag name="KSO_WM_TEMPLATE_INDEX" val="20194848"/>
  <p:tag name="KSO_WM_UNIT_LAYERLEVEL" val="1"/>
  <p:tag name="KSO_WM_TAG_VERSION" val="1.0"/>
  <p:tag name="KSO_WM_BEAUTIFY_FLAG" val="#wm#"/>
  <p:tag name="KSO_WM_UNIT_TYPE" val="i"/>
  <p:tag name="KSO_WM_UNIT_INDEX" val="3"/>
</p:tagLst>
</file>

<file path=ppt/tags/tag51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5"/>
  <p:tag name="KSO_WM_UNIT_ID" val="diagram20194755_1*i*55"/>
  <p:tag name="KSO_WM_TEMPLATE_CATEGORY" val="diagram"/>
  <p:tag name="KSO_WM_TEMPLATE_INDEX" val="20194755"/>
  <p:tag name="KSO_WM_UNIT_LAYERLEVEL" val="1"/>
  <p:tag name="KSO_WM_TAG_VERSION" val="1.0"/>
  <p:tag name="KSO_WM_BEAUTIFY_FLAG" val="#wm#"/>
  <p:tag name="KSO_WM_UNIT_COLOR_SCHEME_SHAPE_ID" val="43"/>
  <p:tag name="KSO_WM_UNIT_COLOR_SCHEME_PARENT_PAGE" val="0_1"/>
  <p:tag name="KSO_WM_UNIT_DECOLORIZATION" val="1"/>
</p:tagLst>
</file>

<file path=ppt/tags/tag51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6"/>
  <p:tag name="KSO_WM_UNIT_ID" val="diagram20194755_1*i*56"/>
  <p:tag name="KSO_WM_TEMPLATE_CATEGORY" val="diagram"/>
  <p:tag name="KSO_WM_TEMPLATE_INDEX" val="20194755"/>
  <p:tag name="KSO_WM_UNIT_LAYERLEVEL" val="1"/>
  <p:tag name="KSO_WM_TAG_VERSION" val="1.0"/>
  <p:tag name="KSO_WM_BEAUTIFY_FLAG" val="#wm#"/>
  <p:tag name="KSO_WM_UNIT_COLOR_SCHEME_SHAPE_ID" val="44"/>
  <p:tag name="KSO_WM_UNIT_COLOR_SCHEME_PARENT_PAGE" val="0_1"/>
  <p:tag name="KSO_WM_UNIT_DECOLORIZATION" val="1"/>
</p:tagLst>
</file>

<file path=ppt/tags/tag51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7"/>
  <p:tag name="KSO_WM_UNIT_ID" val="diagram20194755_1*i*57"/>
  <p:tag name="KSO_WM_TEMPLATE_CATEGORY" val="diagram"/>
  <p:tag name="KSO_WM_TEMPLATE_INDEX" val="20194755"/>
  <p:tag name="KSO_WM_UNIT_LAYERLEVEL" val="1"/>
  <p:tag name="KSO_WM_TAG_VERSION" val="1.0"/>
  <p:tag name="KSO_WM_BEAUTIFY_FLAG" val="#wm#"/>
  <p:tag name="KSO_WM_UNIT_COLOR_SCHEME_SHAPE_ID" val="45"/>
  <p:tag name="KSO_WM_UNIT_COLOR_SCHEME_PARENT_PAGE" val="0_1"/>
  <p:tag name="KSO_WM_UNIT_DECOLORIZATION" val="1"/>
</p:tagLst>
</file>

<file path=ppt/tags/tag51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8"/>
  <p:tag name="KSO_WM_UNIT_ID" val="diagram20194755_1*i*58"/>
  <p:tag name="KSO_WM_TEMPLATE_CATEGORY" val="diagram"/>
  <p:tag name="KSO_WM_TEMPLATE_INDEX" val="20194755"/>
  <p:tag name="KSO_WM_UNIT_LAYERLEVEL" val="1"/>
  <p:tag name="KSO_WM_TAG_VERSION" val="1.0"/>
  <p:tag name="KSO_WM_BEAUTIFY_FLAG" val="#wm#"/>
  <p:tag name="KSO_WM_UNIT_COLOR_SCHEME_SHAPE_ID" val="46"/>
  <p:tag name="KSO_WM_UNIT_COLOR_SCHEME_PARENT_PAGE" val="0_1"/>
  <p:tag name="KSO_WM_UNIT_DECOLORIZATION" val="1"/>
</p:tagLst>
</file>

<file path=ppt/tags/tag51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9"/>
  <p:tag name="KSO_WM_UNIT_ID" val="diagram20194755_1*i*59"/>
  <p:tag name="KSO_WM_TEMPLATE_CATEGORY" val="diagram"/>
  <p:tag name="KSO_WM_TEMPLATE_INDEX" val="20194755"/>
  <p:tag name="KSO_WM_UNIT_LAYERLEVEL" val="1"/>
  <p:tag name="KSO_WM_TAG_VERSION" val="1.0"/>
  <p:tag name="KSO_WM_BEAUTIFY_FLAG" val="#wm#"/>
  <p:tag name="KSO_WM_UNIT_COLOR_SCHEME_SHAPE_ID" val="25"/>
  <p:tag name="KSO_WM_UNIT_COLOR_SCHEME_PARENT_PAGE" val="0_1"/>
  <p:tag name="KSO_WM_UNIT_DECOLORIZATION" val="1"/>
</p:tagLst>
</file>

<file path=ppt/tags/tag51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0"/>
  <p:tag name="KSO_WM_UNIT_ID" val="diagram20194755_1*i*60"/>
  <p:tag name="KSO_WM_TEMPLATE_CATEGORY" val="diagram"/>
  <p:tag name="KSO_WM_TEMPLATE_INDEX" val="20194755"/>
  <p:tag name="KSO_WM_UNIT_LAYERLEVEL" val="1"/>
  <p:tag name="KSO_WM_TAG_VERSION" val="1.0"/>
  <p:tag name="KSO_WM_BEAUTIFY_FLAG" val="#wm#"/>
  <p:tag name="KSO_WM_UNIT_COLOR_SCHEME_SHAPE_ID" val="26"/>
  <p:tag name="KSO_WM_UNIT_COLOR_SCHEME_PARENT_PAGE" val="0_1"/>
  <p:tag name="KSO_WM_UNIT_DECOLORIZATION" val="1"/>
</p:tagLst>
</file>

<file path=ppt/tags/tag51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1"/>
  <p:tag name="KSO_WM_UNIT_ID" val="diagram20194755_1*i*61"/>
  <p:tag name="KSO_WM_TEMPLATE_CATEGORY" val="diagram"/>
  <p:tag name="KSO_WM_TEMPLATE_INDEX" val="20194755"/>
  <p:tag name="KSO_WM_UNIT_LAYERLEVEL" val="1"/>
  <p:tag name="KSO_WM_TAG_VERSION" val="1.0"/>
  <p:tag name="KSO_WM_BEAUTIFY_FLAG" val="#wm#"/>
  <p:tag name="KSO_WM_UNIT_COLOR_SCHEME_SHAPE_ID" val="27"/>
  <p:tag name="KSO_WM_UNIT_COLOR_SCHEME_PARENT_PAGE" val="0_1"/>
  <p:tag name="KSO_WM_UNIT_DECOLORIZATION" val="1"/>
</p:tagLst>
</file>

<file path=ppt/tags/tag51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2"/>
  <p:tag name="KSO_WM_UNIT_ID" val="diagram20194755_1*i*62"/>
  <p:tag name="KSO_WM_TEMPLATE_CATEGORY" val="diagram"/>
  <p:tag name="KSO_WM_TEMPLATE_INDEX" val="20194755"/>
  <p:tag name="KSO_WM_UNIT_LAYERLEVEL" val="1"/>
  <p:tag name="KSO_WM_TAG_VERSION" val="1.0"/>
  <p:tag name="KSO_WM_BEAUTIFY_FLAG" val="#wm#"/>
  <p:tag name="KSO_WM_UNIT_COLOR_SCHEME_SHAPE_ID" val="28"/>
  <p:tag name="KSO_WM_UNIT_COLOR_SCHEME_PARENT_PAGE" val="0_1"/>
  <p:tag name="KSO_WM_UNIT_DECOLORIZATION" val="1"/>
</p:tagLst>
</file>

<file path=ppt/tags/tag51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3"/>
  <p:tag name="KSO_WM_UNIT_ID" val="diagram20194755_1*i*63"/>
  <p:tag name="KSO_WM_TEMPLATE_CATEGORY" val="diagram"/>
  <p:tag name="KSO_WM_TEMPLATE_INDEX" val="20194755"/>
  <p:tag name="KSO_WM_UNIT_LAYERLEVEL" val="1"/>
  <p:tag name="KSO_WM_TAG_VERSION" val="1.0"/>
  <p:tag name="KSO_WM_BEAUTIFY_FLAG" val="#wm#"/>
  <p:tag name="KSO_WM_UNIT_COLOR_SCHEME_SHAPE_ID" val="29"/>
  <p:tag name="KSO_WM_UNIT_COLOR_SCHEME_PARENT_PAGE" val="0_1"/>
  <p:tag name="KSO_WM_UNIT_DECOLORIZATION" val="1"/>
</p:tagLst>
</file>

<file path=ppt/tags/tag51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4"/>
  <p:tag name="KSO_WM_UNIT_ID" val="diagram20194755_1*i*64"/>
  <p:tag name="KSO_WM_TEMPLATE_CATEGORY" val="diagram"/>
  <p:tag name="KSO_WM_TEMPLATE_INDEX" val="20194755"/>
  <p:tag name="KSO_WM_UNIT_LAYERLEVEL" val="1"/>
  <p:tag name="KSO_WM_TAG_VERSION" val="1.0"/>
  <p:tag name="KSO_WM_BEAUTIFY_FLAG" val="#wm#"/>
  <p:tag name="KSO_WM_UNIT_COLOR_SCHEME_SHAPE_ID" val="30"/>
  <p:tag name="KSO_WM_UNIT_COLOR_SCHEME_PARENT_PAGE" val="0_1"/>
  <p:tag name="KSO_WM_UNIT_DECOLORIZATION" val="1"/>
</p:tagLst>
</file>

<file path=ppt/tags/tag5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4"/>
  <p:tag name="KSO_WM_TEMPLATE_CATEGORY" val="diagram"/>
  <p:tag name="KSO_WM_TEMPLATE_INDEX" val="20194848"/>
  <p:tag name="KSO_WM_UNIT_LAYERLEVEL" val="1"/>
  <p:tag name="KSO_WM_TAG_VERSION" val="1.0"/>
  <p:tag name="KSO_WM_BEAUTIFY_FLAG" val="#wm#"/>
  <p:tag name="KSO_WM_UNIT_TYPE" val="i"/>
  <p:tag name="KSO_WM_UNIT_INDEX" val="4"/>
</p:tagLst>
</file>

<file path=ppt/tags/tag52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5"/>
  <p:tag name="KSO_WM_UNIT_ID" val="diagram20194755_1*i*65"/>
  <p:tag name="KSO_WM_TEMPLATE_CATEGORY" val="diagram"/>
  <p:tag name="KSO_WM_TEMPLATE_INDEX" val="20194755"/>
  <p:tag name="KSO_WM_UNIT_LAYERLEVEL" val="1"/>
  <p:tag name="KSO_WM_TAG_VERSION" val="1.0"/>
  <p:tag name="KSO_WM_BEAUTIFY_FLAG" val="#wm#"/>
  <p:tag name="KSO_WM_UNIT_COLOR_SCHEME_SHAPE_ID" val="31"/>
  <p:tag name="KSO_WM_UNIT_COLOR_SCHEME_PARENT_PAGE" val="0_1"/>
  <p:tag name="KSO_WM_UNIT_DECOLORIZATION" val="1"/>
</p:tagLst>
</file>

<file path=ppt/tags/tag52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6"/>
  <p:tag name="KSO_WM_UNIT_ID" val="diagram20194755_1*i*66"/>
  <p:tag name="KSO_WM_TEMPLATE_CATEGORY" val="diagram"/>
  <p:tag name="KSO_WM_TEMPLATE_INDEX" val="20194755"/>
  <p:tag name="KSO_WM_UNIT_LAYERLEVEL" val="1"/>
  <p:tag name="KSO_WM_TAG_VERSION" val="1.0"/>
  <p:tag name="KSO_WM_BEAUTIFY_FLAG" val="#wm#"/>
  <p:tag name="KSO_WM_UNIT_COLOR_SCHEME_SHAPE_ID" val="32"/>
  <p:tag name="KSO_WM_UNIT_COLOR_SCHEME_PARENT_PAGE" val="0_1"/>
  <p:tag name="KSO_WM_UNIT_DECOLORIZATION" val="1"/>
</p:tagLst>
</file>

<file path=ppt/tags/tag52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7"/>
  <p:tag name="KSO_WM_UNIT_ID" val="diagram20194755_1*i*67"/>
  <p:tag name="KSO_WM_TEMPLATE_CATEGORY" val="diagram"/>
  <p:tag name="KSO_WM_TEMPLATE_INDEX" val="20194755"/>
  <p:tag name="KSO_WM_UNIT_LAYERLEVEL" val="1"/>
  <p:tag name="KSO_WM_TAG_VERSION" val="1.0"/>
  <p:tag name="KSO_WM_BEAUTIFY_FLAG" val="#wm#"/>
  <p:tag name="KSO_WM_UNIT_COLOR_SCHEME_SHAPE_ID" val="33"/>
  <p:tag name="KSO_WM_UNIT_COLOR_SCHEME_PARENT_PAGE" val="0_1"/>
  <p:tag name="KSO_WM_UNIT_DECOLORIZATION" val="1"/>
</p:tagLst>
</file>

<file path=ppt/tags/tag52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8"/>
  <p:tag name="KSO_WM_UNIT_ID" val="diagram20194755_1*i*68"/>
  <p:tag name="KSO_WM_TEMPLATE_CATEGORY" val="diagram"/>
  <p:tag name="KSO_WM_TEMPLATE_INDEX" val="20194755"/>
  <p:tag name="KSO_WM_UNIT_LAYERLEVEL" val="1"/>
  <p:tag name="KSO_WM_TAG_VERSION" val="1.0"/>
  <p:tag name="KSO_WM_BEAUTIFY_FLAG" val="#wm#"/>
  <p:tag name="KSO_WM_UNIT_COLOR_SCHEME_SHAPE_ID" val="34"/>
  <p:tag name="KSO_WM_UNIT_COLOR_SCHEME_PARENT_PAGE" val="0_1"/>
  <p:tag name="KSO_WM_UNIT_DECOLORIZATION" val="1"/>
</p:tagLst>
</file>

<file path=ppt/tags/tag52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9"/>
  <p:tag name="KSO_WM_UNIT_ID" val="diagram20194755_1*i*69"/>
  <p:tag name="KSO_WM_TEMPLATE_CATEGORY" val="diagram"/>
  <p:tag name="KSO_WM_TEMPLATE_INDEX" val="20194755"/>
  <p:tag name="KSO_WM_UNIT_LAYERLEVEL" val="1"/>
  <p:tag name="KSO_WM_TAG_VERSION" val="1.0"/>
  <p:tag name="KSO_WM_BEAUTIFY_FLAG" val="#wm#"/>
  <p:tag name="KSO_WM_UNIT_COLOR_SCHEME_SHAPE_ID" val="35"/>
  <p:tag name="KSO_WM_UNIT_COLOR_SCHEME_PARENT_PAGE" val="0_1"/>
  <p:tag name="KSO_WM_UNIT_DECOLORIZATION" val="1"/>
</p:tagLst>
</file>

<file path=ppt/tags/tag525.xml><?xml version="1.0" encoding="utf-8"?>
<p:tagLst xmlns:p="http://schemas.openxmlformats.org/presentationml/2006/main">
  <p:tag name="KSO_WM_UNIT_TEXT_PART_ID_V2" val="d-4-2"/>
  <p:tag name="KSO_WM_UNIT_PRESET_TEXT" val="单击此处添加小标题：&#13;点击此处添加正文，文字是您思想的提炼，为了最终演示发布的良好效果，请尽量言简意赅的阐述观点；根据需要可酌情增减文字，以便观者可以准确理解您所传达的信息。您的正文已经简明扼要，字字珠玑，但信息却千丝万缕、错综复杂，需要用更多的文字来表述；但请您尽可能提炼思想的精髓，恰如其分的表达观点，往往可以事半功倍。&#13;我们为您  标注了最  适合的位  置您输入  的文字到  这里时就  是最佳视&#13;为了能让  您有更直  观的字数  感受并进  一步方便    &#13;单击此处添加小标题：&#13;点击此处添加正文，文字是您思想的提炼，为了最终演示发布的良好效果，请尽量言简意赅。"/>
  <p:tag name="KSO_WM_UNIT_NOCLEAR" val="1"/>
  <p:tag name="KSO_WM_UNIT_VALUE" val="468"/>
  <p:tag name="KSO_WM_UNIT_HIGHLIGHT" val="0"/>
  <p:tag name="KSO_WM_UNIT_COMPATIBLE" val="0"/>
  <p:tag name="KSO_WM_UNIT_DIAGRAM_ISNUMVISUAL" val="0"/>
  <p:tag name="KSO_WM_UNIT_DIAGRAM_ISREFERUNIT" val="0"/>
  <p:tag name="KSO_WM_UNIT_TYPE" val="f"/>
  <p:tag name="KSO_WM_UNIT_INDEX" val="1"/>
  <p:tag name="KSO_WM_UNIT_ID" val="diagram20194755_1*f*1"/>
  <p:tag name="KSO_WM_TEMPLATE_CATEGORY" val="diagram"/>
  <p:tag name="KSO_WM_TEMPLATE_INDEX" val="20194755"/>
  <p:tag name="KSO_WM_UNIT_LAYERLEVEL" val="1"/>
  <p:tag name="KSO_WM_TAG_VERSION" val="1.0"/>
  <p:tag name="KSO_WM_BEAUTIFY_FLAG" val="#wm#"/>
  <p:tag name="KSO_WM_UNIT_COLOR_SCHEME_SHAPE_ID" val="2"/>
  <p:tag name="KSO_WM_UNIT_COLOR_SCHEME_PARENT_PAGE" val="0_1"/>
</p:tagLst>
</file>

<file path=ppt/tags/tag52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71"/>
  <p:tag name="KSO_WM_UNIT_ID" val="diagram20194755_1*i*71"/>
  <p:tag name="KSO_WM_TEMPLATE_CATEGORY" val="diagram"/>
  <p:tag name="KSO_WM_TEMPLATE_INDEX" val="20194755"/>
  <p:tag name="KSO_WM_UNIT_LAYERLEVEL" val="1"/>
  <p:tag name="KSO_WM_TAG_VERSION" val="1.0"/>
  <p:tag name="KSO_WM_BEAUTIFY_FLAG" val="#wm#"/>
  <p:tag name="KSO_WM_UNIT_COLOR_SCHEME_SHAPE_ID" val="14"/>
  <p:tag name="KSO_WM_UNIT_COLOR_SCHEME_PARENT_PAGE" val="0_1"/>
</p:tagLst>
</file>

<file path=ppt/tags/tag52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72"/>
  <p:tag name="KSO_WM_UNIT_ID" val="diagram20194755_1*i*72"/>
  <p:tag name="KSO_WM_TEMPLATE_CATEGORY" val="diagram"/>
  <p:tag name="KSO_WM_TEMPLATE_INDEX" val="20194755"/>
  <p:tag name="KSO_WM_UNIT_LAYERLEVEL" val="1"/>
  <p:tag name="KSO_WM_TAG_VERSION" val="1.0"/>
  <p:tag name="KSO_WM_BEAUTIFY_FLAG" val="#wm#"/>
  <p:tag name="KSO_WM_UNIT_COLOR_SCHEME_SHAPE_ID" val="15"/>
  <p:tag name="KSO_WM_UNIT_COLOR_SCHEME_PARENT_PAGE" val="0_1"/>
</p:tagLst>
</file>

<file path=ppt/tags/tag52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73"/>
  <p:tag name="KSO_WM_UNIT_ID" val="diagram20194755_1*i*73"/>
  <p:tag name="KSO_WM_TEMPLATE_CATEGORY" val="diagram"/>
  <p:tag name="KSO_WM_TEMPLATE_INDEX" val="20194755"/>
  <p:tag name="KSO_WM_UNIT_LAYERLEVEL" val="1"/>
  <p:tag name="KSO_WM_TAG_VERSION" val="1.0"/>
  <p:tag name="KSO_WM_BEAUTIFY_FLAG" val="#wm#"/>
  <p:tag name="KSO_WM_UNIT_COLOR_SCHEME_SHAPE_ID" val="12"/>
  <p:tag name="KSO_WM_UNIT_COLOR_SCHEME_PARENT_PAGE" val="0_1"/>
</p:tagLst>
</file>

<file path=ppt/tags/tag52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74"/>
  <p:tag name="KSO_WM_UNIT_ID" val="diagram20194755_1*i*74"/>
  <p:tag name="KSO_WM_TEMPLATE_CATEGORY" val="diagram"/>
  <p:tag name="KSO_WM_TEMPLATE_INDEX" val="20194755"/>
  <p:tag name="KSO_WM_UNIT_LAYERLEVEL" val="1"/>
  <p:tag name="KSO_WM_TAG_VERSION" val="1.0"/>
  <p:tag name="KSO_WM_BEAUTIFY_FLAG" val="#wm#"/>
  <p:tag name="KSO_WM_UNIT_COLOR_SCHEME_SHAPE_ID" val="13"/>
  <p:tag name="KSO_WM_UNIT_COLOR_SCHEME_PARENT_PAGE" val="0_1"/>
</p:tagLst>
</file>

<file path=ppt/tags/tag53.xml><?xml version="1.0" encoding="utf-8"?>
<p:tagLst xmlns:p="http://schemas.openxmlformats.org/presentationml/2006/main">
  <p:tag name="KSO_WM_UNIT_ISCONTENTSTITLE" val="0"/>
  <p:tag name="KSO_WM_UNIT_PRESET_TEXT" val="此处可添加您的大标题内容"/>
  <p:tag name="KSO_WM_UNIT_TEXT_PART_ID" val="2-X"/>
  <p:tag name="KSO_WM_UNIT_TEXT_PART_SIZE" val="49.2*559"/>
  <p:tag name="KSO_WM_UNIT_VALUE" val="26"/>
  <p:tag name="KSO_WM_UNIT_HIGHLIGHT" val="0"/>
  <p:tag name="KSO_WM_UNIT_COMPATIBLE" val="0"/>
  <p:tag name="KSO_WM_UNIT_DIAGRAM_ISNUMVISUAL" val="0"/>
  <p:tag name="KSO_WM_UNIT_DIAGRAM_ISREFERUNIT" val="0"/>
  <p:tag name="KSO_WM_UNIT_TYPE" val="a"/>
  <p:tag name="KSO_WM_UNIT_INDEX" val="1"/>
  <p:tag name="KSO_WM_UNIT_ID" val="diagram20194848_1*a*1"/>
  <p:tag name="KSO_WM_TEMPLATE_CATEGORY" val="diagram"/>
  <p:tag name="KSO_WM_TEMPLATE_INDEX" val="20194848"/>
  <p:tag name="KSO_WM_UNIT_LAYERLEVEL" val="1"/>
  <p:tag name="KSO_WM_TAG_VERSION" val="1.0"/>
  <p:tag name="KSO_WM_BEAUTIFY_FLAG" val="#wm#"/>
  <p:tag name="KSO_WM_UNIT_NOCLEAR" val="0"/>
  <p:tag name="KSO_WM_UNIT_TEXT_PART_ID_V2" val="a-3-1"/>
</p:tagLst>
</file>

<file path=ppt/tags/tag530.xml><?xml version="1.0" encoding="utf-8"?>
<p:tagLst xmlns:p="http://schemas.openxmlformats.org/presentationml/2006/main">
  <p:tag name="KSO_WM_SLIDE_ID" val="diagram20194755_1"/>
  <p:tag name="KSO_WM_SLIDE_ITEM_CNT" val="0"/>
  <p:tag name="KSO_WM_SLIDE_INDEX" val="1"/>
  <p:tag name="KSO_WM_TAG_VERSION" val="1.0"/>
  <p:tag name="KSO_WM_BEAUTIFY_FLAG" val="#wm#"/>
  <p:tag name="KSO_WM_TEMPLATE_CATEGORY" val="diagram"/>
  <p:tag name="KSO_WM_TEMPLATE_INDEX" val="20194755"/>
  <p:tag name="KSO_WM_SLIDE_LAYOUT" val="a_f"/>
  <p:tag name="KSO_WM_SLIDE_LAYOUT_CNT" val="1_1"/>
  <p:tag name="KSO_WM_SLIDE_TYPE" val="text"/>
  <p:tag name="KSO_WM_SLIDE_SUBTYPE" val="pureTxt"/>
  <p:tag name="KSO_WM_SLIDE_SIZE" val="928*474"/>
  <p:tag name="KSO_WM_SLIDE_POSITION" val="26*50"/>
  <p:tag name="KSO_WM_SLIDE_COLORSCHEME_VERSION" val="3.2"/>
</p:tagLst>
</file>

<file path=ppt/tags/tag53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
  <p:tag name="KSO_WM_UNIT_ID" val="diagram20194720_1*i*1"/>
  <p:tag name="KSO_WM_TEMPLATE_CATEGORY" val="diagram"/>
  <p:tag name="KSO_WM_TEMPLATE_INDEX" val="20194720"/>
  <p:tag name="KSO_WM_UNIT_LAYERLEVEL" val="1"/>
  <p:tag name="KSO_WM_TAG_VERSION" val="1.0"/>
  <p:tag name="KSO_WM_BEAUTIFY_FLAG" val="#wm#"/>
  <p:tag name="KSO_WM_UNIT_COLOR_SCHEME_SHAPE_ID" val="5"/>
  <p:tag name="KSO_WM_UNIT_COLOR_SCHEME_PARENT_PAGE" val="0_1"/>
  <p:tag name="KSO_WM_UNIT_DECOLORIZATION" val="1"/>
</p:tagLst>
</file>

<file path=ppt/tags/tag53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
  <p:tag name="KSO_WM_UNIT_ID" val="diagram20194720_1*i*2"/>
  <p:tag name="KSO_WM_TEMPLATE_CATEGORY" val="diagram"/>
  <p:tag name="KSO_WM_TEMPLATE_INDEX" val="20194720"/>
  <p:tag name="KSO_WM_UNIT_LAYERLEVEL" val="1"/>
  <p:tag name="KSO_WM_TAG_VERSION" val="1.0"/>
  <p:tag name="KSO_WM_BEAUTIFY_FLAG" val="#wm#"/>
  <p:tag name="KSO_WM_UNIT_COLOR_SCHEME_SHAPE_ID" val="6"/>
  <p:tag name="KSO_WM_UNIT_COLOR_SCHEME_PARENT_PAGE" val="0_1"/>
</p:tagLst>
</file>

<file path=ppt/tags/tag53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
  <p:tag name="KSO_WM_UNIT_ID" val="diagram20194720_1*i*3"/>
  <p:tag name="KSO_WM_TEMPLATE_CATEGORY" val="diagram"/>
  <p:tag name="KSO_WM_TEMPLATE_INDEX" val="20194720"/>
  <p:tag name="KSO_WM_UNIT_LAYERLEVEL" val="1"/>
  <p:tag name="KSO_WM_TAG_VERSION" val="1.0"/>
  <p:tag name="KSO_WM_BEAUTIFY_FLAG" val="#wm#"/>
  <p:tag name="KSO_WM_UNIT_COLOR_SCHEME_SHAPE_ID" val="7"/>
  <p:tag name="KSO_WM_UNIT_COLOR_SCHEME_PARENT_PAGE" val="0_1"/>
  <p:tag name="KSO_WM_UNIT_FOIL_COLOR" val="1"/>
</p:tagLst>
</file>

<file path=ppt/tags/tag53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
  <p:tag name="KSO_WM_UNIT_ID" val="diagram20194720_1*i*4"/>
  <p:tag name="KSO_WM_TEMPLATE_CATEGORY" val="diagram"/>
  <p:tag name="KSO_WM_TEMPLATE_INDEX" val="20194720"/>
  <p:tag name="KSO_WM_UNIT_LAYERLEVEL" val="1"/>
  <p:tag name="KSO_WM_TAG_VERSION" val="1.0"/>
  <p:tag name="KSO_WM_BEAUTIFY_FLAG" val="#wm#"/>
  <p:tag name="KSO_WM_UNIT_COLOR_SCHEME_SHAPE_ID" val="8"/>
  <p:tag name="KSO_WM_UNIT_COLOR_SCHEME_PARENT_PAGE" val="0_1"/>
</p:tagLst>
</file>

<file path=ppt/tags/tag535.xml><?xml version="1.0" encoding="utf-8"?>
<p:tagLst xmlns:p="http://schemas.openxmlformats.org/presentationml/2006/main">
  <p:tag name="KSO_WM_UNIT_TEXT_PART_ID_V2" val="d-2-2"/>
  <p:tag name="KSO_WM_UNIT_PRESET_TEXT" val="单击此处添加小标题:&#13;点击此处添加正文文字是您思想的提炼。&#13;为了最终呈现发布的良好效果，请言简意赅的阐述您的观点，并根据需要酌情增减文字即便信息复杂，需要用更多的文字来表。&#13;述请您尽可能提炼思想的精髓。&#13;恰如其分的表达观点，往往事半功倍。"/>
  <p:tag name="KSO_WM_UNIT_NOCLEAR" val="1"/>
  <p:tag name="KSO_WM_UNIT_VALUE" val="182"/>
  <p:tag name="KSO_WM_UNIT_HIGHLIGHT" val="0"/>
  <p:tag name="KSO_WM_UNIT_COMPATIBLE" val="0"/>
  <p:tag name="KSO_WM_UNIT_DIAGRAM_ISNUMVISUAL" val="0"/>
  <p:tag name="KSO_WM_UNIT_DIAGRAM_ISREFERUNIT" val="0"/>
  <p:tag name="KSO_WM_UNIT_TYPE" val="f"/>
  <p:tag name="KSO_WM_UNIT_INDEX" val="1"/>
  <p:tag name="KSO_WM_UNIT_ID" val="diagram20194720_1*f*1"/>
  <p:tag name="KSO_WM_TEMPLATE_CATEGORY" val="diagram"/>
  <p:tag name="KSO_WM_TEMPLATE_INDEX" val="20194720"/>
  <p:tag name="KSO_WM_UNIT_LAYERLEVEL" val="1"/>
  <p:tag name="KSO_WM_TAG_VERSION" val="1.0"/>
  <p:tag name="KSO_WM_BEAUTIFY_FLAG" val="#wm#"/>
  <p:tag name="KSO_WM_UNIT_COLOR_SCHEME_SHAPE_ID" val="3"/>
  <p:tag name="KSO_WM_UNIT_COLOR_SCHEME_PARENT_PAGE" val="0_1"/>
</p:tagLst>
</file>

<file path=ppt/tags/tag536.xml><?xml version="1.0" encoding="utf-8"?>
<p:tagLst xmlns:p="http://schemas.openxmlformats.org/presentationml/2006/main">
  <p:tag name="KSO_WM_UNIT_TEXT_PART_ID_V2" val="a-3-2"/>
  <p:tag name="KSO_WM_UNIT_ISCONTENTSTITLE" val="0"/>
  <p:tag name="KSO_WM_UNIT_PRESET_TEXT" val="单击添加大标题"/>
  <p:tag name="KSO_WM_UNIT_NOCLEAR" val="0"/>
  <p:tag name="KSO_WM_UNIT_VALUE" val="17"/>
  <p:tag name="KSO_WM_UNIT_HIGHLIGHT" val="0"/>
  <p:tag name="KSO_WM_UNIT_COMPATIBLE" val="0"/>
  <p:tag name="KSO_WM_UNIT_DIAGRAM_ISNUMVISUAL" val="0"/>
  <p:tag name="KSO_WM_UNIT_DIAGRAM_ISREFERUNIT" val="0"/>
  <p:tag name="KSO_WM_UNIT_TYPE" val="a"/>
  <p:tag name="KSO_WM_UNIT_INDEX" val="1"/>
  <p:tag name="KSO_WM_UNIT_ID" val="diagram20194720_1*a*1"/>
  <p:tag name="KSO_WM_TEMPLATE_CATEGORY" val="diagram"/>
  <p:tag name="KSO_WM_TEMPLATE_INDEX" val="20194720"/>
  <p:tag name="KSO_WM_UNIT_LAYERLEVEL" val="1"/>
  <p:tag name="KSO_WM_TAG_VERSION" val="1.0"/>
  <p:tag name="KSO_WM_BEAUTIFY_FLAG" val="#wm#"/>
  <p:tag name="KSO_WM_UNIT_COLOR_SCHEME_SHAPE_ID" val="10"/>
  <p:tag name="KSO_WM_UNIT_COLOR_SCHEME_PARENT_PAGE" val="0_1"/>
</p:tagLst>
</file>

<file path=ppt/tags/tag537.xml><?xml version="1.0" encoding="utf-8"?>
<p:tagLst xmlns:p="http://schemas.openxmlformats.org/presentationml/2006/main">
  <p:tag name="KSO_WM_SLIDE_ID" val="diagram20194720_1"/>
  <p:tag name="KSO_WM_SLIDE_ITEM_CNT" val="0"/>
  <p:tag name="KSO_WM_SLIDE_INDEX" val="1"/>
  <p:tag name="KSO_WM_TAG_VERSION" val="1.0"/>
  <p:tag name="KSO_WM_BEAUTIFY_FLAG" val="#wm#"/>
  <p:tag name="KSO_WM_TEMPLATE_CATEGORY" val="diagram"/>
  <p:tag name="KSO_WM_TEMPLATE_INDEX" val="20194720"/>
  <p:tag name="KSO_WM_SLIDE_LAYOUT" val="a_f"/>
  <p:tag name="KSO_WM_SLIDE_LAYOUT_CNT" val="1_1"/>
  <p:tag name="KSO_WM_SLIDE_TYPE" val="text"/>
  <p:tag name="KSO_WM_SLIDE_SUBTYPE" val="pureTxt"/>
  <p:tag name="KSO_WM_SLIDE_SIZE" val="817*432"/>
  <p:tag name="KSO_WM_SLIDE_POSITION" val="45*54"/>
  <p:tag name="KSO_WM_SLIDE_COLORSCHEME_VERSION" val="3.2"/>
  <p:tag name="KSO_WM_TEMPLATE_SUBCATEGORY" val="0"/>
</p:tagLst>
</file>

<file path=ppt/tags/tag538.xml><?xml version="1.0" encoding="utf-8"?>
<p:tagLst xmlns:p="http://schemas.openxmlformats.org/presentationml/2006/main">
  <p:tag name="KSO_WM_UNIT_LARGE_SHAPE" val="1"/>
  <p:tag name="KSO_WM_UNIT_HIGHLIGHT" val="0"/>
  <p:tag name="KSO_WM_UNIT_COMPATIBLE" val="0"/>
  <p:tag name="KSO_WM_UNIT_DIAGRAM_ISNUMVISUAL" val="0"/>
  <p:tag name="KSO_WM_UNIT_DIAGRAM_ISREFERUNIT" val="0"/>
  <p:tag name="KSO_WM_UNIT_ID" val="diagram20194848_1*i*1"/>
  <p:tag name="KSO_WM_TEMPLATE_CATEGORY" val="diagram"/>
  <p:tag name="KSO_WM_TEMPLATE_INDEX" val="20194848"/>
  <p:tag name="KSO_WM_UNIT_LAYERLEVEL" val="1"/>
  <p:tag name="KSO_WM_TAG_VERSION" val="1.0"/>
  <p:tag name="KSO_WM_BEAUTIFY_FLAG" val="#wm#"/>
  <p:tag name="KSO_WM_UNIT_TYPE" val="i"/>
  <p:tag name="KSO_WM_UNIT_INDEX" val="1"/>
</p:tagLst>
</file>

<file path=ppt/tags/tag53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2"/>
  <p:tag name="KSO_WM_TEMPLATE_CATEGORY" val="diagram"/>
  <p:tag name="KSO_WM_TEMPLATE_INDEX" val="20194848"/>
  <p:tag name="KSO_WM_UNIT_LAYERLEVEL" val="1"/>
  <p:tag name="KSO_WM_TAG_VERSION" val="1.0"/>
  <p:tag name="KSO_WM_BEAUTIFY_FLAG" val="#wm#"/>
  <p:tag name="KSO_WM_UNIT_TYPE" val="i"/>
  <p:tag name="KSO_WM_UNIT_INDEX" val="2"/>
</p:tagLst>
</file>

<file path=ppt/tags/tag5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5"/>
  <p:tag name="KSO_WM_TEMPLATE_CATEGORY" val="diagram"/>
  <p:tag name="KSO_WM_TEMPLATE_INDEX" val="20194848"/>
  <p:tag name="KSO_WM_UNIT_LAYERLEVEL" val="1"/>
  <p:tag name="KSO_WM_TAG_VERSION" val="1.0"/>
  <p:tag name="KSO_WM_BEAUTIFY_FLAG" val="#wm#"/>
  <p:tag name="KSO_WM_UNIT_TYPE" val="i"/>
  <p:tag name="KSO_WM_UNIT_INDEX" val="5"/>
</p:tagLst>
</file>

<file path=ppt/tags/tag54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3"/>
  <p:tag name="KSO_WM_TEMPLATE_CATEGORY" val="diagram"/>
  <p:tag name="KSO_WM_TEMPLATE_INDEX" val="20194848"/>
  <p:tag name="KSO_WM_UNIT_LAYERLEVEL" val="1"/>
  <p:tag name="KSO_WM_TAG_VERSION" val="1.0"/>
  <p:tag name="KSO_WM_BEAUTIFY_FLAG" val="#wm#"/>
  <p:tag name="KSO_WM_UNIT_TYPE" val="i"/>
  <p:tag name="KSO_WM_UNIT_INDEX" val="3"/>
</p:tagLst>
</file>

<file path=ppt/tags/tag54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4"/>
  <p:tag name="KSO_WM_TEMPLATE_CATEGORY" val="diagram"/>
  <p:tag name="KSO_WM_TEMPLATE_INDEX" val="20194848"/>
  <p:tag name="KSO_WM_UNIT_LAYERLEVEL" val="1"/>
  <p:tag name="KSO_WM_TAG_VERSION" val="1.0"/>
  <p:tag name="KSO_WM_BEAUTIFY_FLAG" val="#wm#"/>
  <p:tag name="KSO_WM_UNIT_TYPE" val="i"/>
  <p:tag name="KSO_WM_UNIT_INDEX" val="4"/>
</p:tagLst>
</file>

<file path=ppt/tags/tag542.xml><?xml version="1.0" encoding="utf-8"?>
<p:tagLst xmlns:p="http://schemas.openxmlformats.org/presentationml/2006/main">
  <p:tag name="KSO_WM_UNIT_ISCONTENTSTITLE" val="0"/>
  <p:tag name="KSO_WM_UNIT_PRESET_TEXT" val="此处可添加您的大标题内容"/>
  <p:tag name="KSO_WM_UNIT_TEXT_PART_ID" val="2-X"/>
  <p:tag name="KSO_WM_UNIT_TEXT_PART_SIZE" val="49.2*559"/>
  <p:tag name="KSO_WM_UNIT_VALUE" val="26"/>
  <p:tag name="KSO_WM_UNIT_HIGHLIGHT" val="0"/>
  <p:tag name="KSO_WM_UNIT_COMPATIBLE" val="0"/>
  <p:tag name="KSO_WM_UNIT_DIAGRAM_ISNUMVISUAL" val="0"/>
  <p:tag name="KSO_WM_UNIT_DIAGRAM_ISREFERUNIT" val="0"/>
  <p:tag name="KSO_WM_UNIT_TYPE" val="a"/>
  <p:tag name="KSO_WM_UNIT_INDEX" val="1"/>
  <p:tag name="KSO_WM_UNIT_ID" val="diagram20194848_1*a*1"/>
  <p:tag name="KSO_WM_TEMPLATE_CATEGORY" val="diagram"/>
  <p:tag name="KSO_WM_TEMPLATE_INDEX" val="20194848"/>
  <p:tag name="KSO_WM_UNIT_LAYERLEVEL" val="1"/>
  <p:tag name="KSO_WM_TAG_VERSION" val="1.0"/>
  <p:tag name="KSO_WM_BEAUTIFY_FLAG" val="#wm#"/>
  <p:tag name="KSO_WM_UNIT_NOCLEAR" val="0"/>
  <p:tag name="KSO_WM_UNIT_TEXT_PART_ID_V2" val="a-3-1"/>
</p:tagLst>
</file>

<file path=ppt/tags/tag54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5"/>
  <p:tag name="KSO_WM_TEMPLATE_CATEGORY" val="diagram"/>
  <p:tag name="KSO_WM_TEMPLATE_INDEX" val="20194848"/>
  <p:tag name="KSO_WM_UNIT_LAYERLEVEL" val="1"/>
  <p:tag name="KSO_WM_TAG_VERSION" val="1.0"/>
  <p:tag name="KSO_WM_BEAUTIFY_FLAG" val="#wm#"/>
  <p:tag name="KSO_WM_UNIT_TYPE" val="i"/>
  <p:tag name="KSO_WM_UNIT_INDEX" val="5"/>
</p:tagLst>
</file>

<file path=ppt/tags/tag54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7"/>
  <p:tag name="KSO_WM_TEMPLATE_CATEGORY" val="diagram"/>
  <p:tag name="KSO_WM_TEMPLATE_INDEX" val="20194848"/>
  <p:tag name="KSO_WM_UNIT_LAYERLEVEL" val="1"/>
  <p:tag name="KSO_WM_TAG_VERSION" val="1.0"/>
  <p:tag name="KSO_WM_BEAUTIFY_FLAG" val="#wm#"/>
  <p:tag name="KSO_WM_UNIT_TYPE" val="i"/>
  <p:tag name="KSO_WM_UNIT_INDEX" val="7"/>
</p:tagLst>
</file>

<file path=ppt/tags/tag54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8"/>
  <p:tag name="KSO_WM_TEMPLATE_CATEGORY" val="diagram"/>
  <p:tag name="KSO_WM_TEMPLATE_INDEX" val="20194848"/>
  <p:tag name="KSO_WM_UNIT_LAYERLEVEL" val="1"/>
  <p:tag name="KSO_WM_TAG_VERSION" val="1.0"/>
  <p:tag name="KSO_WM_BEAUTIFY_FLAG" val="#wm#"/>
  <p:tag name="KSO_WM_UNIT_TYPE" val="i"/>
  <p:tag name="KSO_WM_UNIT_INDEX" val="8"/>
</p:tagLst>
</file>

<file path=ppt/tags/tag546.xml><?xml version="1.0" encoding="utf-8"?>
<p:tagLst xmlns:p="http://schemas.openxmlformats.org/presentationml/2006/main">
  <p:tag name="KSO_WM_UNIT_TEXT_PART_ID_V2" val="d-2-2"/>
  <p:tag name="KSO_WM_UNIT_PRESET_TEXT" val="单击添加小标题：&#13;点击此处添加正文，文字是您思想的提炼。&#13;请言简意赅的阐述观点,根据需要增减文字。&#13;以便观者可以准确理解您所传达的完整信息。&#13;以便观者可以准确理解您所传达的完整信息。&#13;您的正文已经字字珠玑，但信息却错综复杂。&#13;需要用更多的文字来表述,请您尽可能提炼。&#13;否则容易造成观者的阅读压力，适得其反。"/>
  <p:tag name="KSO_WM_UNIT_NOCLEAR" val="1"/>
  <p:tag name="KSO_WM_UNIT_VALUE" val="234"/>
  <p:tag name="KSO_WM_UNIT_HIGHLIGHT" val="0"/>
  <p:tag name="KSO_WM_UNIT_COMPATIBLE" val="0"/>
  <p:tag name="KSO_WM_UNIT_DIAGRAM_ISNUMVISUAL" val="0"/>
  <p:tag name="KSO_WM_UNIT_DIAGRAM_ISREFERUNIT" val="0"/>
  <p:tag name="KSO_WM_UNIT_TYPE" val="f"/>
  <p:tag name="KSO_WM_UNIT_INDEX" val="1"/>
  <p:tag name="KSO_WM_UNIT_ID" val="diagram20194715_1*f*1"/>
  <p:tag name="KSO_WM_TEMPLATE_CATEGORY" val="diagram"/>
  <p:tag name="KSO_WM_TEMPLATE_INDEX" val="20194715"/>
  <p:tag name="KSO_WM_UNIT_LAYERLEVEL" val="1"/>
  <p:tag name="KSO_WM_TAG_VERSION" val="1.0"/>
  <p:tag name="KSO_WM_BEAUTIFY_FLAG" val="#wm#"/>
  <p:tag name="KSO_WM_UNIT_COLOR_SCHEME_SHAPE_ID" val="5"/>
  <p:tag name="KSO_WM_UNIT_COLOR_SCHEME_PARENT_PAGE" val="0_1"/>
</p:tagLst>
</file>

<file path=ppt/tags/tag547.xml><?xml version="1.0" encoding="utf-8"?>
<p:tagLst xmlns:p="http://schemas.openxmlformats.org/presentationml/2006/main">
  <p:tag name="KSO_WM_SLIDE_ID" val="diagram20194848_1"/>
  <p:tag name="KSO_WM_TEMPLATE_SUBCATEGORY" val="0"/>
  <p:tag name="KSO_WM_SLIDE_TYPE" val="text"/>
  <p:tag name="KSO_WM_SLIDE_SUBTYPE" val="pureTxt"/>
  <p:tag name="KSO_WM_SLIDE_ITEM_CNT" val="0"/>
  <p:tag name="KSO_WM_SLIDE_INDEX" val="1"/>
  <p:tag name="KSO_WM_SLIDE_SIZE" val="960*540"/>
  <p:tag name="KSO_WM_SLIDE_POSITION" val="0*0"/>
  <p:tag name="KSO_WM_TAG_VERSION" val="1.0"/>
  <p:tag name="KSO_WM_BEAUTIFY_FLAG" val="#wm#"/>
  <p:tag name="KSO_WM_TEMPLATE_CATEGORY" val="diagram"/>
  <p:tag name="KSO_WM_TEMPLATE_INDEX" val="20194848"/>
  <p:tag name="KSO_WM_SLIDE_LAYOUT" val="a_f"/>
  <p:tag name="KSO_WM_SLIDE_LAYOUT_CNT" val="1_2"/>
</p:tagLst>
</file>

<file path=ppt/tags/tag548.xml><?xml version="1.0" encoding="utf-8"?>
<p:tagLst xmlns:p="http://schemas.openxmlformats.org/presentationml/2006/main">
  <p:tag name="KSO_WM_UNIT_LARGE_SHAPE" val="1"/>
  <p:tag name="KSO_WM_UNIT_HIGHLIGHT" val="0"/>
  <p:tag name="KSO_WM_UNIT_COMPATIBLE" val="0"/>
  <p:tag name="KSO_WM_UNIT_DIAGRAM_ISNUMVISUAL" val="0"/>
  <p:tag name="KSO_WM_UNIT_DIAGRAM_ISREFERUNIT" val="0"/>
  <p:tag name="KSO_WM_UNIT_ID" val="diagram20194848_1*i*1"/>
  <p:tag name="KSO_WM_TEMPLATE_CATEGORY" val="diagram"/>
  <p:tag name="KSO_WM_TEMPLATE_INDEX" val="20194848"/>
  <p:tag name="KSO_WM_UNIT_LAYERLEVEL" val="1"/>
  <p:tag name="KSO_WM_TAG_VERSION" val="1.0"/>
  <p:tag name="KSO_WM_BEAUTIFY_FLAG" val="#wm#"/>
  <p:tag name="KSO_WM_UNIT_TYPE" val="i"/>
  <p:tag name="KSO_WM_UNIT_INDEX" val="1"/>
</p:tagLst>
</file>

<file path=ppt/tags/tag54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2"/>
  <p:tag name="KSO_WM_TEMPLATE_CATEGORY" val="diagram"/>
  <p:tag name="KSO_WM_TEMPLATE_INDEX" val="20194848"/>
  <p:tag name="KSO_WM_UNIT_LAYERLEVEL" val="1"/>
  <p:tag name="KSO_WM_TAG_VERSION" val="1.0"/>
  <p:tag name="KSO_WM_BEAUTIFY_FLAG" val="#wm#"/>
  <p:tag name="KSO_WM_UNIT_TYPE" val="i"/>
  <p:tag name="KSO_WM_UNIT_INDEX" val="2"/>
</p:tagLst>
</file>

<file path=ppt/tags/tag55.xml><?xml version="1.0" encoding="utf-8"?>
<p:tagLst xmlns:p="http://schemas.openxmlformats.org/presentationml/2006/main">
  <p:tag name="KSO_WM_UNIT_TEXT_PART_ID_V2" val="d-3-2"/>
  <p:tag name="KSO_WM_UNIT_NOCLEAR" val="1"/>
  <p:tag name="KSO_WM_UNIT_VALUE" val="156"/>
  <p:tag name="KSO_WM_UNIT_HIGHLIGHT" val="0"/>
  <p:tag name="KSO_WM_UNIT_COMPATIBLE" val="0"/>
  <p:tag name="KSO_WM_UNIT_DIAGRAM_ISNUMVISUAL" val="0"/>
  <p:tag name="KSO_WM_UNIT_DIAGRAM_ISREFERUNIT" val="0"/>
  <p:tag name="KSO_WM_UNIT_TYPE" val="f"/>
  <p:tag name="KSO_WM_UNIT_INDEX" val="2"/>
  <p:tag name="KSO_WM_UNIT_ID" val="diagram20194848_1*f*2"/>
  <p:tag name="KSO_WM_TEMPLATE_CATEGORY" val="diagram"/>
  <p:tag name="KSO_WM_TEMPLATE_INDEX" val="20194848"/>
  <p:tag name="KSO_WM_UNIT_LAYERLEVEL" val="1"/>
  <p:tag name="KSO_WM_TAG_VERSION" val="1.0"/>
  <p:tag name="KSO_WM_BEAUTIFY_FLAG" val="#wm#"/>
  <p:tag name="KSO_WM_UNIT_PRESET_TEXT" val="单击此处添加小标题&#13;点击此处添加正文，文字是您思想的提炼，为了最终呈现发布的良好效果。&#13;请尽量言简意赅的阐述观点；根据需要可酌情增减文字以便观者可以。"/>
</p:tagLst>
</file>

<file path=ppt/tags/tag55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3"/>
  <p:tag name="KSO_WM_TEMPLATE_CATEGORY" val="diagram"/>
  <p:tag name="KSO_WM_TEMPLATE_INDEX" val="20194848"/>
  <p:tag name="KSO_WM_UNIT_LAYERLEVEL" val="1"/>
  <p:tag name="KSO_WM_TAG_VERSION" val="1.0"/>
  <p:tag name="KSO_WM_BEAUTIFY_FLAG" val="#wm#"/>
  <p:tag name="KSO_WM_UNIT_TYPE" val="i"/>
  <p:tag name="KSO_WM_UNIT_INDEX" val="3"/>
</p:tagLst>
</file>

<file path=ppt/tags/tag55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4"/>
  <p:tag name="KSO_WM_TEMPLATE_CATEGORY" val="diagram"/>
  <p:tag name="KSO_WM_TEMPLATE_INDEX" val="20194848"/>
  <p:tag name="KSO_WM_UNIT_LAYERLEVEL" val="1"/>
  <p:tag name="KSO_WM_TAG_VERSION" val="1.0"/>
  <p:tag name="KSO_WM_BEAUTIFY_FLAG" val="#wm#"/>
  <p:tag name="KSO_WM_UNIT_TYPE" val="i"/>
  <p:tag name="KSO_WM_UNIT_INDEX" val="4"/>
</p:tagLst>
</file>

<file path=ppt/tags/tag552.xml><?xml version="1.0" encoding="utf-8"?>
<p:tagLst xmlns:p="http://schemas.openxmlformats.org/presentationml/2006/main">
  <p:tag name="KSO_WM_UNIT_ISCONTENTSTITLE" val="0"/>
  <p:tag name="KSO_WM_UNIT_PRESET_TEXT" val="此处可添加您的大标题内容"/>
  <p:tag name="KSO_WM_UNIT_TEXT_PART_ID" val="2-X"/>
  <p:tag name="KSO_WM_UNIT_TEXT_PART_SIZE" val="49.2*559"/>
  <p:tag name="KSO_WM_UNIT_VALUE" val="26"/>
  <p:tag name="KSO_WM_UNIT_HIGHLIGHT" val="0"/>
  <p:tag name="KSO_WM_UNIT_COMPATIBLE" val="0"/>
  <p:tag name="KSO_WM_UNIT_DIAGRAM_ISNUMVISUAL" val="0"/>
  <p:tag name="KSO_WM_UNIT_DIAGRAM_ISREFERUNIT" val="0"/>
  <p:tag name="KSO_WM_UNIT_TYPE" val="a"/>
  <p:tag name="KSO_WM_UNIT_INDEX" val="1"/>
  <p:tag name="KSO_WM_UNIT_ID" val="diagram20194848_1*a*1"/>
  <p:tag name="KSO_WM_TEMPLATE_CATEGORY" val="diagram"/>
  <p:tag name="KSO_WM_TEMPLATE_INDEX" val="20194848"/>
  <p:tag name="KSO_WM_UNIT_LAYERLEVEL" val="1"/>
  <p:tag name="KSO_WM_TAG_VERSION" val="1.0"/>
  <p:tag name="KSO_WM_BEAUTIFY_FLAG" val="#wm#"/>
  <p:tag name="KSO_WM_UNIT_NOCLEAR" val="0"/>
  <p:tag name="KSO_WM_UNIT_TEXT_PART_ID_V2" val="a-3-1"/>
</p:tagLst>
</file>

<file path=ppt/tags/tag55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5"/>
  <p:tag name="KSO_WM_TEMPLATE_CATEGORY" val="diagram"/>
  <p:tag name="KSO_WM_TEMPLATE_INDEX" val="20194848"/>
  <p:tag name="KSO_WM_UNIT_LAYERLEVEL" val="1"/>
  <p:tag name="KSO_WM_TAG_VERSION" val="1.0"/>
  <p:tag name="KSO_WM_BEAUTIFY_FLAG" val="#wm#"/>
  <p:tag name="KSO_WM_UNIT_TYPE" val="i"/>
  <p:tag name="KSO_WM_UNIT_INDEX" val="5"/>
</p:tagLst>
</file>

<file path=ppt/tags/tag55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7"/>
  <p:tag name="KSO_WM_TEMPLATE_CATEGORY" val="diagram"/>
  <p:tag name="KSO_WM_TEMPLATE_INDEX" val="20194848"/>
  <p:tag name="KSO_WM_UNIT_LAYERLEVEL" val="1"/>
  <p:tag name="KSO_WM_TAG_VERSION" val="1.0"/>
  <p:tag name="KSO_WM_BEAUTIFY_FLAG" val="#wm#"/>
  <p:tag name="KSO_WM_UNIT_TYPE" val="i"/>
  <p:tag name="KSO_WM_UNIT_INDEX" val="7"/>
</p:tagLst>
</file>

<file path=ppt/tags/tag55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8"/>
  <p:tag name="KSO_WM_TEMPLATE_CATEGORY" val="diagram"/>
  <p:tag name="KSO_WM_TEMPLATE_INDEX" val="20194848"/>
  <p:tag name="KSO_WM_UNIT_LAYERLEVEL" val="1"/>
  <p:tag name="KSO_WM_TAG_VERSION" val="1.0"/>
  <p:tag name="KSO_WM_BEAUTIFY_FLAG" val="#wm#"/>
  <p:tag name="KSO_WM_UNIT_TYPE" val="i"/>
  <p:tag name="KSO_WM_UNIT_INDEX" val="8"/>
</p:tagLst>
</file>

<file path=ppt/tags/tag556.xml><?xml version="1.0" encoding="utf-8"?>
<p:tagLst xmlns:p="http://schemas.openxmlformats.org/presentationml/2006/main">
  <p:tag name="KSO_WM_UNIT_TEXT_PART_ID_V2" val="d-2-2"/>
  <p:tag name="KSO_WM_UNIT_PRESET_TEXT" val="单击添加小标题：&#13;点击此处添加正文，文字是您思想的提炼。&#13;请言简意赅的阐述观点,根据需要增减文字。&#13;以便观者可以准确理解您所传达的完整信息。&#13;以便观者可以准确理解您所传达的完整信息。&#13;您的正文已经字字珠玑，但信息却错综复杂。&#13;需要用更多的文字来表述,请您尽可能提炼。&#13;否则容易造成观者的阅读压力，适得其反。"/>
  <p:tag name="KSO_WM_UNIT_NOCLEAR" val="1"/>
  <p:tag name="KSO_WM_UNIT_VALUE" val="234"/>
  <p:tag name="KSO_WM_UNIT_HIGHLIGHT" val="0"/>
  <p:tag name="KSO_WM_UNIT_COMPATIBLE" val="0"/>
  <p:tag name="KSO_WM_UNIT_DIAGRAM_ISNUMVISUAL" val="0"/>
  <p:tag name="KSO_WM_UNIT_DIAGRAM_ISREFERUNIT" val="0"/>
  <p:tag name="KSO_WM_UNIT_TYPE" val="f"/>
  <p:tag name="KSO_WM_UNIT_INDEX" val="1"/>
  <p:tag name="KSO_WM_UNIT_ID" val="diagram20194715_1*f*1"/>
  <p:tag name="KSO_WM_TEMPLATE_CATEGORY" val="diagram"/>
  <p:tag name="KSO_WM_TEMPLATE_INDEX" val="20194715"/>
  <p:tag name="KSO_WM_UNIT_LAYERLEVEL" val="1"/>
  <p:tag name="KSO_WM_TAG_VERSION" val="1.0"/>
  <p:tag name="KSO_WM_BEAUTIFY_FLAG" val="#wm#"/>
  <p:tag name="KSO_WM_UNIT_COLOR_SCHEME_SHAPE_ID" val="5"/>
  <p:tag name="KSO_WM_UNIT_COLOR_SCHEME_PARENT_PAGE" val="0_1"/>
</p:tagLst>
</file>

<file path=ppt/tags/tag557.xml><?xml version="1.0" encoding="utf-8"?>
<p:tagLst xmlns:p="http://schemas.openxmlformats.org/presentationml/2006/main">
  <p:tag name="KSO_WM_SLIDE_ID" val="diagram20194848_1"/>
  <p:tag name="KSO_WM_TEMPLATE_SUBCATEGORY" val="0"/>
  <p:tag name="KSO_WM_SLIDE_TYPE" val="text"/>
  <p:tag name="KSO_WM_SLIDE_SUBTYPE" val="pureTxt"/>
  <p:tag name="KSO_WM_SLIDE_ITEM_CNT" val="0"/>
  <p:tag name="KSO_WM_SLIDE_INDEX" val="1"/>
  <p:tag name="KSO_WM_SLIDE_SIZE" val="960*540"/>
  <p:tag name="KSO_WM_SLIDE_POSITION" val="0*0"/>
  <p:tag name="KSO_WM_TAG_VERSION" val="1.0"/>
  <p:tag name="KSO_WM_BEAUTIFY_FLAG" val="#wm#"/>
  <p:tag name="KSO_WM_TEMPLATE_CATEGORY" val="diagram"/>
  <p:tag name="KSO_WM_TEMPLATE_INDEX" val="20194848"/>
  <p:tag name="KSO_WM_SLIDE_LAYOUT" val="a_f"/>
  <p:tag name="KSO_WM_SLIDE_LAYOUT_CNT" val="1_2"/>
</p:tagLst>
</file>

<file path=ppt/tags/tag558.xml><?xml version="1.0" encoding="utf-8"?>
<p:tagLst xmlns:p="http://schemas.openxmlformats.org/presentationml/2006/main">
  <p:tag name="KSO_WM_UNIT_LARGE_SHAPE" val="1"/>
  <p:tag name="KSO_WM_UNIT_HIGHLIGHT" val="0"/>
  <p:tag name="KSO_WM_UNIT_COMPATIBLE" val="0"/>
  <p:tag name="KSO_WM_UNIT_DIAGRAM_ISNUMVISUAL" val="0"/>
  <p:tag name="KSO_WM_UNIT_DIAGRAM_ISREFERUNIT" val="0"/>
  <p:tag name="KSO_WM_UNIT_ID" val="diagram20194848_1*i*1"/>
  <p:tag name="KSO_WM_TEMPLATE_CATEGORY" val="diagram"/>
  <p:tag name="KSO_WM_TEMPLATE_INDEX" val="20194848"/>
  <p:tag name="KSO_WM_UNIT_LAYERLEVEL" val="1"/>
  <p:tag name="KSO_WM_TAG_VERSION" val="1.0"/>
  <p:tag name="KSO_WM_BEAUTIFY_FLAG" val="#wm#"/>
  <p:tag name="KSO_WM_UNIT_TYPE" val="i"/>
  <p:tag name="KSO_WM_UNIT_INDEX" val="1"/>
</p:tagLst>
</file>

<file path=ppt/tags/tag55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2"/>
  <p:tag name="KSO_WM_TEMPLATE_CATEGORY" val="diagram"/>
  <p:tag name="KSO_WM_TEMPLATE_INDEX" val="20194848"/>
  <p:tag name="KSO_WM_UNIT_LAYERLEVEL" val="1"/>
  <p:tag name="KSO_WM_TAG_VERSION" val="1.0"/>
  <p:tag name="KSO_WM_BEAUTIFY_FLAG" val="#wm#"/>
  <p:tag name="KSO_WM_UNIT_TYPE" val="i"/>
  <p:tag name="KSO_WM_UNIT_INDEX" val="2"/>
</p:tagLst>
</file>

<file path=ppt/tags/tag5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7"/>
  <p:tag name="KSO_WM_TEMPLATE_CATEGORY" val="diagram"/>
  <p:tag name="KSO_WM_TEMPLATE_INDEX" val="20194848"/>
  <p:tag name="KSO_WM_UNIT_LAYERLEVEL" val="1"/>
  <p:tag name="KSO_WM_TAG_VERSION" val="1.0"/>
  <p:tag name="KSO_WM_BEAUTIFY_FLAG" val="#wm#"/>
  <p:tag name="KSO_WM_UNIT_TYPE" val="i"/>
  <p:tag name="KSO_WM_UNIT_INDEX" val="7"/>
</p:tagLst>
</file>

<file path=ppt/tags/tag56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3"/>
  <p:tag name="KSO_WM_TEMPLATE_CATEGORY" val="diagram"/>
  <p:tag name="KSO_WM_TEMPLATE_INDEX" val="20194848"/>
  <p:tag name="KSO_WM_UNIT_LAYERLEVEL" val="1"/>
  <p:tag name="KSO_WM_TAG_VERSION" val="1.0"/>
  <p:tag name="KSO_WM_BEAUTIFY_FLAG" val="#wm#"/>
  <p:tag name="KSO_WM_UNIT_TYPE" val="i"/>
  <p:tag name="KSO_WM_UNIT_INDEX" val="3"/>
</p:tagLst>
</file>

<file path=ppt/tags/tag56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4"/>
  <p:tag name="KSO_WM_TEMPLATE_CATEGORY" val="diagram"/>
  <p:tag name="KSO_WM_TEMPLATE_INDEX" val="20194848"/>
  <p:tag name="KSO_WM_UNIT_LAYERLEVEL" val="1"/>
  <p:tag name="KSO_WM_TAG_VERSION" val="1.0"/>
  <p:tag name="KSO_WM_BEAUTIFY_FLAG" val="#wm#"/>
  <p:tag name="KSO_WM_UNIT_TYPE" val="i"/>
  <p:tag name="KSO_WM_UNIT_INDEX" val="4"/>
</p:tagLst>
</file>

<file path=ppt/tags/tag562.xml><?xml version="1.0" encoding="utf-8"?>
<p:tagLst xmlns:p="http://schemas.openxmlformats.org/presentationml/2006/main">
  <p:tag name="KSO_WM_UNIT_ISCONTENTSTITLE" val="0"/>
  <p:tag name="KSO_WM_UNIT_PRESET_TEXT" val="此处可添加您的大标题内容"/>
  <p:tag name="KSO_WM_UNIT_TEXT_PART_ID" val="2-X"/>
  <p:tag name="KSO_WM_UNIT_TEXT_PART_SIZE" val="49.2*559"/>
  <p:tag name="KSO_WM_UNIT_VALUE" val="26"/>
  <p:tag name="KSO_WM_UNIT_HIGHLIGHT" val="0"/>
  <p:tag name="KSO_WM_UNIT_COMPATIBLE" val="0"/>
  <p:tag name="KSO_WM_UNIT_DIAGRAM_ISNUMVISUAL" val="0"/>
  <p:tag name="KSO_WM_UNIT_DIAGRAM_ISREFERUNIT" val="0"/>
  <p:tag name="KSO_WM_UNIT_TYPE" val="a"/>
  <p:tag name="KSO_WM_UNIT_INDEX" val="1"/>
  <p:tag name="KSO_WM_UNIT_ID" val="diagram20194848_1*a*1"/>
  <p:tag name="KSO_WM_TEMPLATE_CATEGORY" val="diagram"/>
  <p:tag name="KSO_WM_TEMPLATE_INDEX" val="20194848"/>
  <p:tag name="KSO_WM_UNIT_LAYERLEVEL" val="1"/>
  <p:tag name="KSO_WM_TAG_VERSION" val="1.0"/>
  <p:tag name="KSO_WM_BEAUTIFY_FLAG" val="#wm#"/>
  <p:tag name="KSO_WM_UNIT_NOCLEAR" val="0"/>
  <p:tag name="KSO_WM_UNIT_TEXT_PART_ID_V2" val="a-3-1"/>
</p:tagLst>
</file>

<file path=ppt/tags/tag56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5"/>
  <p:tag name="KSO_WM_TEMPLATE_CATEGORY" val="diagram"/>
  <p:tag name="KSO_WM_TEMPLATE_INDEX" val="20194848"/>
  <p:tag name="KSO_WM_UNIT_LAYERLEVEL" val="1"/>
  <p:tag name="KSO_WM_TAG_VERSION" val="1.0"/>
  <p:tag name="KSO_WM_BEAUTIFY_FLAG" val="#wm#"/>
  <p:tag name="KSO_WM_UNIT_TYPE" val="i"/>
  <p:tag name="KSO_WM_UNIT_INDEX" val="5"/>
</p:tagLst>
</file>

<file path=ppt/tags/tag56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7"/>
  <p:tag name="KSO_WM_TEMPLATE_CATEGORY" val="diagram"/>
  <p:tag name="KSO_WM_TEMPLATE_INDEX" val="20194848"/>
  <p:tag name="KSO_WM_UNIT_LAYERLEVEL" val="1"/>
  <p:tag name="KSO_WM_TAG_VERSION" val="1.0"/>
  <p:tag name="KSO_WM_BEAUTIFY_FLAG" val="#wm#"/>
  <p:tag name="KSO_WM_UNIT_TYPE" val="i"/>
  <p:tag name="KSO_WM_UNIT_INDEX" val="7"/>
</p:tagLst>
</file>

<file path=ppt/tags/tag56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8"/>
  <p:tag name="KSO_WM_TEMPLATE_CATEGORY" val="diagram"/>
  <p:tag name="KSO_WM_TEMPLATE_INDEX" val="20194848"/>
  <p:tag name="KSO_WM_UNIT_LAYERLEVEL" val="1"/>
  <p:tag name="KSO_WM_TAG_VERSION" val="1.0"/>
  <p:tag name="KSO_WM_BEAUTIFY_FLAG" val="#wm#"/>
  <p:tag name="KSO_WM_UNIT_TYPE" val="i"/>
  <p:tag name="KSO_WM_UNIT_INDEX" val="8"/>
</p:tagLst>
</file>

<file path=ppt/tags/tag566.xml><?xml version="1.0" encoding="utf-8"?>
<p:tagLst xmlns:p="http://schemas.openxmlformats.org/presentationml/2006/main">
  <p:tag name="KSO_WM_UNIT_TEXT_PART_ID_V2" val="d-2-2"/>
  <p:tag name="KSO_WM_UNIT_PRESET_TEXT" val="单击添加小标题：&#13;点击此处添加正文，文字是您思想的提炼。&#13;请言简意赅的阐述观点,根据需要增减文字。&#13;以便观者可以准确理解您所传达的完整信息。&#13;以便观者可以准确理解您所传达的完整信息。&#13;您的正文已经字字珠玑，但信息却错综复杂。&#13;需要用更多的文字来表述,请您尽可能提炼。&#13;否则容易造成观者的阅读压力，适得其反。"/>
  <p:tag name="KSO_WM_UNIT_NOCLEAR" val="1"/>
  <p:tag name="KSO_WM_UNIT_VALUE" val="234"/>
  <p:tag name="KSO_WM_UNIT_HIGHLIGHT" val="0"/>
  <p:tag name="KSO_WM_UNIT_COMPATIBLE" val="0"/>
  <p:tag name="KSO_WM_UNIT_DIAGRAM_ISNUMVISUAL" val="0"/>
  <p:tag name="KSO_WM_UNIT_DIAGRAM_ISREFERUNIT" val="0"/>
  <p:tag name="KSO_WM_UNIT_TYPE" val="f"/>
  <p:tag name="KSO_WM_UNIT_INDEX" val="1"/>
  <p:tag name="KSO_WM_UNIT_ID" val="diagram20194715_1*f*1"/>
  <p:tag name="KSO_WM_TEMPLATE_CATEGORY" val="diagram"/>
  <p:tag name="KSO_WM_TEMPLATE_INDEX" val="20194715"/>
  <p:tag name="KSO_WM_UNIT_LAYERLEVEL" val="1"/>
  <p:tag name="KSO_WM_TAG_VERSION" val="1.0"/>
  <p:tag name="KSO_WM_BEAUTIFY_FLAG" val="#wm#"/>
  <p:tag name="KSO_WM_UNIT_COLOR_SCHEME_SHAPE_ID" val="5"/>
  <p:tag name="KSO_WM_UNIT_COLOR_SCHEME_PARENT_PAGE" val="0_1"/>
</p:tagLst>
</file>

<file path=ppt/tags/tag567.xml><?xml version="1.0" encoding="utf-8"?>
<p:tagLst xmlns:p="http://schemas.openxmlformats.org/presentationml/2006/main">
  <p:tag name="KSO_WM_SLIDE_ID" val="diagram20194848_1"/>
  <p:tag name="KSO_WM_TEMPLATE_SUBCATEGORY" val="0"/>
  <p:tag name="KSO_WM_SLIDE_TYPE" val="text"/>
  <p:tag name="KSO_WM_SLIDE_SUBTYPE" val="pureTxt"/>
  <p:tag name="KSO_WM_SLIDE_ITEM_CNT" val="0"/>
  <p:tag name="KSO_WM_SLIDE_INDEX" val="1"/>
  <p:tag name="KSO_WM_SLIDE_SIZE" val="960*540"/>
  <p:tag name="KSO_WM_SLIDE_POSITION" val="0*0"/>
  <p:tag name="KSO_WM_TAG_VERSION" val="1.0"/>
  <p:tag name="KSO_WM_BEAUTIFY_FLAG" val="#wm#"/>
  <p:tag name="KSO_WM_TEMPLATE_CATEGORY" val="diagram"/>
  <p:tag name="KSO_WM_TEMPLATE_INDEX" val="20194848"/>
  <p:tag name="KSO_WM_SLIDE_LAYOUT" val="a_f"/>
  <p:tag name="KSO_WM_SLIDE_LAYOUT_CNT" val="1_2"/>
</p:tagLst>
</file>

<file path=ppt/tags/tag568.xml><?xml version="1.0" encoding="utf-8"?>
<p:tagLst xmlns:p="http://schemas.openxmlformats.org/presentationml/2006/main">
  <p:tag name="KSO_WM_UNIT_LARGE_SHAPE" val="1"/>
  <p:tag name="KSO_WM_UNIT_HIGHLIGHT" val="0"/>
  <p:tag name="KSO_WM_UNIT_COMPATIBLE" val="0"/>
  <p:tag name="KSO_WM_UNIT_DIAGRAM_ISNUMVISUAL" val="0"/>
  <p:tag name="KSO_WM_UNIT_DIAGRAM_ISREFERUNIT" val="0"/>
  <p:tag name="KSO_WM_UNIT_ID" val="diagram20194848_1*i*1"/>
  <p:tag name="KSO_WM_TEMPLATE_CATEGORY" val="diagram"/>
  <p:tag name="KSO_WM_TEMPLATE_INDEX" val="20194848"/>
  <p:tag name="KSO_WM_UNIT_LAYERLEVEL" val="1"/>
  <p:tag name="KSO_WM_TAG_VERSION" val="1.0"/>
  <p:tag name="KSO_WM_BEAUTIFY_FLAG" val="#wm#"/>
  <p:tag name="KSO_WM_UNIT_TYPE" val="i"/>
  <p:tag name="KSO_WM_UNIT_INDEX" val="1"/>
</p:tagLst>
</file>

<file path=ppt/tags/tag56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2"/>
  <p:tag name="KSO_WM_TEMPLATE_CATEGORY" val="diagram"/>
  <p:tag name="KSO_WM_TEMPLATE_INDEX" val="20194848"/>
  <p:tag name="KSO_WM_UNIT_LAYERLEVEL" val="1"/>
  <p:tag name="KSO_WM_TAG_VERSION" val="1.0"/>
  <p:tag name="KSO_WM_BEAUTIFY_FLAG" val="#wm#"/>
  <p:tag name="KSO_WM_UNIT_TYPE" val="i"/>
  <p:tag name="KSO_WM_UNIT_INDEX" val="2"/>
</p:tagLst>
</file>

<file path=ppt/tags/tag5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8"/>
  <p:tag name="KSO_WM_TEMPLATE_CATEGORY" val="diagram"/>
  <p:tag name="KSO_WM_TEMPLATE_INDEX" val="20194848"/>
  <p:tag name="KSO_WM_UNIT_LAYERLEVEL" val="1"/>
  <p:tag name="KSO_WM_TAG_VERSION" val="1.0"/>
  <p:tag name="KSO_WM_BEAUTIFY_FLAG" val="#wm#"/>
  <p:tag name="KSO_WM_UNIT_TYPE" val="i"/>
  <p:tag name="KSO_WM_UNIT_INDEX" val="8"/>
</p:tagLst>
</file>

<file path=ppt/tags/tag57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3"/>
  <p:tag name="KSO_WM_TEMPLATE_CATEGORY" val="diagram"/>
  <p:tag name="KSO_WM_TEMPLATE_INDEX" val="20194848"/>
  <p:tag name="KSO_WM_UNIT_LAYERLEVEL" val="1"/>
  <p:tag name="KSO_WM_TAG_VERSION" val="1.0"/>
  <p:tag name="KSO_WM_BEAUTIFY_FLAG" val="#wm#"/>
  <p:tag name="KSO_WM_UNIT_TYPE" val="i"/>
  <p:tag name="KSO_WM_UNIT_INDEX" val="3"/>
</p:tagLst>
</file>

<file path=ppt/tags/tag57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4"/>
  <p:tag name="KSO_WM_TEMPLATE_CATEGORY" val="diagram"/>
  <p:tag name="KSO_WM_TEMPLATE_INDEX" val="20194848"/>
  <p:tag name="KSO_WM_UNIT_LAYERLEVEL" val="1"/>
  <p:tag name="KSO_WM_TAG_VERSION" val="1.0"/>
  <p:tag name="KSO_WM_BEAUTIFY_FLAG" val="#wm#"/>
  <p:tag name="KSO_WM_UNIT_TYPE" val="i"/>
  <p:tag name="KSO_WM_UNIT_INDEX" val="4"/>
</p:tagLst>
</file>

<file path=ppt/tags/tag572.xml><?xml version="1.0" encoding="utf-8"?>
<p:tagLst xmlns:p="http://schemas.openxmlformats.org/presentationml/2006/main">
  <p:tag name="KSO_WM_UNIT_ISCONTENTSTITLE" val="0"/>
  <p:tag name="KSO_WM_UNIT_PRESET_TEXT" val="此处可添加您的大标题内容"/>
  <p:tag name="KSO_WM_UNIT_TEXT_PART_ID" val="2-X"/>
  <p:tag name="KSO_WM_UNIT_TEXT_PART_SIZE" val="49.2*559"/>
  <p:tag name="KSO_WM_UNIT_VALUE" val="26"/>
  <p:tag name="KSO_WM_UNIT_HIGHLIGHT" val="0"/>
  <p:tag name="KSO_WM_UNIT_COMPATIBLE" val="0"/>
  <p:tag name="KSO_WM_UNIT_DIAGRAM_ISNUMVISUAL" val="0"/>
  <p:tag name="KSO_WM_UNIT_DIAGRAM_ISREFERUNIT" val="0"/>
  <p:tag name="KSO_WM_UNIT_TYPE" val="a"/>
  <p:tag name="KSO_WM_UNIT_INDEX" val="1"/>
  <p:tag name="KSO_WM_UNIT_ID" val="diagram20194848_1*a*1"/>
  <p:tag name="KSO_WM_TEMPLATE_CATEGORY" val="diagram"/>
  <p:tag name="KSO_WM_TEMPLATE_INDEX" val="20194848"/>
  <p:tag name="KSO_WM_UNIT_LAYERLEVEL" val="1"/>
  <p:tag name="KSO_WM_TAG_VERSION" val="1.0"/>
  <p:tag name="KSO_WM_BEAUTIFY_FLAG" val="#wm#"/>
  <p:tag name="KSO_WM_UNIT_NOCLEAR" val="0"/>
  <p:tag name="KSO_WM_UNIT_TEXT_PART_ID_V2" val="a-3-1"/>
</p:tagLst>
</file>

<file path=ppt/tags/tag57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5"/>
  <p:tag name="KSO_WM_TEMPLATE_CATEGORY" val="diagram"/>
  <p:tag name="KSO_WM_TEMPLATE_INDEX" val="20194848"/>
  <p:tag name="KSO_WM_UNIT_LAYERLEVEL" val="1"/>
  <p:tag name="KSO_WM_TAG_VERSION" val="1.0"/>
  <p:tag name="KSO_WM_BEAUTIFY_FLAG" val="#wm#"/>
  <p:tag name="KSO_WM_UNIT_TYPE" val="i"/>
  <p:tag name="KSO_WM_UNIT_INDEX" val="5"/>
</p:tagLst>
</file>

<file path=ppt/tags/tag57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7"/>
  <p:tag name="KSO_WM_TEMPLATE_CATEGORY" val="diagram"/>
  <p:tag name="KSO_WM_TEMPLATE_INDEX" val="20194848"/>
  <p:tag name="KSO_WM_UNIT_LAYERLEVEL" val="1"/>
  <p:tag name="KSO_WM_TAG_VERSION" val="1.0"/>
  <p:tag name="KSO_WM_BEAUTIFY_FLAG" val="#wm#"/>
  <p:tag name="KSO_WM_UNIT_TYPE" val="i"/>
  <p:tag name="KSO_WM_UNIT_INDEX" val="7"/>
</p:tagLst>
</file>

<file path=ppt/tags/tag57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8"/>
  <p:tag name="KSO_WM_TEMPLATE_CATEGORY" val="diagram"/>
  <p:tag name="KSO_WM_TEMPLATE_INDEX" val="20194848"/>
  <p:tag name="KSO_WM_UNIT_LAYERLEVEL" val="1"/>
  <p:tag name="KSO_WM_TAG_VERSION" val="1.0"/>
  <p:tag name="KSO_WM_BEAUTIFY_FLAG" val="#wm#"/>
  <p:tag name="KSO_WM_UNIT_TYPE" val="i"/>
  <p:tag name="KSO_WM_UNIT_INDEX" val="8"/>
</p:tagLst>
</file>

<file path=ppt/tags/tag576.xml><?xml version="1.0" encoding="utf-8"?>
<p:tagLst xmlns:p="http://schemas.openxmlformats.org/presentationml/2006/main">
  <p:tag name="KSO_WM_UNIT_TEXT_PART_ID_V2" val="d-2-2"/>
  <p:tag name="KSO_WM_UNIT_PRESET_TEXT" val="单击添加小标题：&#13;点击此处添加正文，文字是您思想的提炼。&#13;请言简意赅的阐述观点,根据需要增减文字。&#13;以便观者可以准确理解您所传达的完整信息。&#13;以便观者可以准确理解您所传达的完整信息。&#13;您的正文已经字字珠玑，但信息却错综复杂。&#13;需要用更多的文字来表述,请您尽可能提炼。&#13;否则容易造成观者的阅读压力，适得其反。"/>
  <p:tag name="KSO_WM_UNIT_NOCLEAR" val="1"/>
  <p:tag name="KSO_WM_UNIT_VALUE" val="234"/>
  <p:tag name="KSO_WM_UNIT_HIGHLIGHT" val="0"/>
  <p:tag name="KSO_WM_UNIT_COMPATIBLE" val="0"/>
  <p:tag name="KSO_WM_UNIT_DIAGRAM_ISNUMVISUAL" val="0"/>
  <p:tag name="KSO_WM_UNIT_DIAGRAM_ISREFERUNIT" val="0"/>
  <p:tag name="KSO_WM_UNIT_TYPE" val="f"/>
  <p:tag name="KSO_WM_UNIT_INDEX" val="1"/>
  <p:tag name="KSO_WM_UNIT_ID" val="diagram20194715_1*f*1"/>
  <p:tag name="KSO_WM_TEMPLATE_CATEGORY" val="diagram"/>
  <p:tag name="KSO_WM_TEMPLATE_INDEX" val="20194715"/>
  <p:tag name="KSO_WM_UNIT_LAYERLEVEL" val="1"/>
  <p:tag name="KSO_WM_TAG_VERSION" val="1.0"/>
  <p:tag name="KSO_WM_BEAUTIFY_FLAG" val="#wm#"/>
  <p:tag name="KSO_WM_UNIT_COLOR_SCHEME_SHAPE_ID" val="5"/>
  <p:tag name="KSO_WM_UNIT_COLOR_SCHEME_PARENT_PAGE" val="0_1"/>
</p:tagLst>
</file>

<file path=ppt/tags/tag577.xml><?xml version="1.0" encoding="utf-8"?>
<p:tagLst xmlns:p="http://schemas.openxmlformats.org/presentationml/2006/main">
  <p:tag name="KSO_WM_SLIDE_ID" val="diagram20194848_1"/>
  <p:tag name="KSO_WM_TEMPLATE_SUBCATEGORY" val="0"/>
  <p:tag name="KSO_WM_SLIDE_TYPE" val="text"/>
  <p:tag name="KSO_WM_SLIDE_SUBTYPE" val="pureTxt"/>
  <p:tag name="KSO_WM_SLIDE_ITEM_CNT" val="0"/>
  <p:tag name="KSO_WM_SLIDE_INDEX" val="1"/>
  <p:tag name="KSO_WM_SLIDE_SIZE" val="960*540"/>
  <p:tag name="KSO_WM_SLIDE_POSITION" val="0*0"/>
  <p:tag name="KSO_WM_TAG_VERSION" val="1.0"/>
  <p:tag name="KSO_WM_BEAUTIFY_FLAG" val="#wm#"/>
  <p:tag name="KSO_WM_TEMPLATE_CATEGORY" val="diagram"/>
  <p:tag name="KSO_WM_TEMPLATE_INDEX" val="20194848"/>
  <p:tag name="KSO_WM_SLIDE_LAYOUT" val="a_f"/>
  <p:tag name="KSO_WM_SLIDE_LAYOUT_CNT" val="1_2"/>
</p:tagLst>
</file>

<file path=ppt/tags/tag578.xml><?xml version="1.0" encoding="utf-8"?>
<p:tagLst xmlns:p="http://schemas.openxmlformats.org/presentationml/2006/main">
  <p:tag name="KSO_WM_UNIT_LARGE_SHAPE" val="1"/>
  <p:tag name="KSO_WM_UNIT_HIGHLIGHT" val="0"/>
  <p:tag name="KSO_WM_UNIT_COMPATIBLE" val="0"/>
  <p:tag name="KSO_WM_UNIT_DIAGRAM_ISNUMVISUAL" val="0"/>
  <p:tag name="KSO_WM_UNIT_DIAGRAM_ISREFERUNIT" val="0"/>
  <p:tag name="KSO_WM_UNIT_ID" val="diagram20194848_1*i*1"/>
  <p:tag name="KSO_WM_TEMPLATE_CATEGORY" val="diagram"/>
  <p:tag name="KSO_WM_TEMPLATE_INDEX" val="20194848"/>
  <p:tag name="KSO_WM_UNIT_LAYERLEVEL" val="1"/>
  <p:tag name="KSO_WM_TAG_VERSION" val="1.0"/>
  <p:tag name="KSO_WM_BEAUTIFY_FLAG" val="#wm#"/>
  <p:tag name="KSO_WM_UNIT_TYPE" val="i"/>
  <p:tag name="KSO_WM_UNIT_INDEX" val="1"/>
</p:tagLst>
</file>

<file path=ppt/tags/tag57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2"/>
  <p:tag name="KSO_WM_TEMPLATE_CATEGORY" val="diagram"/>
  <p:tag name="KSO_WM_TEMPLATE_INDEX" val="20194848"/>
  <p:tag name="KSO_WM_UNIT_LAYERLEVEL" val="1"/>
  <p:tag name="KSO_WM_TAG_VERSION" val="1.0"/>
  <p:tag name="KSO_WM_BEAUTIFY_FLAG" val="#wm#"/>
  <p:tag name="KSO_WM_UNIT_TYPE" val="i"/>
  <p:tag name="KSO_WM_UNIT_INDEX" val="2"/>
</p:tagLst>
</file>

<file path=ppt/tags/tag58.xml><?xml version="1.0" encoding="utf-8"?>
<p:tagLst xmlns:p="http://schemas.openxmlformats.org/presentationml/2006/main">
  <p:tag name="KSO_WM_UNIT_TEXT_PART_ID_V2" val="d-3-2"/>
  <p:tag name="KSO_WM_UNIT_NOCLEAR" val="1"/>
  <p:tag name="KSO_WM_UNIT_VALUE" val="156"/>
  <p:tag name="KSO_WM_UNIT_HIGHLIGHT" val="0"/>
  <p:tag name="KSO_WM_UNIT_COMPATIBLE" val="0"/>
  <p:tag name="KSO_WM_UNIT_DIAGRAM_ISNUMVISUAL" val="0"/>
  <p:tag name="KSO_WM_UNIT_DIAGRAM_ISREFERUNIT" val="0"/>
  <p:tag name="KSO_WM_UNIT_TYPE" val="f"/>
  <p:tag name="KSO_WM_UNIT_INDEX" val="1"/>
  <p:tag name="KSO_WM_UNIT_ID" val="diagram20194848_1*f*1"/>
  <p:tag name="KSO_WM_TEMPLATE_CATEGORY" val="diagram"/>
  <p:tag name="KSO_WM_TEMPLATE_INDEX" val="20194848"/>
  <p:tag name="KSO_WM_UNIT_LAYERLEVEL" val="1"/>
  <p:tag name="KSO_WM_TAG_VERSION" val="1.0"/>
  <p:tag name="KSO_WM_BEAUTIFY_FLAG" val="#wm#"/>
  <p:tag name="KSO_WM_UNIT_PRESET_TEXT" val="单击此处添加小标题&#13;点击此处添加正文，文字是您思想的提炼，为了最终呈现发布的良好效果。&#13;请尽量言简意赅的阐述观点；根据需要可酌情增减文字以便观者可以。"/>
</p:tagLst>
</file>

<file path=ppt/tags/tag58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3"/>
  <p:tag name="KSO_WM_TEMPLATE_CATEGORY" val="diagram"/>
  <p:tag name="KSO_WM_TEMPLATE_INDEX" val="20194848"/>
  <p:tag name="KSO_WM_UNIT_LAYERLEVEL" val="1"/>
  <p:tag name="KSO_WM_TAG_VERSION" val="1.0"/>
  <p:tag name="KSO_WM_BEAUTIFY_FLAG" val="#wm#"/>
  <p:tag name="KSO_WM_UNIT_TYPE" val="i"/>
  <p:tag name="KSO_WM_UNIT_INDEX" val="3"/>
</p:tagLst>
</file>

<file path=ppt/tags/tag58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4"/>
  <p:tag name="KSO_WM_TEMPLATE_CATEGORY" val="diagram"/>
  <p:tag name="KSO_WM_TEMPLATE_INDEX" val="20194848"/>
  <p:tag name="KSO_WM_UNIT_LAYERLEVEL" val="1"/>
  <p:tag name="KSO_WM_TAG_VERSION" val="1.0"/>
  <p:tag name="KSO_WM_BEAUTIFY_FLAG" val="#wm#"/>
  <p:tag name="KSO_WM_UNIT_TYPE" val="i"/>
  <p:tag name="KSO_WM_UNIT_INDEX" val="4"/>
</p:tagLst>
</file>

<file path=ppt/tags/tag582.xml><?xml version="1.0" encoding="utf-8"?>
<p:tagLst xmlns:p="http://schemas.openxmlformats.org/presentationml/2006/main">
  <p:tag name="KSO_WM_UNIT_ISCONTENTSTITLE" val="0"/>
  <p:tag name="KSO_WM_UNIT_PRESET_TEXT" val="此处可添加您的大标题内容"/>
  <p:tag name="KSO_WM_UNIT_TEXT_PART_ID" val="2-X"/>
  <p:tag name="KSO_WM_UNIT_TEXT_PART_SIZE" val="49.2*559"/>
  <p:tag name="KSO_WM_UNIT_VALUE" val="26"/>
  <p:tag name="KSO_WM_UNIT_HIGHLIGHT" val="0"/>
  <p:tag name="KSO_WM_UNIT_COMPATIBLE" val="0"/>
  <p:tag name="KSO_WM_UNIT_DIAGRAM_ISNUMVISUAL" val="0"/>
  <p:tag name="KSO_WM_UNIT_DIAGRAM_ISREFERUNIT" val="0"/>
  <p:tag name="KSO_WM_UNIT_TYPE" val="a"/>
  <p:tag name="KSO_WM_UNIT_INDEX" val="1"/>
  <p:tag name="KSO_WM_UNIT_ID" val="diagram20194848_1*a*1"/>
  <p:tag name="KSO_WM_TEMPLATE_CATEGORY" val="diagram"/>
  <p:tag name="KSO_WM_TEMPLATE_INDEX" val="20194848"/>
  <p:tag name="KSO_WM_UNIT_LAYERLEVEL" val="1"/>
  <p:tag name="KSO_WM_TAG_VERSION" val="1.0"/>
  <p:tag name="KSO_WM_BEAUTIFY_FLAG" val="#wm#"/>
  <p:tag name="KSO_WM_UNIT_NOCLEAR" val="0"/>
  <p:tag name="KSO_WM_UNIT_TEXT_PART_ID_V2" val="a-3-1"/>
</p:tagLst>
</file>

<file path=ppt/tags/tag58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5"/>
  <p:tag name="KSO_WM_TEMPLATE_CATEGORY" val="diagram"/>
  <p:tag name="KSO_WM_TEMPLATE_INDEX" val="20194848"/>
  <p:tag name="KSO_WM_UNIT_LAYERLEVEL" val="1"/>
  <p:tag name="KSO_WM_TAG_VERSION" val="1.0"/>
  <p:tag name="KSO_WM_BEAUTIFY_FLAG" val="#wm#"/>
  <p:tag name="KSO_WM_UNIT_TYPE" val="i"/>
  <p:tag name="KSO_WM_UNIT_INDEX" val="5"/>
</p:tagLst>
</file>

<file path=ppt/tags/tag58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7"/>
  <p:tag name="KSO_WM_TEMPLATE_CATEGORY" val="diagram"/>
  <p:tag name="KSO_WM_TEMPLATE_INDEX" val="20194848"/>
  <p:tag name="KSO_WM_UNIT_LAYERLEVEL" val="1"/>
  <p:tag name="KSO_WM_TAG_VERSION" val="1.0"/>
  <p:tag name="KSO_WM_BEAUTIFY_FLAG" val="#wm#"/>
  <p:tag name="KSO_WM_UNIT_TYPE" val="i"/>
  <p:tag name="KSO_WM_UNIT_INDEX" val="7"/>
</p:tagLst>
</file>

<file path=ppt/tags/tag58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8"/>
  <p:tag name="KSO_WM_TEMPLATE_CATEGORY" val="diagram"/>
  <p:tag name="KSO_WM_TEMPLATE_INDEX" val="20194848"/>
  <p:tag name="KSO_WM_UNIT_LAYERLEVEL" val="1"/>
  <p:tag name="KSO_WM_TAG_VERSION" val="1.0"/>
  <p:tag name="KSO_WM_BEAUTIFY_FLAG" val="#wm#"/>
  <p:tag name="KSO_WM_UNIT_TYPE" val="i"/>
  <p:tag name="KSO_WM_UNIT_INDEX" val="8"/>
</p:tagLst>
</file>

<file path=ppt/tags/tag586.xml><?xml version="1.0" encoding="utf-8"?>
<p:tagLst xmlns:p="http://schemas.openxmlformats.org/presentationml/2006/main">
  <p:tag name="KSO_WM_SLIDE_ID" val="diagram20194848_1"/>
  <p:tag name="KSO_WM_TEMPLATE_SUBCATEGORY" val="0"/>
  <p:tag name="KSO_WM_SLIDE_TYPE" val="text"/>
  <p:tag name="KSO_WM_SLIDE_SUBTYPE" val="pureTxt"/>
  <p:tag name="KSO_WM_SLIDE_ITEM_CNT" val="0"/>
  <p:tag name="KSO_WM_SLIDE_INDEX" val="1"/>
  <p:tag name="KSO_WM_SLIDE_SIZE" val="960*540"/>
  <p:tag name="KSO_WM_SLIDE_POSITION" val="0*0"/>
  <p:tag name="KSO_WM_TAG_VERSION" val="1.0"/>
  <p:tag name="KSO_WM_BEAUTIFY_FLAG" val="#wm#"/>
  <p:tag name="KSO_WM_TEMPLATE_CATEGORY" val="diagram"/>
  <p:tag name="KSO_WM_TEMPLATE_INDEX" val="20194848"/>
  <p:tag name="KSO_WM_SLIDE_LAYOUT" val="a_f"/>
  <p:tag name="KSO_WM_SLIDE_LAYOUT_CNT" val="1_2"/>
</p:tagLst>
</file>

<file path=ppt/tags/tag587.xml><?xml version="1.0" encoding="utf-8"?>
<p:tagLst xmlns:p="http://schemas.openxmlformats.org/presentationml/2006/main">
  <p:tag name="KSO_WM_UNIT_LARGE_SHAPE" val="1"/>
  <p:tag name="KSO_WM_UNIT_HIGHLIGHT" val="0"/>
  <p:tag name="KSO_WM_UNIT_COMPATIBLE" val="0"/>
  <p:tag name="KSO_WM_UNIT_DIAGRAM_ISNUMVISUAL" val="0"/>
  <p:tag name="KSO_WM_UNIT_DIAGRAM_ISREFERUNIT" val="0"/>
  <p:tag name="KSO_WM_UNIT_ID" val="diagram20194848_1*i*1"/>
  <p:tag name="KSO_WM_TEMPLATE_CATEGORY" val="diagram"/>
  <p:tag name="KSO_WM_TEMPLATE_INDEX" val="20194848"/>
  <p:tag name="KSO_WM_UNIT_LAYERLEVEL" val="1"/>
  <p:tag name="KSO_WM_TAG_VERSION" val="1.0"/>
  <p:tag name="KSO_WM_BEAUTIFY_FLAG" val="#wm#"/>
  <p:tag name="KSO_WM_UNIT_TYPE" val="i"/>
  <p:tag name="KSO_WM_UNIT_INDEX" val="1"/>
</p:tagLst>
</file>

<file path=ppt/tags/tag58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2"/>
  <p:tag name="KSO_WM_TEMPLATE_CATEGORY" val="diagram"/>
  <p:tag name="KSO_WM_TEMPLATE_INDEX" val="20194848"/>
  <p:tag name="KSO_WM_UNIT_LAYERLEVEL" val="1"/>
  <p:tag name="KSO_WM_TAG_VERSION" val="1.0"/>
  <p:tag name="KSO_WM_BEAUTIFY_FLAG" val="#wm#"/>
  <p:tag name="KSO_WM_UNIT_TYPE" val="i"/>
  <p:tag name="KSO_WM_UNIT_INDEX" val="2"/>
</p:tagLst>
</file>

<file path=ppt/tags/tag58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3"/>
  <p:tag name="KSO_WM_TEMPLATE_CATEGORY" val="diagram"/>
  <p:tag name="KSO_WM_TEMPLATE_INDEX" val="20194848"/>
  <p:tag name="KSO_WM_UNIT_LAYERLEVEL" val="1"/>
  <p:tag name="KSO_WM_TAG_VERSION" val="1.0"/>
  <p:tag name="KSO_WM_BEAUTIFY_FLAG" val="#wm#"/>
  <p:tag name="KSO_WM_UNIT_TYPE" val="i"/>
  <p:tag name="KSO_WM_UNIT_INDEX" val="3"/>
</p:tagLst>
</file>

<file path=ppt/tags/tag59.xml><?xml version="1.0" encoding="utf-8"?>
<p:tagLst xmlns:p="http://schemas.openxmlformats.org/presentationml/2006/main">
  <p:tag name="KSO_WM_SLIDE_ID" val="diagram20194848_1"/>
  <p:tag name="KSO_WM_TEMPLATE_SUBCATEGORY" val="0"/>
  <p:tag name="KSO_WM_SLIDE_TYPE" val="text"/>
  <p:tag name="KSO_WM_SLIDE_SUBTYPE" val="pureTxt"/>
  <p:tag name="KSO_WM_SLIDE_ITEM_CNT" val="0"/>
  <p:tag name="KSO_WM_SLIDE_INDEX" val="1"/>
  <p:tag name="KSO_WM_SLIDE_SIZE" val="960*540"/>
  <p:tag name="KSO_WM_SLIDE_POSITION" val="0*0"/>
  <p:tag name="KSO_WM_TAG_VERSION" val="1.0"/>
  <p:tag name="KSO_WM_BEAUTIFY_FLAG" val="#wm#"/>
  <p:tag name="KSO_WM_TEMPLATE_CATEGORY" val="diagram"/>
  <p:tag name="KSO_WM_TEMPLATE_INDEX" val="20194848"/>
  <p:tag name="KSO_WM_SLIDE_LAYOUT" val="a_f"/>
  <p:tag name="KSO_WM_SLIDE_LAYOUT_CNT" val="1_2"/>
</p:tagLst>
</file>

<file path=ppt/tags/tag59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4"/>
  <p:tag name="KSO_WM_TEMPLATE_CATEGORY" val="diagram"/>
  <p:tag name="KSO_WM_TEMPLATE_INDEX" val="20194848"/>
  <p:tag name="KSO_WM_UNIT_LAYERLEVEL" val="1"/>
  <p:tag name="KSO_WM_TAG_VERSION" val="1.0"/>
  <p:tag name="KSO_WM_BEAUTIFY_FLAG" val="#wm#"/>
  <p:tag name="KSO_WM_UNIT_TYPE" val="i"/>
  <p:tag name="KSO_WM_UNIT_INDEX" val="4"/>
</p:tagLst>
</file>

<file path=ppt/tags/tag591.xml><?xml version="1.0" encoding="utf-8"?>
<p:tagLst xmlns:p="http://schemas.openxmlformats.org/presentationml/2006/main">
  <p:tag name="KSO_WM_UNIT_ISCONTENTSTITLE" val="0"/>
  <p:tag name="KSO_WM_UNIT_PRESET_TEXT" val="此处可添加您的大标题内容"/>
  <p:tag name="KSO_WM_UNIT_TEXT_PART_ID" val="2-X"/>
  <p:tag name="KSO_WM_UNIT_TEXT_PART_SIZE" val="49.2*559"/>
  <p:tag name="KSO_WM_UNIT_VALUE" val="26"/>
  <p:tag name="KSO_WM_UNIT_HIGHLIGHT" val="0"/>
  <p:tag name="KSO_WM_UNIT_COMPATIBLE" val="0"/>
  <p:tag name="KSO_WM_UNIT_DIAGRAM_ISNUMVISUAL" val="0"/>
  <p:tag name="KSO_WM_UNIT_DIAGRAM_ISREFERUNIT" val="0"/>
  <p:tag name="KSO_WM_UNIT_TYPE" val="a"/>
  <p:tag name="KSO_WM_UNIT_INDEX" val="1"/>
  <p:tag name="KSO_WM_UNIT_ID" val="diagram20194848_1*a*1"/>
  <p:tag name="KSO_WM_TEMPLATE_CATEGORY" val="diagram"/>
  <p:tag name="KSO_WM_TEMPLATE_INDEX" val="20194848"/>
  <p:tag name="KSO_WM_UNIT_LAYERLEVEL" val="1"/>
  <p:tag name="KSO_WM_TAG_VERSION" val="1.0"/>
  <p:tag name="KSO_WM_BEAUTIFY_FLAG" val="#wm#"/>
  <p:tag name="KSO_WM_UNIT_NOCLEAR" val="0"/>
  <p:tag name="KSO_WM_UNIT_TEXT_PART_ID_V2" val="a-3-1"/>
</p:tagLst>
</file>

<file path=ppt/tags/tag59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5"/>
  <p:tag name="KSO_WM_TEMPLATE_CATEGORY" val="diagram"/>
  <p:tag name="KSO_WM_TEMPLATE_INDEX" val="20194848"/>
  <p:tag name="KSO_WM_UNIT_LAYERLEVEL" val="1"/>
  <p:tag name="KSO_WM_TAG_VERSION" val="1.0"/>
  <p:tag name="KSO_WM_BEAUTIFY_FLAG" val="#wm#"/>
  <p:tag name="KSO_WM_UNIT_TYPE" val="i"/>
  <p:tag name="KSO_WM_UNIT_INDEX" val="5"/>
</p:tagLst>
</file>

<file path=ppt/tags/tag59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7"/>
  <p:tag name="KSO_WM_TEMPLATE_CATEGORY" val="diagram"/>
  <p:tag name="KSO_WM_TEMPLATE_INDEX" val="20194848"/>
  <p:tag name="KSO_WM_UNIT_LAYERLEVEL" val="1"/>
  <p:tag name="KSO_WM_TAG_VERSION" val="1.0"/>
  <p:tag name="KSO_WM_BEAUTIFY_FLAG" val="#wm#"/>
  <p:tag name="KSO_WM_UNIT_TYPE" val="i"/>
  <p:tag name="KSO_WM_UNIT_INDEX" val="7"/>
</p:tagLst>
</file>

<file path=ppt/tags/tag59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8"/>
  <p:tag name="KSO_WM_TEMPLATE_CATEGORY" val="diagram"/>
  <p:tag name="KSO_WM_TEMPLATE_INDEX" val="20194848"/>
  <p:tag name="KSO_WM_UNIT_LAYERLEVEL" val="1"/>
  <p:tag name="KSO_WM_TAG_VERSION" val="1.0"/>
  <p:tag name="KSO_WM_BEAUTIFY_FLAG" val="#wm#"/>
  <p:tag name="KSO_WM_UNIT_TYPE" val="i"/>
  <p:tag name="KSO_WM_UNIT_INDEX" val="8"/>
</p:tagLst>
</file>

<file path=ppt/tags/tag595.xml><?xml version="1.0" encoding="utf-8"?>
<p:tagLst xmlns:p="http://schemas.openxmlformats.org/presentationml/2006/main">
  <p:tag name="KSO_WM_UNIT_TEXT_PART_ID_V2" val="d-2-2"/>
  <p:tag name="KSO_WM_UNIT_PRESET_TEXT" val="单击添加小标题：&#13;点击此处添加正文，文字是您思想的提炼。&#13;请言简意赅的阐述观点,根据需要增减文字。&#13;以便观者可以准确理解您所传达的完整信息。&#13;以便观者可以准确理解您所传达的完整信息。&#13;您的正文已经字字珠玑，但信息却错综复杂。&#13;需要用更多的文字来表述,请您尽可能提炼。&#13;否则容易造成观者的阅读压力，适得其反。"/>
  <p:tag name="KSO_WM_UNIT_NOCLEAR" val="1"/>
  <p:tag name="KSO_WM_UNIT_VALUE" val="234"/>
  <p:tag name="KSO_WM_UNIT_HIGHLIGHT" val="0"/>
  <p:tag name="KSO_WM_UNIT_COMPATIBLE" val="0"/>
  <p:tag name="KSO_WM_UNIT_DIAGRAM_ISNUMVISUAL" val="0"/>
  <p:tag name="KSO_WM_UNIT_DIAGRAM_ISREFERUNIT" val="0"/>
  <p:tag name="KSO_WM_UNIT_TYPE" val="f"/>
  <p:tag name="KSO_WM_UNIT_INDEX" val="1"/>
  <p:tag name="KSO_WM_UNIT_ID" val="diagram20194715_1*f*1"/>
  <p:tag name="KSO_WM_TEMPLATE_CATEGORY" val="diagram"/>
  <p:tag name="KSO_WM_TEMPLATE_INDEX" val="20194715"/>
  <p:tag name="KSO_WM_UNIT_LAYERLEVEL" val="1"/>
  <p:tag name="KSO_WM_TAG_VERSION" val="1.0"/>
  <p:tag name="KSO_WM_BEAUTIFY_FLAG" val="#wm#"/>
  <p:tag name="KSO_WM_UNIT_COLOR_SCHEME_SHAPE_ID" val="5"/>
  <p:tag name="KSO_WM_UNIT_COLOR_SCHEME_PARENT_PAGE" val="0_1"/>
</p:tagLst>
</file>

<file path=ppt/tags/tag596.xml><?xml version="1.0" encoding="utf-8"?>
<p:tagLst xmlns:p="http://schemas.openxmlformats.org/presentationml/2006/main">
  <p:tag name="KSO_WM_SLIDE_ID" val="diagram20194848_1"/>
  <p:tag name="KSO_WM_TEMPLATE_SUBCATEGORY" val="0"/>
  <p:tag name="KSO_WM_SLIDE_TYPE" val="text"/>
  <p:tag name="KSO_WM_SLIDE_SUBTYPE" val="pureTxt"/>
  <p:tag name="KSO_WM_SLIDE_ITEM_CNT" val="0"/>
  <p:tag name="KSO_WM_SLIDE_INDEX" val="1"/>
  <p:tag name="KSO_WM_SLIDE_SIZE" val="960*540"/>
  <p:tag name="KSO_WM_SLIDE_POSITION" val="0*0"/>
  <p:tag name="KSO_WM_TAG_VERSION" val="1.0"/>
  <p:tag name="KSO_WM_BEAUTIFY_FLAG" val="#wm#"/>
  <p:tag name="KSO_WM_TEMPLATE_CATEGORY" val="diagram"/>
  <p:tag name="KSO_WM_TEMPLATE_INDEX" val="20194848"/>
  <p:tag name="KSO_WM_SLIDE_LAYOUT" val="a_f"/>
  <p:tag name="KSO_WM_SLIDE_LAYOUT_CNT" val="1_2"/>
</p:tagLst>
</file>

<file path=ppt/tags/tag597.xml><?xml version="1.0" encoding="utf-8"?>
<p:tagLst xmlns:p="http://schemas.openxmlformats.org/presentationml/2006/main">
  <p:tag name="KSO_WM_UNIT_LARGE_SHAPE" val="1"/>
  <p:tag name="KSO_WM_UNIT_HIGHLIGHT" val="0"/>
  <p:tag name="KSO_WM_UNIT_COMPATIBLE" val="0"/>
  <p:tag name="KSO_WM_UNIT_DIAGRAM_ISNUMVISUAL" val="0"/>
  <p:tag name="KSO_WM_UNIT_DIAGRAM_ISREFERUNIT" val="0"/>
  <p:tag name="KSO_WM_UNIT_ID" val="diagram20194848_1*i*1"/>
  <p:tag name="KSO_WM_TEMPLATE_CATEGORY" val="diagram"/>
  <p:tag name="KSO_WM_TEMPLATE_INDEX" val="20194848"/>
  <p:tag name="KSO_WM_UNIT_LAYERLEVEL" val="1"/>
  <p:tag name="KSO_WM_TAG_VERSION" val="1.0"/>
  <p:tag name="KSO_WM_BEAUTIFY_FLAG" val="#wm#"/>
  <p:tag name="KSO_WM_UNIT_TYPE" val="i"/>
  <p:tag name="KSO_WM_UNIT_INDEX" val="1"/>
</p:tagLst>
</file>

<file path=ppt/tags/tag59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2"/>
  <p:tag name="KSO_WM_TEMPLATE_CATEGORY" val="diagram"/>
  <p:tag name="KSO_WM_TEMPLATE_INDEX" val="20194848"/>
  <p:tag name="KSO_WM_UNIT_LAYERLEVEL" val="1"/>
  <p:tag name="KSO_WM_TAG_VERSION" val="1.0"/>
  <p:tag name="KSO_WM_BEAUTIFY_FLAG" val="#wm#"/>
  <p:tag name="KSO_WM_UNIT_TYPE" val="i"/>
  <p:tag name="KSO_WM_UNIT_INDEX" val="2"/>
</p:tagLst>
</file>

<file path=ppt/tags/tag59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3"/>
  <p:tag name="KSO_WM_TEMPLATE_CATEGORY" val="diagram"/>
  <p:tag name="KSO_WM_TEMPLATE_INDEX" val="20194848"/>
  <p:tag name="KSO_WM_UNIT_LAYERLEVEL" val="1"/>
  <p:tag name="KSO_WM_TAG_VERSION" val="1.0"/>
  <p:tag name="KSO_WM_BEAUTIFY_FLAG" val="#wm#"/>
  <p:tag name="KSO_WM_UNIT_TYPE" val="i"/>
  <p:tag name="KSO_WM_UNIT_INDEX" val="3"/>
</p:tagLst>
</file>

<file path=ppt/tags/tag6.xml><?xml version="1.0" encoding="utf-8"?>
<p:tagLst xmlns:p="http://schemas.openxmlformats.org/presentationml/2006/main">
  <p:tag name="KSO_WM_TAG_VERSION" val="1.0"/>
  <p:tag name="KSO_WM_TEMPLATE_CATEGORY" val="preset"/>
  <p:tag name="KSO_WM_TEMPLATE_INDEX" val="1"/>
  <p:tag name="KSO_WM_UNIT_TYPE" val="m_h_f"/>
  <p:tag name="KSO_WM_UNIT_INDEX" val="1_3_1"/>
  <p:tag name="KSO_WM_UNIT_ID" val="150995273*m_h_f*1_3_1"/>
  <p:tag name="KSO_WM_UNIT_CLEAR" val="1"/>
  <p:tag name="KSO_WM_UNIT_LAYERLEVEL" val="1_1_1"/>
  <p:tag name="KSO_WM_UNIT_VALUE" val="63"/>
  <p:tag name="KSO_WM_UNIT_HIGHLIGHT" val="0"/>
  <p:tag name="KSO_WM_UNIT_COMPATIBLE" val="0"/>
  <p:tag name="KSO_WM_UNIT_PRESET_TEXT" val="请在此处添加文本"/>
  <p:tag name="KSO_WM_BEAUTIFY_FLAG" val="#wm#"/>
  <p:tag name="KSO_WM_DIAGRAM_GROUP_CODE" val="第十组"/>
  <p:tag name="KSO_WM_UNIT_LINE_FORE_SCHEMECOLOR_INDEX" val="14"/>
  <p:tag name="KSO_WM_UNIT_LINE_FILL_TYPE" val="2"/>
  <p:tag name="KSO_WM_UNIT_TEXT_FILL_FORE_SCHEMECOLOR_INDEX" val="13"/>
  <p:tag name="KSO_WM_UNIT_TEXT_FILL_TYPE" val="1"/>
  <p:tag name="KSO_WM_UNIT_USESOURCEFORMAT_APPLY" val="1"/>
</p:tagLst>
</file>

<file path=ppt/tags/tag6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
  <p:tag name="KSO_WM_UNIT_ID" val="diagram20194720_1*i*1"/>
  <p:tag name="KSO_WM_TEMPLATE_CATEGORY" val="diagram"/>
  <p:tag name="KSO_WM_TEMPLATE_INDEX" val="20194720"/>
  <p:tag name="KSO_WM_UNIT_LAYERLEVEL" val="1"/>
  <p:tag name="KSO_WM_TAG_VERSION" val="1.0"/>
  <p:tag name="KSO_WM_BEAUTIFY_FLAG" val="#wm#"/>
  <p:tag name="KSO_WM_UNIT_COLOR_SCHEME_SHAPE_ID" val="5"/>
  <p:tag name="KSO_WM_UNIT_COLOR_SCHEME_PARENT_PAGE" val="0_1"/>
  <p:tag name="KSO_WM_UNIT_DECOLORIZATION" val="1"/>
</p:tagLst>
</file>

<file path=ppt/tags/tag60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4"/>
  <p:tag name="KSO_WM_TEMPLATE_CATEGORY" val="diagram"/>
  <p:tag name="KSO_WM_TEMPLATE_INDEX" val="20194848"/>
  <p:tag name="KSO_WM_UNIT_LAYERLEVEL" val="1"/>
  <p:tag name="KSO_WM_TAG_VERSION" val="1.0"/>
  <p:tag name="KSO_WM_BEAUTIFY_FLAG" val="#wm#"/>
  <p:tag name="KSO_WM_UNIT_TYPE" val="i"/>
  <p:tag name="KSO_WM_UNIT_INDEX" val="4"/>
</p:tagLst>
</file>

<file path=ppt/tags/tag601.xml><?xml version="1.0" encoding="utf-8"?>
<p:tagLst xmlns:p="http://schemas.openxmlformats.org/presentationml/2006/main">
  <p:tag name="KSO_WM_UNIT_ISCONTENTSTITLE" val="0"/>
  <p:tag name="KSO_WM_UNIT_PRESET_TEXT" val="此处可添加您的大标题内容"/>
  <p:tag name="KSO_WM_UNIT_TEXT_PART_ID" val="2-X"/>
  <p:tag name="KSO_WM_UNIT_TEXT_PART_SIZE" val="49.2*559"/>
  <p:tag name="KSO_WM_UNIT_VALUE" val="26"/>
  <p:tag name="KSO_WM_UNIT_HIGHLIGHT" val="0"/>
  <p:tag name="KSO_WM_UNIT_COMPATIBLE" val="0"/>
  <p:tag name="KSO_WM_UNIT_DIAGRAM_ISNUMVISUAL" val="0"/>
  <p:tag name="KSO_WM_UNIT_DIAGRAM_ISREFERUNIT" val="0"/>
  <p:tag name="KSO_WM_UNIT_TYPE" val="a"/>
  <p:tag name="KSO_WM_UNIT_INDEX" val="1"/>
  <p:tag name="KSO_WM_UNIT_ID" val="diagram20194848_1*a*1"/>
  <p:tag name="KSO_WM_TEMPLATE_CATEGORY" val="diagram"/>
  <p:tag name="KSO_WM_TEMPLATE_INDEX" val="20194848"/>
  <p:tag name="KSO_WM_UNIT_LAYERLEVEL" val="1"/>
  <p:tag name="KSO_WM_TAG_VERSION" val="1.0"/>
  <p:tag name="KSO_WM_BEAUTIFY_FLAG" val="#wm#"/>
  <p:tag name="KSO_WM_UNIT_NOCLEAR" val="0"/>
  <p:tag name="KSO_WM_UNIT_TEXT_PART_ID_V2" val="a-3-1"/>
</p:tagLst>
</file>

<file path=ppt/tags/tag60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5"/>
  <p:tag name="KSO_WM_TEMPLATE_CATEGORY" val="diagram"/>
  <p:tag name="KSO_WM_TEMPLATE_INDEX" val="20194848"/>
  <p:tag name="KSO_WM_UNIT_LAYERLEVEL" val="1"/>
  <p:tag name="KSO_WM_TAG_VERSION" val="1.0"/>
  <p:tag name="KSO_WM_BEAUTIFY_FLAG" val="#wm#"/>
  <p:tag name="KSO_WM_UNIT_TYPE" val="i"/>
  <p:tag name="KSO_WM_UNIT_INDEX" val="5"/>
</p:tagLst>
</file>

<file path=ppt/tags/tag60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7"/>
  <p:tag name="KSO_WM_TEMPLATE_CATEGORY" val="diagram"/>
  <p:tag name="KSO_WM_TEMPLATE_INDEX" val="20194848"/>
  <p:tag name="KSO_WM_UNIT_LAYERLEVEL" val="1"/>
  <p:tag name="KSO_WM_TAG_VERSION" val="1.0"/>
  <p:tag name="KSO_WM_BEAUTIFY_FLAG" val="#wm#"/>
  <p:tag name="KSO_WM_UNIT_TYPE" val="i"/>
  <p:tag name="KSO_WM_UNIT_INDEX" val="7"/>
</p:tagLst>
</file>

<file path=ppt/tags/tag60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8"/>
  <p:tag name="KSO_WM_TEMPLATE_CATEGORY" val="diagram"/>
  <p:tag name="KSO_WM_TEMPLATE_INDEX" val="20194848"/>
  <p:tag name="KSO_WM_UNIT_LAYERLEVEL" val="1"/>
  <p:tag name="KSO_WM_TAG_VERSION" val="1.0"/>
  <p:tag name="KSO_WM_BEAUTIFY_FLAG" val="#wm#"/>
  <p:tag name="KSO_WM_UNIT_TYPE" val="i"/>
  <p:tag name="KSO_WM_UNIT_INDEX" val="8"/>
</p:tagLst>
</file>

<file path=ppt/tags/tag605.xml><?xml version="1.0" encoding="utf-8"?>
<p:tagLst xmlns:p="http://schemas.openxmlformats.org/presentationml/2006/main">
  <p:tag name="KSO_WM_UNIT_TEXT_PART_ID_V2" val="d-2-2"/>
  <p:tag name="KSO_WM_UNIT_PRESET_TEXT" val="单击添加小标题：&#13;点击此处添加正文，文字是您思想的提炼。&#13;请言简意赅的阐述观点,根据需要增减文字。&#13;以便观者可以准确理解您所传达的完整信息。&#13;以便观者可以准确理解您所传达的完整信息。&#13;您的正文已经字字珠玑，但信息却错综复杂。&#13;需要用更多的文字来表述,请您尽可能提炼。&#13;否则容易造成观者的阅读压力，适得其反。"/>
  <p:tag name="KSO_WM_UNIT_NOCLEAR" val="1"/>
  <p:tag name="KSO_WM_UNIT_VALUE" val="234"/>
  <p:tag name="KSO_WM_UNIT_HIGHLIGHT" val="0"/>
  <p:tag name="KSO_WM_UNIT_COMPATIBLE" val="0"/>
  <p:tag name="KSO_WM_UNIT_DIAGRAM_ISNUMVISUAL" val="0"/>
  <p:tag name="KSO_WM_UNIT_DIAGRAM_ISREFERUNIT" val="0"/>
  <p:tag name="KSO_WM_UNIT_TYPE" val="f"/>
  <p:tag name="KSO_WM_UNIT_INDEX" val="1"/>
  <p:tag name="KSO_WM_UNIT_ID" val="diagram20194715_1*f*1"/>
  <p:tag name="KSO_WM_TEMPLATE_CATEGORY" val="diagram"/>
  <p:tag name="KSO_WM_TEMPLATE_INDEX" val="20194715"/>
  <p:tag name="KSO_WM_UNIT_LAYERLEVEL" val="1"/>
  <p:tag name="KSO_WM_TAG_VERSION" val="1.0"/>
  <p:tag name="KSO_WM_BEAUTIFY_FLAG" val="#wm#"/>
  <p:tag name="KSO_WM_UNIT_COLOR_SCHEME_SHAPE_ID" val="5"/>
  <p:tag name="KSO_WM_UNIT_COLOR_SCHEME_PARENT_PAGE" val="0_1"/>
</p:tagLst>
</file>

<file path=ppt/tags/tag606.xml><?xml version="1.0" encoding="utf-8"?>
<p:tagLst xmlns:p="http://schemas.openxmlformats.org/presentationml/2006/main">
  <p:tag name="KSO_WM_SLIDE_ID" val="diagram20194848_1"/>
  <p:tag name="KSO_WM_TEMPLATE_SUBCATEGORY" val="0"/>
  <p:tag name="KSO_WM_SLIDE_TYPE" val="text"/>
  <p:tag name="KSO_WM_SLIDE_SUBTYPE" val="pureTxt"/>
  <p:tag name="KSO_WM_SLIDE_ITEM_CNT" val="0"/>
  <p:tag name="KSO_WM_SLIDE_INDEX" val="1"/>
  <p:tag name="KSO_WM_SLIDE_SIZE" val="960*540"/>
  <p:tag name="KSO_WM_SLIDE_POSITION" val="0*0"/>
  <p:tag name="KSO_WM_TAG_VERSION" val="1.0"/>
  <p:tag name="KSO_WM_BEAUTIFY_FLAG" val="#wm#"/>
  <p:tag name="KSO_WM_TEMPLATE_CATEGORY" val="diagram"/>
  <p:tag name="KSO_WM_TEMPLATE_INDEX" val="20194848"/>
  <p:tag name="KSO_WM_SLIDE_LAYOUT" val="a_f"/>
  <p:tag name="KSO_WM_SLIDE_LAYOUT_CNT" val="1_2"/>
</p:tagLst>
</file>

<file path=ppt/tags/tag607.xml><?xml version="1.0" encoding="utf-8"?>
<p:tagLst xmlns:p="http://schemas.openxmlformats.org/presentationml/2006/main">
  <p:tag name="KSO_WM_UNIT_LARGE_SHAPE" val="1"/>
  <p:tag name="KSO_WM_UNIT_HIGHLIGHT" val="0"/>
  <p:tag name="KSO_WM_UNIT_COMPATIBLE" val="0"/>
  <p:tag name="KSO_WM_UNIT_DIAGRAM_ISNUMVISUAL" val="0"/>
  <p:tag name="KSO_WM_UNIT_DIAGRAM_ISREFERUNIT" val="0"/>
  <p:tag name="KSO_WM_UNIT_TYPE" val="i"/>
  <p:tag name="KSO_WM_UNIT_INDEX" val="1"/>
  <p:tag name="KSO_WM_UNIT_ID" val="diagram20194598_1*i*1"/>
  <p:tag name="KSO_WM_TEMPLATE_CATEGORY" val="diagram"/>
  <p:tag name="KSO_WM_TEMPLATE_INDEX" val="20194598"/>
  <p:tag name="KSO_WM_UNIT_LAYERLEVEL" val="1"/>
  <p:tag name="KSO_WM_TAG_VERSION" val="1.0"/>
  <p:tag name="KSO_WM_BEAUTIFY_FLAG" val="#wm#"/>
  <p:tag name="KSO_WM_UNIT_FOIL_COLOR" val="1"/>
  <p:tag name="KSO_WM_UNIT_COLOR_SCHEME_SHAPE_ID" val="20"/>
  <p:tag name="KSO_WM_UNIT_COLOR_SCHEME_PARENT_PAGE" val="0_1"/>
</p:tagLst>
</file>

<file path=ppt/tags/tag60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
  <p:tag name="KSO_WM_UNIT_ID" val="diagram20194598_1*i*3"/>
  <p:tag name="KSO_WM_TEMPLATE_CATEGORY" val="diagram"/>
  <p:tag name="KSO_WM_TEMPLATE_INDEX" val="20194598"/>
  <p:tag name="KSO_WM_UNIT_LAYERLEVEL" val="1"/>
  <p:tag name="KSO_WM_TAG_VERSION" val="1.0"/>
  <p:tag name="KSO_WM_BEAUTIFY_FLAG" val="#wm#"/>
  <p:tag name="KSO_WM_UNIT_COLOR_SCHEME_SHAPE_ID" val="12"/>
  <p:tag name="KSO_WM_UNIT_COLOR_SCHEME_PARENT_PAGE" val="0_1"/>
  <p:tag name="KSO_WM_UNIT_DECOLORIZATION" val="1"/>
</p:tagLst>
</file>

<file path=ppt/tags/tag60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
  <p:tag name="KSO_WM_UNIT_ID" val="diagram20194598_1*i*4"/>
  <p:tag name="KSO_WM_TEMPLATE_CATEGORY" val="diagram"/>
  <p:tag name="KSO_WM_TEMPLATE_INDEX" val="20194598"/>
  <p:tag name="KSO_WM_UNIT_LAYERLEVEL" val="1"/>
  <p:tag name="KSO_WM_TAG_VERSION" val="1.0"/>
  <p:tag name="KSO_WM_BEAUTIFY_FLAG" val="#wm#"/>
  <p:tag name="KSO_WM_UNIT_COLOR_SCHEME_SHAPE_ID" val="13"/>
  <p:tag name="KSO_WM_UNIT_COLOR_SCHEME_PARENT_PAGE" val="0_1"/>
  <p:tag name="KSO_WM_UNIT_DECOLORIZATION" val="1"/>
</p:tagLst>
</file>

<file path=ppt/tags/tag6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
  <p:tag name="KSO_WM_UNIT_ID" val="diagram20194720_1*i*2"/>
  <p:tag name="KSO_WM_TEMPLATE_CATEGORY" val="diagram"/>
  <p:tag name="KSO_WM_TEMPLATE_INDEX" val="20194720"/>
  <p:tag name="KSO_WM_UNIT_LAYERLEVEL" val="1"/>
  <p:tag name="KSO_WM_TAG_VERSION" val="1.0"/>
  <p:tag name="KSO_WM_BEAUTIFY_FLAG" val="#wm#"/>
  <p:tag name="KSO_WM_UNIT_COLOR_SCHEME_SHAPE_ID" val="6"/>
  <p:tag name="KSO_WM_UNIT_COLOR_SCHEME_PARENT_PAGE" val="0_1"/>
</p:tagLst>
</file>

<file path=ppt/tags/tag61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4"/>
  <p:tag name="KSO_WM_TEMPLATE_CATEGORY" val="diagram"/>
  <p:tag name="KSO_WM_TEMPLATE_INDEX" val="20194848"/>
  <p:tag name="KSO_WM_UNIT_LAYERLEVEL" val="1"/>
  <p:tag name="KSO_WM_TAG_VERSION" val="1.0"/>
  <p:tag name="KSO_WM_BEAUTIFY_FLAG" val="#wm#"/>
  <p:tag name="KSO_WM_UNIT_TYPE" val="i"/>
  <p:tag name="KSO_WM_UNIT_INDEX" val="4"/>
</p:tagLst>
</file>

<file path=ppt/tags/tag611.xml><?xml version="1.0" encoding="utf-8"?>
<p:tagLst xmlns:p="http://schemas.openxmlformats.org/presentationml/2006/main">
  <p:tag name="KSO_WM_UNIT_TEXT_PART_ID_V2" val="d-1-2"/>
  <p:tag name="KSO_WM_UNIT_PRESET_TEXT" val="单击此处添加小标题：&#13;点击此处添加正文，文字是您思想的提炼。&#13;单击此处添加小标题：&#13;请言简意赅恰如其分的阐述观点,您的正文已经字字珠玑，但信息却错综复杂，需要用更多的文字来表述。"/>
  <p:tag name="KSO_WM_UNIT_NOCLEAR" val="1"/>
  <p:tag name="KSO_WM_UNIT_VALUE" val="130"/>
  <p:tag name="KSO_WM_UNIT_HIGHLIGHT" val="0"/>
  <p:tag name="KSO_WM_UNIT_COMPATIBLE" val="0"/>
  <p:tag name="KSO_WM_UNIT_DIAGRAM_ISNUMVISUAL" val="0"/>
  <p:tag name="KSO_WM_UNIT_DIAGRAM_ISREFERUNIT" val="0"/>
  <p:tag name="KSO_WM_UNIT_TYPE" val="f"/>
  <p:tag name="KSO_WM_UNIT_INDEX" val="1"/>
  <p:tag name="KSO_WM_UNIT_ID" val="diagram20194598_1*f*1"/>
  <p:tag name="KSO_WM_TEMPLATE_CATEGORY" val="diagram"/>
  <p:tag name="KSO_WM_TEMPLATE_INDEX" val="20194598"/>
  <p:tag name="KSO_WM_UNIT_LAYERLEVEL" val="1"/>
  <p:tag name="KSO_WM_TAG_VERSION" val="1.0"/>
  <p:tag name="KSO_WM_BEAUTIFY_FLAG" val="#wm#"/>
  <p:tag name="KSO_WM_UNIT_COLOR_SCHEME_SHAPE_ID" val="2"/>
  <p:tag name="KSO_WM_UNIT_COLOR_SCHEME_PARENT_PAGE" val="0_1"/>
</p:tagLst>
</file>

<file path=ppt/tags/tag612.xml><?xml version="1.0" encoding="utf-8"?>
<p:tagLst xmlns:p="http://schemas.openxmlformats.org/presentationml/2006/main">
  <p:tag name="KSO_WM_SLIDE_ID" val="diagram20194598_1"/>
  <p:tag name="KSO_WM_SLIDE_ITEM_CNT" val="0"/>
  <p:tag name="KSO_WM_SLIDE_INDEX" val="1"/>
  <p:tag name="KSO_WM_TAG_VERSION" val="1.0"/>
  <p:tag name="KSO_WM_BEAUTIFY_FLAG" val="#wm#"/>
  <p:tag name="KSO_WM_TEMPLATE_CATEGORY" val="diagram"/>
  <p:tag name="KSO_WM_TEMPLATE_INDEX" val="20194598"/>
  <p:tag name="KSO_WM_SLIDE_LAYOUT" val="a_f"/>
  <p:tag name="KSO_WM_SLIDE_LAYOUT_CNT" val="1_1"/>
  <p:tag name="KSO_WM_SLIDE_TYPE" val="text"/>
  <p:tag name="KSO_WM_SLIDE_SUBTYPE" val="pureTxt"/>
  <p:tag name="KSO_WM_SLIDE_SIZE" val="960*540"/>
  <p:tag name="KSO_WM_SLIDE_POSITION" val="0*0"/>
  <p:tag name="KSO_WM_SLIDE_COLORSCHEME_VERSION" val="3.2"/>
  <p:tag name="KSO_WM_TEMPLATE_SUBCATEGORY" val="0"/>
</p:tagLst>
</file>

<file path=ppt/tags/tag6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
  <p:tag name="KSO_WM_UNIT_ID" val="diagram20194720_1*i*3"/>
  <p:tag name="KSO_WM_TEMPLATE_CATEGORY" val="diagram"/>
  <p:tag name="KSO_WM_TEMPLATE_INDEX" val="20194720"/>
  <p:tag name="KSO_WM_UNIT_LAYERLEVEL" val="1"/>
  <p:tag name="KSO_WM_TAG_VERSION" val="1.0"/>
  <p:tag name="KSO_WM_BEAUTIFY_FLAG" val="#wm#"/>
  <p:tag name="KSO_WM_UNIT_COLOR_SCHEME_SHAPE_ID" val="7"/>
  <p:tag name="KSO_WM_UNIT_COLOR_SCHEME_PARENT_PAGE" val="0_1"/>
  <p:tag name="KSO_WM_UNIT_FOIL_COLOR" val="1"/>
</p:tagLst>
</file>

<file path=ppt/tags/tag6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
  <p:tag name="KSO_WM_UNIT_ID" val="diagram20194720_1*i*4"/>
  <p:tag name="KSO_WM_TEMPLATE_CATEGORY" val="diagram"/>
  <p:tag name="KSO_WM_TEMPLATE_INDEX" val="20194720"/>
  <p:tag name="KSO_WM_UNIT_LAYERLEVEL" val="1"/>
  <p:tag name="KSO_WM_TAG_VERSION" val="1.0"/>
  <p:tag name="KSO_WM_BEAUTIFY_FLAG" val="#wm#"/>
  <p:tag name="KSO_WM_UNIT_COLOR_SCHEME_SHAPE_ID" val="8"/>
  <p:tag name="KSO_WM_UNIT_COLOR_SCHEME_PARENT_PAGE" val="0_1"/>
</p:tagLst>
</file>

<file path=ppt/tags/tag64.xml><?xml version="1.0" encoding="utf-8"?>
<p:tagLst xmlns:p="http://schemas.openxmlformats.org/presentationml/2006/main">
  <p:tag name="KSO_WM_UNIT_TEXT_PART_ID_V2" val="d-2-2"/>
  <p:tag name="KSO_WM_UNIT_PRESET_TEXT" val="单击此处添加小标题:&#13;点击此处添加正文文字是您思想的提炼。&#13;为了最终呈现发布的良好效果，请言简意赅的阐述您的观点，并根据需要酌情增减文字即便信息复杂，需要用更多的文字来表。&#13;述请您尽可能提炼思想的精髓。&#13;恰如其分的表达观点，往往事半功倍。"/>
  <p:tag name="KSO_WM_UNIT_NOCLEAR" val="1"/>
  <p:tag name="KSO_WM_UNIT_VALUE" val="182"/>
  <p:tag name="KSO_WM_UNIT_HIGHLIGHT" val="0"/>
  <p:tag name="KSO_WM_UNIT_COMPATIBLE" val="0"/>
  <p:tag name="KSO_WM_UNIT_DIAGRAM_ISNUMVISUAL" val="0"/>
  <p:tag name="KSO_WM_UNIT_DIAGRAM_ISREFERUNIT" val="0"/>
  <p:tag name="KSO_WM_UNIT_TYPE" val="f"/>
  <p:tag name="KSO_WM_UNIT_INDEX" val="1"/>
  <p:tag name="KSO_WM_UNIT_ID" val="diagram20194720_1*f*1"/>
  <p:tag name="KSO_WM_TEMPLATE_CATEGORY" val="diagram"/>
  <p:tag name="KSO_WM_TEMPLATE_INDEX" val="20194720"/>
  <p:tag name="KSO_WM_UNIT_LAYERLEVEL" val="1"/>
  <p:tag name="KSO_WM_TAG_VERSION" val="1.0"/>
  <p:tag name="KSO_WM_BEAUTIFY_FLAG" val="#wm#"/>
  <p:tag name="KSO_WM_UNIT_COLOR_SCHEME_SHAPE_ID" val="3"/>
  <p:tag name="KSO_WM_UNIT_COLOR_SCHEME_PARENT_PAGE" val="0_1"/>
</p:tagLst>
</file>

<file path=ppt/tags/tag65.xml><?xml version="1.0" encoding="utf-8"?>
<p:tagLst xmlns:p="http://schemas.openxmlformats.org/presentationml/2006/main">
  <p:tag name="KSO_WM_UNIT_TEXT_PART_ID_V2" val="a-3-2"/>
  <p:tag name="KSO_WM_UNIT_ISCONTENTSTITLE" val="0"/>
  <p:tag name="KSO_WM_UNIT_PRESET_TEXT" val="单击添加大标题"/>
  <p:tag name="KSO_WM_UNIT_NOCLEAR" val="0"/>
  <p:tag name="KSO_WM_UNIT_VALUE" val="17"/>
  <p:tag name="KSO_WM_UNIT_HIGHLIGHT" val="0"/>
  <p:tag name="KSO_WM_UNIT_COMPATIBLE" val="0"/>
  <p:tag name="KSO_WM_UNIT_DIAGRAM_ISNUMVISUAL" val="0"/>
  <p:tag name="KSO_WM_UNIT_DIAGRAM_ISREFERUNIT" val="0"/>
  <p:tag name="KSO_WM_UNIT_TYPE" val="a"/>
  <p:tag name="KSO_WM_UNIT_INDEX" val="1"/>
  <p:tag name="KSO_WM_UNIT_ID" val="diagram20194720_1*a*1"/>
  <p:tag name="KSO_WM_TEMPLATE_CATEGORY" val="diagram"/>
  <p:tag name="KSO_WM_TEMPLATE_INDEX" val="20194720"/>
  <p:tag name="KSO_WM_UNIT_LAYERLEVEL" val="1"/>
  <p:tag name="KSO_WM_TAG_VERSION" val="1.0"/>
  <p:tag name="KSO_WM_BEAUTIFY_FLAG" val="#wm#"/>
  <p:tag name="KSO_WM_UNIT_COLOR_SCHEME_SHAPE_ID" val="10"/>
  <p:tag name="KSO_WM_UNIT_COLOR_SCHEME_PARENT_PAGE" val="0_1"/>
</p:tagLst>
</file>

<file path=ppt/tags/tag66.xml><?xml version="1.0" encoding="utf-8"?>
<p:tagLst xmlns:p="http://schemas.openxmlformats.org/presentationml/2006/main">
  <p:tag name="KSO_WM_UNIT_TEXT_PART_ID_V2" val="d-2-2"/>
  <p:tag name="KSO_WM_UNIT_PRESET_TEXT" val="单击此处添加小标题:&#13;点击此处添加正文文字是您思想的提炼。&#13;为了最终呈现发布的良好效果，请言简意赅的阐述您的观点，并根据需要酌情增减文字即便信息复杂，需要用更多的文字来表。&#13;述请您尽可能提炼思想的精髓。&#13;恰如其分的表达观点，往往事半功倍。"/>
  <p:tag name="KSO_WM_UNIT_NOCLEAR" val="1"/>
  <p:tag name="KSO_WM_UNIT_VALUE" val="182"/>
  <p:tag name="KSO_WM_UNIT_HIGHLIGHT" val="0"/>
  <p:tag name="KSO_WM_UNIT_COMPATIBLE" val="0"/>
  <p:tag name="KSO_WM_UNIT_DIAGRAM_ISNUMVISUAL" val="0"/>
  <p:tag name="KSO_WM_UNIT_DIAGRAM_ISREFERUNIT" val="0"/>
  <p:tag name="KSO_WM_UNIT_TYPE" val="f"/>
  <p:tag name="KSO_WM_UNIT_INDEX" val="1"/>
  <p:tag name="KSO_WM_UNIT_ID" val="diagram20194720_1*f*1"/>
  <p:tag name="KSO_WM_TEMPLATE_CATEGORY" val="diagram"/>
  <p:tag name="KSO_WM_TEMPLATE_INDEX" val="20194720"/>
  <p:tag name="KSO_WM_UNIT_LAYERLEVEL" val="1"/>
  <p:tag name="KSO_WM_TAG_VERSION" val="1.0"/>
  <p:tag name="KSO_WM_BEAUTIFY_FLAG" val="#wm#"/>
  <p:tag name="KSO_WM_UNIT_COLOR_SCHEME_SHAPE_ID" val="3"/>
  <p:tag name="KSO_WM_UNIT_COLOR_SCHEME_PARENT_PAGE" val="0_1"/>
</p:tagLst>
</file>

<file path=ppt/tags/tag67.xml><?xml version="1.0" encoding="utf-8"?>
<p:tagLst xmlns:p="http://schemas.openxmlformats.org/presentationml/2006/main">
  <p:tag name="KSO_WM_SLIDE_ID" val="diagram20194720_1"/>
  <p:tag name="KSO_WM_SLIDE_ITEM_CNT" val="0"/>
  <p:tag name="KSO_WM_SLIDE_INDEX" val="1"/>
  <p:tag name="KSO_WM_TAG_VERSION" val="1.0"/>
  <p:tag name="KSO_WM_BEAUTIFY_FLAG" val="#wm#"/>
  <p:tag name="KSO_WM_TEMPLATE_CATEGORY" val="diagram"/>
  <p:tag name="KSO_WM_TEMPLATE_INDEX" val="20194720"/>
  <p:tag name="KSO_WM_SLIDE_LAYOUT" val="a_f"/>
  <p:tag name="KSO_WM_SLIDE_LAYOUT_CNT" val="1_1"/>
  <p:tag name="KSO_WM_SLIDE_TYPE" val="text"/>
  <p:tag name="KSO_WM_SLIDE_SUBTYPE" val="pureTxt"/>
  <p:tag name="KSO_WM_SLIDE_SIZE" val="817*432"/>
  <p:tag name="KSO_WM_SLIDE_POSITION" val="45*54"/>
  <p:tag name="KSO_WM_SLIDE_COLORSCHEME_VERSION" val="3.2"/>
  <p:tag name="KSO_WM_TEMPLATE_SUBCATEGORY" val="0"/>
</p:tagLst>
</file>

<file path=ppt/tags/tag6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
  <p:tag name="KSO_WM_UNIT_ID" val="diagram20194654_1*i*1"/>
  <p:tag name="KSO_WM_TEMPLATE_CATEGORY" val="diagram"/>
  <p:tag name="KSO_WM_TEMPLATE_INDEX" val="20194654"/>
  <p:tag name="KSO_WM_UNIT_LAYERLEVEL" val="1"/>
  <p:tag name="KSO_WM_TAG_VERSION" val="1.0"/>
  <p:tag name="KSO_WM_BEAUTIFY_FLAG" val="#wm#"/>
  <p:tag name="KSO_WM_UNIT_COLOR_SCHEME_SHAPE_ID" val="90"/>
  <p:tag name="KSO_WM_UNIT_COLOR_SCHEME_PARENT_PAGE" val="0_1"/>
</p:tagLst>
</file>

<file path=ppt/tags/tag6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
  <p:tag name="KSO_WM_UNIT_ID" val="diagram20194654_1*i*2"/>
  <p:tag name="KSO_WM_TEMPLATE_CATEGORY" val="diagram"/>
  <p:tag name="KSO_WM_TEMPLATE_INDEX" val="20194654"/>
  <p:tag name="KSO_WM_UNIT_LAYERLEVEL" val="1"/>
  <p:tag name="KSO_WM_TAG_VERSION" val="1.0"/>
  <p:tag name="KSO_WM_BEAUTIFY_FLAG" val="#wm#"/>
  <p:tag name="KSO_WM_UNIT_COLOR_SCHEME_SHAPE_ID" val="91"/>
  <p:tag name="KSO_WM_UNIT_COLOR_SCHEME_PARENT_PAGE" val="0_1"/>
  <p:tag name="KSO_WM_UNIT_FOIL_COLOR" val="1"/>
</p:tagLst>
</file>

<file path=ppt/tags/tag7.xml><?xml version="1.0" encoding="utf-8"?>
<p:tagLst xmlns:p="http://schemas.openxmlformats.org/presentationml/2006/main">
  <p:tag name="KSO_WM_UNIT_LARGE_SHAPE" val="1"/>
  <p:tag name="KSO_WM_UNIT_HIGHLIGHT" val="0"/>
  <p:tag name="KSO_WM_UNIT_COMPATIBLE" val="0"/>
  <p:tag name="KSO_WM_UNIT_DIAGRAM_ISNUMVISUAL" val="0"/>
  <p:tag name="KSO_WM_UNIT_DIAGRAM_ISREFERUNIT" val="0"/>
  <p:tag name="KSO_WM_UNIT_ID" val="diagram20194848_1*i*1"/>
  <p:tag name="KSO_WM_TEMPLATE_CATEGORY" val="diagram"/>
  <p:tag name="KSO_WM_TEMPLATE_INDEX" val="20194848"/>
  <p:tag name="KSO_WM_UNIT_LAYERLEVEL" val="1"/>
  <p:tag name="KSO_WM_TAG_VERSION" val="1.0"/>
  <p:tag name="KSO_WM_BEAUTIFY_FLAG" val="#wm#"/>
  <p:tag name="KSO_WM_UNIT_TYPE" val="i"/>
  <p:tag name="KSO_WM_UNIT_INDEX" val="1"/>
</p:tagLst>
</file>

<file path=ppt/tags/tag70.xml><?xml version="1.0" encoding="utf-8"?>
<p:tagLst xmlns:p="http://schemas.openxmlformats.org/presentationml/2006/main">
  <p:tag name="KSO_WM_UNIT_TEXT_PART_ID_V2" val="d-3-2"/>
  <p:tag name="KSO_WM_UNIT_PRESET_TEXT" val="单击此处添加小标题：&#13;点击此处添加正文，文字是您思想的提炼，为了最终呈现发布的良好效果，请言简意赅的阐述观点，并根据需要酌情增减文字。您的正文已经字字珠玑，但信息却千丝万缕，需要用更多的文字来表述；但请您尽可能提炼思想的精髓。&#13;单击此处添加小标题：&#13;往往事半功倍。为了能让您有更直观的字数感受，并进一步方便使用。"/>
  <p:tag name="KSO_WM_UNIT_NOCLEAR" val="1"/>
  <p:tag name="KSO_WM_UNIT_VALUE" val="273"/>
  <p:tag name="KSO_WM_UNIT_HIGHLIGHT" val="0"/>
  <p:tag name="KSO_WM_UNIT_COMPATIBLE" val="0"/>
  <p:tag name="KSO_WM_UNIT_DIAGRAM_ISNUMVISUAL" val="0"/>
  <p:tag name="KSO_WM_UNIT_DIAGRAM_ISREFERUNIT" val="0"/>
  <p:tag name="KSO_WM_UNIT_TYPE" val="f"/>
  <p:tag name="KSO_WM_UNIT_INDEX" val="1"/>
  <p:tag name="KSO_WM_UNIT_ID" val="diagram20194654_1*f*1"/>
  <p:tag name="KSO_WM_TEMPLATE_CATEGORY" val="diagram"/>
  <p:tag name="KSO_WM_TEMPLATE_INDEX" val="20194654"/>
  <p:tag name="KSO_WM_UNIT_LAYERLEVEL" val="1"/>
  <p:tag name="KSO_WM_TAG_VERSION" val="1.0"/>
  <p:tag name="KSO_WM_BEAUTIFY_FLAG" val="#wm#"/>
  <p:tag name="KSO_WM_UNIT_COLOR_SCHEME_SHAPE_ID" val="2"/>
  <p:tag name="KSO_WM_UNIT_COLOR_SCHEME_PARENT_PAGE" val="0_1"/>
</p:tagLst>
</file>

<file path=ppt/tags/tag71.xml><?xml version="1.0" encoding="utf-8"?>
<p:tagLst xmlns:p="http://schemas.openxmlformats.org/presentationml/2006/main">
  <p:tag name="KSO_WM_UNIT_TEXT_PART_ID_V2" val="a-1-2"/>
  <p:tag name="KSO_WM_UNIT_ISCONTENTSTITLE" val="0"/>
  <p:tag name="KSO_WM_UNIT_PRESET_TEXT" val="单击添加大标题"/>
  <p:tag name="KSO_WM_UNIT_NOCLEAR" val="0"/>
  <p:tag name="KSO_WM_UNIT_VALUE" val="8"/>
  <p:tag name="KSO_WM_UNIT_HIGHLIGHT" val="0"/>
  <p:tag name="KSO_WM_UNIT_COMPATIBLE" val="0"/>
  <p:tag name="KSO_WM_UNIT_DIAGRAM_ISNUMVISUAL" val="0"/>
  <p:tag name="KSO_WM_UNIT_DIAGRAM_ISREFERUNIT" val="0"/>
  <p:tag name="KSO_WM_UNIT_TYPE" val="a"/>
  <p:tag name="KSO_WM_UNIT_INDEX" val="1"/>
  <p:tag name="KSO_WM_UNIT_ID" val="diagram20194654_1*a*1"/>
  <p:tag name="KSO_WM_TEMPLATE_CATEGORY" val="diagram"/>
  <p:tag name="KSO_WM_TEMPLATE_INDEX" val="20194654"/>
  <p:tag name="KSO_WM_UNIT_LAYERLEVEL" val="1"/>
  <p:tag name="KSO_WM_TAG_VERSION" val="1.0"/>
  <p:tag name="KSO_WM_BEAUTIFY_FLAG" val="#wm#"/>
  <p:tag name="KSO_WM_UNIT_COLOR_SCHEME_SHAPE_ID" val="11"/>
  <p:tag name="KSO_WM_UNIT_COLOR_SCHEME_PARENT_PAGE" val="0_1"/>
</p:tagLst>
</file>

<file path=ppt/tags/tag7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
  <p:tag name="KSO_WM_UNIT_ID" val="diagram20194654_1*i*4"/>
  <p:tag name="KSO_WM_TEMPLATE_CATEGORY" val="diagram"/>
  <p:tag name="KSO_WM_TEMPLATE_INDEX" val="20194654"/>
  <p:tag name="KSO_WM_UNIT_LAYERLEVEL" val="1"/>
  <p:tag name="KSO_WM_TAG_VERSION" val="1.0"/>
  <p:tag name="KSO_WM_BEAUTIFY_FLAG" val="#wm#"/>
  <p:tag name="KSO_WM_UNIT_COLOR_SCHEME_SHAPE_ID" val="13"/>
  <p:tag name="KSO_WM_UNIT_COLOR_SCHEME_PARENT_PAGE" val="0_1"/>
</p:tagLst>
</file>

<file path=ppt/tags/tag7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
  <p:tag name="KSO_WM_UNIT_ID" val="diagram20194654_1*i*5"/>
  <p:tag name="KSO_WM_TEMPLATE_CATEGORY" val="diagram"/>
  <p:tag name="KSO_WM_TEMPLATE_INDEX" val="20194654"/>
  <p:tag name="KSO_WM_UNIT_LAYERLEVEL" val="1"/>
  <p:tag name="KSO_WM_TAG_VERSION" val="1.0"/>
  <p:tag name="KSO_WM_BEAUTIFY_FLAG" val="#wm#"/>
  <p:tag name="KSO_WM_UNIT_COLOR_SCHEME_SHAPE_ID" val="14"/>
  <p:tag name="KSO_WM_UNIT_COLOR_SCHEME_PARENT_PAGE" val="0_1"/>
</p:tagLst>
</file>

<file path=ppt/tags/tag7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
  <p:tag name="KSO_WM_UNIT_ID" val="diagram20194654_1*i*6"/>
  <p:tag name="KSO_WM_TEMPLATE_CATEGORY" val="diagram"/>
  <p:tag name="KSO_WM_TEMPLATE_INDEX" val="20194654"/>
  <p:tag name="KSO_WM_UNIT_LAYERLEVEL" val="1"/>
  <p:tag name="KSO_WM_TAG_VERSION" val="1.0"/>
  <p:tag name="KSO_WM_BEAUTIFY_FLAG" val="#wm#"/>
  <p:tag name="KSO_WM_UNIT_COLOR_SCHEME_SHAPE_ID" val="15"/>
  <p:tag name="KSO_WM_UNIT_COLOR_SCHEME_PARENT_PAGE" val="0_1"/>
</p:tagLst>
</file>

<file path=ppt/tags/tag7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8"/>
  <p:tag name="KSO_WM_UNIT_ID" val="diagram20194654_1*i*8"/>
  <p:tag name="KSO_WM_TEMPLATE_CATEGORY" val="diagram"/>
  <p:tag name="KSO_WM_TEMPLATE_INDEX" val="20194654"/>
  <p:tag name="KSO_WM_UNIT_LAYERLEVEL" val="1"/>
  <p:tag name="KSO_WM_TAG_VERSION" val="1.0"/>
  <p:tag name="KSO_WM_BEAUTIFY_FLAG" val="#wm#"/>
  <p:tag name="KSO_WM_UNIT_COLOR_SCHEME_SHAPE_ID" val="18"/>
  <p:tag name="KSO_WM_UNIT_COLOR_SCHEME_PARENT_PAGE" val="0_1"/>
  <p:tag name="KSO_WM_UNIT_DECOLORIZATION" val="1"/>
</p:tagLst>
</file>

<file path=ppt/tags/tag7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9"/>
  <p:tag name="KSO_WM_UNIT_ID" val="diagram20194654_1*i*9"/>
  <p:tag name="KSO_WM_TEMPLATE_CATEGORY" val="diagram"/>
  <p:tag name="KSO_WM_TEMPLATE_INDEX" val="20194654"/>
  <p:tag name="KSO_WM_UNIT_LAYERLEVEL" val="1"/>
  <p:tag name="KSO_WM_TAG_VERSION" val="1.0"/>
  <p:tag name="KSO_WM_BEAUTIFY_FLAG" val="#wm#"/>
  <p:tag name="KSO_WM_UNIT_COLOR_SCHEME_SHAPE_ID" val="19"/>
  <p:tag name="KSO_WM_UNIT_COLOR_SCHEME_PARENT_PAGE" val="0_1"/>
  <p:tag name="KSO_WM_UNIT_DECOLORIZATION" val="1"/>
</p:tagLst>
</file>

<file path=ppt/tags/tag7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0"/>
  <p:tag name="KSO_WM_UNIT_ID" val="diagram20194654_1*i*10"/>
  <p:tag name="KSO_WM_TEMPLATE_CATEGORY" val="diagram"/>
  <p:tag name="KSO_WM_TEMPLATE_INDEX" val="20194654"/>
  <p:tag name="KSO_WM_UNIT_LAYERLEVEL" val="1"/>
  <p:tag name="KSO_WM_TAG_VERSION" val="1.0"/>
  <p:tag name="KSO_WM_BEAUTIFY_FLAG" val="#wm#"/>
  <p:tag name="KSO_WM_UNIT_COLOR_SCHEME_SHAPE_ID" val="20"/>
  <p:tag name="KSO_WM_UNIT_COLOR_SCHEME_PARENT_PAGE" val="0_1"/>
  <p:tag name="KSO_WM_UNIT_DECOLORIZATION" val="1"/>
</p:tagLst>
</file>

<file path=ppt/tags/tag7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1"/>
  <p:tag name="KSO_WM_UNIT_ID" val="diagram20194654_1*i*11"/>
  <p:tag name="KSO_WM_TEMPLATE_CATEGORY" val="diagram"/>
  <p:tag name="KSO_WM_TEMPLATE_INDEX" val="20194654"/>
  <p:tag name="KSO_WM_UNIT_LAYERLEVEL" val="1"/>
  <p:tag name="KSO_WM_TAG_VERSION" val="1.0"/>
  <p:tag name="KSO_WM_BEAUTIFY_FLAG" val="#wm#"/>
  <p:tag name="KSO_WM_UNIT_COLOR_SCHEME_SHAPE_ID" val="21"/>
  <p:tag name="KSO_WM_UNIT_COLOR_SCHEME_PARENT_PAGE" val="0_1"/>
  <p:tag name="KSO_WM_UNIT_DECOLORIZATION" val="1"/>
</p:tagLst>
</file>

<file path=ppt/tags/tag7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2"/>
  <p:tag name="KSO_WM_UNIT_ID" val="diagram20194654_1*i*12"/>
  <p:tag name="KSO_WM_TEMPLATE_CATEGORY" val="diagram"/>
  <p:tag name="KSO_WM_TEMPLATE_INDEX" val="20194654"/>
  <p:tag name="KSO_WM_UNIT_LAYERLEVEL" val="1"/>
  <p:tag name="KSO_WM_TAG_VERSION" val="1.0"/>
  <p:tag name="KSO_WM_BEAUTIFY_FLAG" val="#wm#"/>
  <p:tag name="KSO_WM_UNIT_COLOR_SCHEME_SHAPE_ID" val="22"/>
  <p:tag name="KSO_WM_UNIT_COLOR_SCHEME_PARENT_PAGE" val="0_1"/>
  <p:tag name="KSO_WM_UNIT_DECOLORIZATION" val="1"/>
</p:tagLst>
</file>

<file path=ppt/tags/tag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2"/>
  <p:tag name="KSO_WM_TEMPLATE_CATEGORY" val="diagram"/>
  <p:tag name="KSO_WM_TEMPLATE_INDEX" val="20194848"/>
  <p:tag name="KSO_WM_UNIT_LAYERLEVEL" val="1"/>
  <p:tag name="KSO_WM_TAG_VERSION" val="1.0"/>
  <p:tag name="KSO_WM_BEAUTIFY_FLAG" val="#wm#"/>
  <p:tag name="KSO_WM_UNIT_TYPE" val="i"/>
  <p:tag name="KSO_WM_UNIT_INDEX" val="2"/>
</p:tagLst>
</file>

<file path=ppt/tags/tag8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3"/>
  <p:tag name="KSO_WM_UNIT_ID" val="diagram20194654_1*i*13"/>
  <p:tag name="KSO_WM_TEMPLATE_CATEGORY" val="diagram"/>
  <p:tag name="KSO_WM_TEMPLATE_INDEX" val="20194654"/>
  <p:tag name="KSO_WM_UNIT_LAYERLEVEL" val="1"/>
  <p:tag name="KSO_WM_TAG_VERSION" val="1.0"/>
  <p:tag name="KSO_WM_BEAUTIFY_FLAG" val="#wm#"/>
  <p:tag name="KSO_WM_UNIT_COLOR_SCHEME_SHAPE_ID" val="23"/>
  <p:tag name="KSO_WM_UNIT_COLOR_SCHEME_PARENT_PAGE" val="0_1"/>
  <p:tag name="KSO_WM_UNIT_DECOLORIZATION" val="1"/>
</p:tagLst>
</file>

<file path=ppt/tags/tag8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4"/>
  <p:tag name="KSO_WM_UNIT_ID" val="diagram20194654_1*i*14"/>
  <p:tag name="KSO_WM_TEMPLATE_CATEGORY" val="diagram"/>
  <p:tag name="KSO_WM_TEMPLATE_INDEX" val="20194654"/>
  <p:tag name="KSO_WM_UNIT_LAYERLEVEL" val="1"/>
  <p:tag name="KSO_WM_TAG_VERSION" val="1.0"/>
  <p:tag name="KSO_WM_BEAUTIFY_FLAG" val="#wm#"/>
  <p:tag name="KSO_WM_UNIT_COLOR_SCHEME_SHAPE_ID" val="24"/>
  <p:tag name="KSO_WM_UNIT_COLOR_SCHEME_PARENT_PAGE" val="0_1"/>
  <p:tag name="KSO_WM_UNIT_DECOLORIZATION" val="1"/>
</p:tagLst>
</file>

<file path=ppt/tags/tag8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5"/>
  <p:tag name="KSO_WM_UNIT_ID" val="diagram20194654_1*i*15"/>
  <p:tag name="KSO_WM_TEMPLATE_CATEGORY" val="diagram"/>
  <p:tag name="KSO_WM_TEMPLATE_INDEX" val="20194654"/>
  <p:tag name="KSO_WM_UNIT_LAYERLEVEL" val="1"/>
  <p:tag name="KSO_WM_TAG_VERSION" val="1.0"/>
  <p:tag name="KSO_WM_BEAUTIFY_FLAG" val="#wm#"/>
  <p:tag name="KSO_WM_UNIT_COLOR_SCHEME_SHAPE_ID" val="25"/>
  <p:tag name="KSO_WM_UNIT_COLOR_SCHEME_PARENT_PAGE" val="0_1"/>
  <p:tag name="KSO_WM_UNIT_DECOLORIZATION" val="1"/>
</p:tagLst>
</file>

<file path=ppt/tags/tag8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6"/>
  <p:tag name="KSO_WM_UNIT_ID" val="diagram20194654_1*i*16"/>
  <p:tag name="KSO_WM_TEMPLATE_CATEGORY" val="diagram"/>
  <p:tag name="KSO_WM_TEMPLATE_INDEX" val="20194654"/>
  <p:tag name="KSO_WM_UNIT_LAYERLEVEL" val="1"/>
  <p:tag name="KSO_WM_TAG_VERSION" val="1.0"/>
  <p:tag name="KSO_WM_BEAUTIFY_FLAG" val="#wm#"/>
  <p:tag name="KSO_WM_UNIT_COLOR_SCHEME_SHAPE_ID" val="26"/>
  <p:tag name="KSO_WM_UNIT_COLOR_SCHEME_PARENT_PAGE" val="0_1"/>
  <p:tag name="KSO_WM_UNIT_DECOLORIZATION" val="1"/>
</p:tagLst>
</file>

<file path=ppt/tags/tag8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7"/>
  <p:tag name="KSO_WM_UNIT_ID" val="diagram20194654_1*i*17"/>
  <p:tag name="KSO_WM_TEMPLATE_CATEGORY" val="diagram"/>
  <p:tag name="KSO_WM_TEMPLATE_INDEX" val="20194654"/>
  <p:tag name="KSO_WM_UNIT_LAYERLEVEL" val="1"/>
  <p:tag name="KSO_WM_TAG_VERSION" val="1.0"/>
  <p:tag name="KSO_WM_BEAUTIFY_FLAG" val="#wm#"/>
  <p:tag name="KSO_WM_UNIT_COLOR_SCHEME_SHAPE_ID" val="27"/>
  <p:tag name="KSO_WM_UNIT_COLOR_SCHEME_PARENT_PAGE" val="0_1"/>
  <p:tag name="KSO_WM_UNIT_DECOLORIZATION" val="1"/>
</p:tagLst>
</file>

<file path=ppt/tags/tag8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8"/>
  <p:tag name="KSO_WM_UNIT_ID" val="diagram20194654_1*i*18"/>
  <p:tag name="KSO_WM_TEMPLATE_CATEGORY" val="diagram"/>
  <p:tag name="KSO_WM_TEMPLATE_INDEX" val="20194654"/>
  <p:tag name="KSO_WM_UNIT_LAYERLEVEL" val="1"/>
  <p:tag name="KSO_WM_TAG_VERSION" val="1.0"/>
  <p:tag name="KSO_WM_BEAUTIFY_FLAG" val="#wm#"/>
  <p:tag name="KSO_WM_UNIT_COLOR_SCHEME_SHAPE_ID" val="28"/>
  <p:tag name="KSO_WM_UNIT_COLOR_SCHEME_PARENT_PAGE" val="0_1"/>
  <p:tag name="KSO_WM_UNIT_DECOLORIZATION" val="1"/>
</p:tagLst>
</file>

<file path=ppt/tags/tag8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9"/>
  <p:tag name="KSO_WM_UNIT_ID" val="diagram20194654_1*i*19"/>
  <p:tag name="KSO_WM_TEMPLATE_CATEGORY" val="diagram"/>
  <p:tag name="KSO_WM_TEMPLATE_INDEX" val="20194654"/>
  <p:tag name="KSO_WM_UNIT_LAYERLEVEL" val="1"/>
  <p:tag name="KSO_WM_TAG_VERSION" val="1.0"/>
  <p:tag name="KSO_WM_BEAUTIFY_FLAG" val="#wm#"/>
  <p:tag name="KSO_WM_UNIT_COLOR_SCHEME_SHAPE_ID" val="30"/>
  <p:tag name="KSO_WM_UNIT_COLOR_SCHEME_PARENT_PAGE" val="0_1"/>
  <p:tag name="KSO_WM_UNIT_DECOLORIZATION" val="1"/>
</p:tagLst>
</file>

<file path=ppt/tags/tag8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0"/>
  <p:tag name="KSO_WM_UNIT_ID" val="diagram20194654_1*i*20"/>
  <p:tag name="KSO_WM_TEMPLATE_CATEGORY" val="diagram"/>
  <p:tag name="KSO_WM_TEMPLATE_INDEX" val="20194654"/>
  <p:tag name="KSO_WM_UNIT_LAYERLEVEL" val="1"/>
  <p:tag name="KSO_WM_TAG_VERSION" val="1.0"/>
  <p:tag name="KSO_WM_BEAUTIFY_FLAG" val="#wm#"/>
  <p:tag name="KSO_WM_UNIT_COLOR_SCHEME_SHAPE_ID" val="31"/>
  <p:tag name="KSO_WM_UNIT_COLOR_SCHEME_PARENT_PAGE" val="0_1"/>
  <p:tag name="KSO_WM_UNIT_DECOLORIZATION" val="1"/>
</p:tagLst>
</file>

<file path=ppt/tags/tag8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1"/>
  <p:tag name="KSO_WM_UNIT_ID" val="diagram20194654_1*i*21"/>
  <p:tag name="KSO_WM_TEMPLATE_CATEGORY" val="diagram"/>
  <p:tag name="KSO_WM_TEMPLATE_INDEX" val="20194654"/>
  <p:tag name="KSO_WM_UNIT_LAYERLEVEL" val="1"/>
  <p:tag name="KSO_WM_TAG_VERSION" val="1.0"/>
  <p:tag name="KSO_WM_BEAUTIFY_FLAG" val="#wm#"/>
  <p:tag name="KSO_WM_UNIT_COLOR_SCHEME_SHAPE_ID" val="32"/>
  <p:tag name="KSO_WM_UNIT_COLOR_SCHEME_PARENT_PAGE" val="0_1"/>
  <p:tag name="KSO_WM_UNIT_DECOLORIZATION" val="1"/>
</p:tagLst>
</file>

<file path=ppt/tags/tag8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2"/>
  <p:tag name="KSO_WM_UNIT_ID" val="diagram20194654_1*i*22"/>
  <p:tag name="KSO_WM_TEMPLATE_CATEGORY" val="diagram"/>
  <p:tag name="KSO_WM_TEMPLATE_INDEX" val="20194654"/>
  <p:tag name="KSO_WM_UNIT_LAYERLEVEL" val="1"/>
  <p:tag name="KSO_WM_TAG_VERSION" val="1.0"/>
  <p:tag name="KSO_WM_BEAUTIFY_FLAG" val="#wm#"/>
  <p:tag name="KSO_WM_UNIT_COLOR_SCHEME_SHAPE_ID" val="33"/>
  <p:tag name="KSO_WM_UNIT_DECOLORIZATION" val="1"/>
  <p:tag name="KSO_WM_UNIT_COLOR_SCHEME_PARENT_PAGE" val="0_1"/>
</p:tagLst>
</file>

<file path=ppt/tags/tag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194848_1*i*3"/>
  <p:tag name="KSO_WM_TEMPLATE_CATEGORY" val="diagram"/>
  <p:tag name="KSO_WM_TEMPLATE_INDEX" val="20194848"/>
  <p:tag name="KSO_WM_UNIT_LAYERLEVEL" val="1"/>
  <p:tag name="KSO_WM_TAG_VERSION" val="1.0"/>
  <p:tag name="KSO_WM_BEAUTIFY_FLAG" val="#wm#"/>
  <p:tag name="KSO_WM_UNIT_TYPE" val="i"/>
  <p:tag name="KSO_WM_UNIT_INDEX" val="3"/>
</p:tagLst>
</file>

<file path=ppt/tags/tag9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3"/>
  <p:tag name="KSO_WM_UNIT_ID" val="diagram20194654_1*i*23"/>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34"/>
  <p:tag name="KSO_WM_UNIT_COLOR_SCHEME_PARENT_PAGE" val="0_1"/>
</p:tagLst>
</file>

<file path=ppt/tags/tag9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4"/>
  <p:tag name="KSO_WM_UNIT_ID" val="diagram20194654_1*i*24"/>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35"/>
  <p:tag name="KSO_WM_UNIT_COLOR_SCHEME_PARENT_PAGE" val="0_1"/>
</p:tagLst>
</file>

<file path=ppt/tags/tag9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5"/>
  <p:tag name="KSO_WM_UNIT_ID" val="diagram20194654_1*i*25"/>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36"/>
  <p:tag name="KSO_WM_UNIT_COLOR_SCHEME_PARENT_PAGE" val="0_1"/>
</p:tagLst>
</file>

<file path=ppt/tags/tag9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6"/>
  <p:tag name="KSO_WM_UNIT_ID" val="diagram20194654_1*i*26"/>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37"/>
  <p:tag name="KSO_WM_UNIT_COLOR_SCHEME_PARENT_PAGE" val="0_1"/>
</p:tagLst>
</file>

<file path=ppt/tags/tag9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7"/>
  <p:tag name="KSO_WM_UNIT_ID" val="diagram20194654_1*i*27"/>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38"/>
  <p:tag name="KSO_WM_UNIT_COLOR_SCHEME_PARENT_PAGE" val="0_1"/>
</p:tagLst>
</file>

<file path=ppt/tags/tag9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8"/>
  <p:tag name="KSO_WM_UNIT_ID" val="diagram20194654_1*i*28"/>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39"/>
  <p:tag name="KSO_WM_UNIT_COLOR_SCHEME_PARENT_PAGE" val="0_1"/>
</p:tagLst>
</file>

<file path=ppt/tags/tag9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9"/>
  <p:tag name="KSO_WM_UNIT_ID" val="diagram20194654_1*i*29"/>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40"/>
  <p:tag name="KSO_WM_UNIT_COLOR_SCHEME_PARENT_PAGE" val="0_1"/>
</p:tagLst>
</file>

<file path=ppt/tags/tag9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0"/>
  <p:tag name="KSO_WM_UNIT_ID" val="diagram20194654_1*i*30"/>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42"/>
  <p:tag name="KSO_WM_UNIT_COLOR_SCHEME_PARENT_PAGE" val="0_1"/>
</p:tagLst>
</file>

<file path=ppt/tags/tag9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1"/>
  <p:tag name="KSO_WM_UNIT_ID" val="diagram20194654_1*i*31"/>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43"/>
  <p:tag name="KSO_WM_UNIT_COLOR_SCHEME_PARENT_PAGE" val="0_1"/>
</p:tagLst>
</file>

<file path=ppt/tags/tag9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2"/>
  <p:tag name="KSO_WM_UNIT_ID" val="diagram20194654_1*i*32"/>
  <p:tag name="KSO_WM_TEMPLATE_CATEGORY" val="diagram"/>
  <p:tag name="KSO_WM_TEMPLATE_INDEX" val="20194654"/>
  <p:tag name="KSO_WM_UNIT_LAYERLEVEL" val="1"/>
  <p:tag name="KSO_WM_TAG_VERSION" val="1.0"/>
  <p:tag name="KSO_WM_BEAUTIFY_FLAG" val="#wm#"/>
  <p:tag name="KSO_WM_UNIT_DECOLORIZATION" val="1"/>
  <p:tag name="KSO_WM_UNIT_COLOR_SCHEME_SHAPE_ID" val="44"/>
  <p:tag name="KSO_WM_UNIT_COLOR_SCHEME_PARENT_PAGE" val="0_1"/>
</p:tagLst>
</file>

<file path=ppt/theme/theme1.xml><?xml version="1.0" encoding="utf-8"?>
<a:theme xmlns:a="http://schemas.openxmlformats.org/drawingml/2006/main" name="Office 主题">
  <a:themeElements>
    <a:clrScheme name="自定义 1">
      <a:dk1>
        <a:sysClr val="windowText" lastClr="000000"/>
      </a:dk1>
      <a:lt1>
        <a:sysClr val="window" lastClr="FFFFFF"/>
      </a:lt1>
      <a:dk2>
        <a:srgbClr val="44546A"/>
      </a:dk2>
      <a:lt2>
        <a:srgbClr val="E7E6E6"/>
      </a:lt2>
      <a:accent1>
        <a:srgbClr val="FFC00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3F4EE"/>
        </a:solidFill>
        <a:ln w="19050">
          <a:solidFill>
            <a:schemeClr val="bg1">
              <a:lumMod val="75000"/>
            </a:schemeClr>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2777</Words>
  <Application>WPS 演示</Application>
  <PresentationFormat>宽屏</PresentationFormat>
  <Paragraphs>837</Paragraphs>
  <Slides>67</Slides>
  <Notes>2</Notes>
  <HiddenSlides>0</HiddenSlides>
  <MMClips>0</MMClips>
  <ScaleCrop>false</ScaleCrop>
  <HeadingPairs>
    <vt:vector size="8" baseType="variant">
      <vt:variant>
        <vt:lpstr>已用的字体</vt:lpstr>
      </vt:variant>
      <vt:variant>
        <vt:i4>26</vt:i4>
      </vt:variant>
      <vt:variant>
        <vt:lpstr>主题</vt:lpstr>
      </vt:variant>
      <vt:variant>
        <vt:i4>1</vt:i4>
      </vt:variant>
      <vt:variant>
        <vt:lpstr>嵌入 OLE 服务器</vt:lpstr>
      </vt:variant>
      <vt:variant>
        <vt:i4>5</vt:i4>
      </vt:variant>
      <vt:variant>
        <vt:lpstr>幻灯片标题</vt:lpstr>
      </vt:variant>
      <vt:variant>
        <vt:i4>67</vt:i4>
      </vt:variant>
    </vt:vector>
  </HeadingPairs>
  <TitlesOfParts>
    <vt:vector size="99" baseType="lpstr">
      <vt:lpstr>Arial</vt:lpstr>
      <vt:lpstr>宋体</vt:lpstr>
      <vt:lpstr>Wingdings</vt:lpstr>
      <vt:lpstr>微软雅黑</vt:lpstr>
      <vt:lpstr>Adobe 黑体 Std R</vt:lpstr>
      <vt:lpstr>造字工房朗倩（非商用）细体</vt:lpstr>
      <vt:lpstr>Microsoft YaHei UI</vt:lpstr>
      <vt:lpstr>Open Sans</vt:lpstr>
      <vt:lpstr>Segoe Print</vt:lpstr>
      <vt:lpstr>WPS-Numbers</vt:lpstr>
      <vt:lpstr>WPS-Bullets</vt:lpstr>
      <vt:lpstr>微软雅黑 Light</vt:lpstr>
      <vt:lpstr>Calibri</vt:lpstr>
      <vt:lpstr>Arial Unicode MS</vt:lpstr>
      <vt:lpstr>等线</vt:lpstr>
      <vt:lpstr>Calibri Light</vt:lpstr>
      <vt:lpstr>Tw Cen MT</vt:lpstr>
      <vt:lpstr>Calibri</vt:lpstr>
      <vt:lpstr>Poppins Bold</vt:lpstr>
      <vt:lpstr>Gill Sans</vt:lpstr>
      <vt:lpstr>Lato</vt:lpstr>
      <vt:lpstr>Bebas Neue</vt:lpstr>
      <vt:lpstr>Arial</vt:lpstr>
      <vt:lpstr>Arial Unicode MS</vt:lpstr>
      <vt:lpstr>Poppins</vt:lpstr>
      <vt:lpstr>Gill Sans MT</vt:lpstr>
      <vt:lpstr>Office 主题</vt:lpstr>
      <vt:lpstr>TCLayout.ActiveDocument.1</vt:lpstr>
      <vt:lpstr>TCLayout.ActiveDocument.1</vt:lpstr>
      <vt:lpstr>TCLayout.ActiveDocument.1</vt:lpstr>
      <vt:lpstr>TCLayout.ActiveDocument.1</vt:lpstr>
      <vt:lpstr>TCLayout.ActiveDocument.1</vt:lpstr>
      <vt:lpstr>PowerPoint 演示文稿</vt:lpstr>
      <vt:lpstr>PowerPoint 演示文稿</vt:lpstr>
      <vt:lpstr>一.HTML基础(html)</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HTML标签的改变</vt:lpstr>
      <vt:lpstr>1、新的文档类型声明(DTD)</vt:lpstr>
      <vt:lpstr>新的文档类型声明(DTD)</vt:lpstr>
      <vt:lpstr>2、新增的HTML5标签</vt:lpstr>
      <vt:lpstr>新增的HTML5标签-结构标签</vt:lpstr>
      <vt:lpstr>新增的HTML5标签-多媒体标签</vt:lpstr>
      <vt:lpstr>新增的HTML5标签-Web应用标签</vt:lpstr>
      <vt:lpstr>新增的HTML5标签-其他标签</vt:lpstr>
      <vt:lpstr>3、删除的HTML标签</vt:lpstr>
      <vt:lpstr>删除的HTML标签</vt:lpstr>
      <vt:lpstr>4、重新定义的HTML标签</vt:lpstr>
      <vt:lpstr>重新定义的HTML标签</vt:lpstr>
      <vt:lpstr>5、崭新新的页面布局</vt:lpstr>
      <vt:lpstr>PowerPoint 演示文稿</vt:lpstr>
      <vt:lpstr>PowerPoint 演示文稿</vt:lpstr>
      <vt:lpstr>Div和新结构标签的区别和意义</vt:lpstr>
      <vt:lpstr>二.响应式介绍</vt:lpstr>
      <vt:lpstr>PowerPoint 演示文稿</vt:lpstr>
      <vt:lpstr>PowerPoint 演示文稿</vt:lpstr>
      <vt:lpstr>PowerPoint 演示文稿</vt:lpstr>
      <vt:lpstr>PowerPoint 演示文稿</vt:lpstr>
      <vt:lpstr>三.响应式布局常用解决方法</vt:lpstr>
      <vt:lpstr>PowerPoint 演示文稿</vt:lpstr>
      <vt:lpstr>PowerPoint 演示文稿</vt:lpstr>
      <vt:lpstr>PowerPoint 演示文稿</vt:lpstr>
      <vt:lpstr>PowerPoint 演示文稿</vt:lpstr>
      <vt:lpstr>PowerPoint 演示文稿</vt:lpstr>
      <vt:lpstr>常用屏幕大小 </vt:lpstr>
      <vt:lpstr>PowerPoint 演示文稿</vt:lpstr>
      <vt:lpstr>PowerPoint 演示文稿</vt:lpstr>
      <vt:lpstr>PowerPoint 演示文稿</vt:lpstr>
      <vt:lpstr>PowerPoint 演示文稿</vt:lpstr>
      <vt:lpstr>通过rem来实现响应式布局 </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Windows 用户</dc:creator>
  <cp:lastModifiedBy>yanyili</cp:lastModifiedBy>
  <cp:revision>417</cp:revision>
  <dcterms:created xsi:type="dcterms:W3CDTF">2018-06-19T13:27:00Z</dcterms:created>
  <dcterms:modified xsi:type="dcterms:W3CDTF">2019-03-05T08:27: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8500</vt:lpwstr>
  </property>
</Properties>
</file>